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1.xml" ContentType="application/vnd.openxmlformats-officedocument.presentationml.tags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11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70" r:id="rId2"/>
  </p:sldMasterIdLst>
  <p:notesMasterIdLst>
    <p:notesMasterId r:id="rId34"/>
  </p:notesMasterIdLst>
  <p:sldIdLst>
    <p:sldId id="335" r:id="rId3"/>
    <p:sldId id="2147376943" r:id="rId4"/>
    <p:sldId id="2147376945" r:id="rId5"/>
    <p:sldId id="407" r:id="rId6"/>
    <p:sldId id="408" r:id="rId7"/>
    <p:sldId id="2147374897" r:id="rId8"/>
    <p:sldId id="410" r:id="rId9"/>
    <p:sldId id="2147376988" r:id="rId10"/>
    <p:sldId id="409" r:id="rId11"/>
    <p:sldId id="2147376964" r:id="rId12"/>
    <p:sldId id="472" r:id="rId13"/>
    <p:sldId id="411" r:id="rId14"/>
    <p:sldId id="2147376989" r:id="rId15"/>
    <p:sldId id="2147376993" r:id="rId16"/>
    <p:sldId id="2147376982" r:id="rId17"/>
    <p:sldId id="2147376978" r:id="rId18"/>
    <p:sldId id="2147376994" r:id="rId19"/>
    <p:sldId id="2147376995" r:id="rId20"/>
    <p:sldId id="2147376990" r:id="rId21"/>
    <p:sldId id="2147376992" r:id="rId22"/>
    <p:sldId id="2147376985" r:id="rId23"/>
    <p:sldId id="418" r:id="rId24"/>
    <p:sldId id="2147376996" r:id="rId25"/>
    <p:sldId id="2147376997" r:id="rId26"/>
    <p:sldId id="2147376998" r:id="rId27"/>
    <p:sldId id="2147376961" r:id="rId28"/>
    <p:sldId id="2147376953" r:id="rId29"/>
    <p:sldId id="2147376954" r:id="rId30"/>
    <p:sldId id="259" r:id="rId31"/>
    <p:sldId id="261" r:id="rId32"/>
    <p:sldId id="2147376999" r:id="rId33"/>
  </p:sldIdLst>
  <p:sldSz cx="12192000" cy="6858000"/>
  <p:notesSz cx="6858000" cy="9144000"/>
  <p:defaultTextStyle>
    <a:defPPr>
      <a:defRPr lang="es-E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ección predeterminada" id="{058D3148-464A-4A31-B2A9-B7CC9006337E}">
          <p14:sldIdLst>
            <p14:sldId id="335"/>
            <p14:sldId id="2147376943"/>
            <p14:sldId id="2147376945"/>
            <p14:sldId id="407"/>
            <p14:sldId id="408"/>
            <p14:sldId id="2147374897"/>
            <p14:sldId id="410"/>
            <p14:sldId id="2147376988"/>
            <p14:sldId id="409"/>
            <p14:sldId id="2147376964"/>
            <p14:sldId id="472"/>
            <p14:sldId id="411"/>
            <p14:sldId id="2147376989"/>
            <p14:sldId id="2147376993"/>
            <p14:sldId id="2147376982"/>
            <p14:sldId id="2147376978"/>
            <p14:sldId id="2147376994"/>
            <p14:sldId id="2147376995"/>
            <p14:sldId id="2147376990"/>
            <p14:sldId id="2147376992"/>
            <p14:sldId id="2147376985"/>
            <p14:sldId id="418"/>
            <p14:sldId id="2147376996"/>
            <p14:sldId id="2147376997"/>
            <p14:sldId id="2147376998"/>
            <p14:sldId id="2147376961"/>
            <p14:sldId id="2147376953"/>
            <p14:sldId id="2147376954"/>
            <p14:sldId id="259"/>
            <p14:sldId id="261"/>
            <p14:sldId id="2147376999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4A60CA8B-7368-FE31-B099-84936CBAABCC}" name="Paula Anglada Ribé" initials="PAR" userId="S::panglada@almirall.com::9bbe7ec5-1ff8-416c-920b-04c2bda2ee26" providerId="AD"/>
  <p188:author id="{106EA7E6-A61C-C66B-E2D2-8E4CCED44921}" name="Sonia Palenzuela Larrarte" initials="SPL" userId="S::spalenzuela@almirall.com::5ee5d680-5efb-451b-ace2-83a55dba3454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BCDD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5D478DE9-66D6-4A82-B051-26987365D3BF}" v="3" dt="2026-01-08T10:53:30.709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edio 2 - Énfasis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2017" autoAdjust="0"/>
    <p:restoredTop sz="94404" autoAdjust="0"/>
  </p:normalViewPr>
  <p:slideViewPr>
    <p:cSldViewPr snapToGrid="0">
      <p:cViewPr varScale="1">
        <p:scale>
          <a:sx n="150" d="100"/>
          <a:sy n="150" d="100"/>
        </p:scale>
        <p:origin x="930" y="132"/>
      </p:cViewPr>
      <p:guideLst/>
    </p:cSldViewPr>
  </p:slideViewPr>
  <p:notesTextViewPr>
    <p:cViewPr>
      <p:scale>
        <a:sx n="150" d="100"/>
        <a:sy n="150" d="100"/>
      </p:scale>
      <p:origin x="0" y="0"/>
    </p:cViewPr>
  </p:notesTextViewPr>
  <p:sorterViewPr>
    <p:cViewPr>
      <p:scale>
        <a:sx n="100" d="100"/>
        <a:sy n="100" d="100"/>
      </p:scale>
      <p:origin x="0" y="-9306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9" Type="http://schemas.microsoft.com/office/2016/11/relationships/changesInfo" Target="changesInfos/changesInfo1.xml"/><Relationship Id="rId21" Type="http://schemas.openxmlformats.org/officeDocument/2006/relationships/slide" Target="slides/slide19.xml"/><Relationship Id="rId34" Type="http://schemas.openxmlformats.org/officeDocument/2006/relationships/notesMaster" Target="notesMasters/notesMaster1.xml"/><Relationship Id="rId7" Type="http://schemas.openxmlformats.org/officeDocument/2006/relationships/slide" Target="slides/slide5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slide" Target="slides/slide27.xml"/><Relationship Id="rId41" Type="http://schemas.microsoft.com/office/2018/10/relationships/authors" Target="author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slide" Target="slides/slide30.xml"/><Relationship Id="rId37" Type="http://schemas.openxmlformats.org/officeDocument/2006/relationships/theme" Target="theme/theme1.xml"/><Relationship Id="rId40" Type="http://schemas.microsoft.com/office/2015/10/relationships/revisionInfo" Target="revisionInfo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36" Type="http://schemas.openxmlformats.org/officeDocument/2006/relationships/viewProps" Target="viewProps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slide" Target="slides/slide29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slide" Target="slides/slide28.xml"/><Relationship Id="rId35" Type="http://schemas.openxmlformats.org/officeDocument/2006/relationships/presProps" Target="presProps.xml"/><Relationship Id="rId8" Type="http://schemas.openxmlformats.org/officeDocument/2006/relationships/slide" Target="slides/slide6.xml"/><Relationship Id="rId3" Type="http://schemas.openxmlformats.org/officeDocument/2006/relationships/slide" Target="slides/slide1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slide" Target="slides/slide31.xml"/><Relationship Id="rId38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Eva Parisi Tria" userId="79b09202-394d-4e2d-bcbc-186dc936d36f" providerId="ADAL" clId="{1EF2A93B-595E-4E39-AAA2-55AE1E6911AA}"/>
    <pc:docChg chg="addSld delSld modSld">
      <pc:chgData name="Eva Parisi Tria" userId="79b09202-394d-4e2d-bcbc-186dc936d36f" providerId="ADAL" clId="{1EF2A93B-595E-4E39-AAA2-55AE1E6911AA}" dt="2026-01-08T10:53:30.695" v="2"/>
      <pc:docMkLst>
        <pc:docMk/>
      </pc:docMkLst>
      <pc:sldChg chg="add del">
        <pc:chgData name="Eva Parisi Tria" userId="79b09202-394d-4e2d-bcbc-186dc936d36f" providerId="ADAL" clId="{1EF2A93B-595E-4E39-AAA2-55AE1E6911AA}" dt="2026-01-08T10:53:30.695" v="2"/>
        <pc:sldMkLst>
          <pc:docMk/>
          <pc:sldMk cId="3149729878" sldId="259"/>
        </pc:sldMkLst>
      </pc:sldChg>
      <pc:sldChg chg="add del">
        <pc:chgData name="Eva Parisi Tria" userId="79b09202-394d-4e2d-bcbc-186dc936d36f" providerId="ADAL" clId="{1EF2A93B-595E-4E39-AAA2-55AE1E6911AA}" dt="2026-01-08T10:53:30.695" v="2"/>
        <pc:sldMkLst>
          <pc:docMk/>
          <pc:sldMk cId="2980358209" sldId="261"/>
        </pc:sldMkLst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ES"/>
          </a:p>
        </p:txBody>
      </p:sp>
      <p:sp>
        <p:nvSpPr>
          <p:cNvPr id="3" name="Marcador de fech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1848983-4935-419E-8F71-D7AE8934A276}" type="datetimeFigureOut">
              <a:rPr lang="es-ES" smtClean="0"/>
              <a:t>08/01/2026</a:t>
            </a:fld>
            <a:endParaRPr lang="es-ES"/>
          </a:p>
        </p:txBody>
      </p:sp>
      <p:sp>
        <p:nvSpPr>
          <p:cNvPr id="4" name="Marcador de imagen d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s-ES"/>
          </a:p>
        </p:txBody>
      </p:sp>
      <p:sp>
        <p:nvSpPr>
          <p:cNvPr id="5" name="Marcador de nota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ES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E4CB052-C253-4640-86CA-525C5FEBA7E5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40741108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98401" name="Slide Image Placeholder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46083" name="Slide Number Placeholder 3"/>
          <p:cNvSpPr>
            <a:spLocks noGrp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marL="0" marR="0" lvl="0" indent="0" algn="r" defTabSz="918147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DC27D698-CE27-4E64-BB01-9EDB7D507198}" type="slidenum">
              <a:rPr kumimoji="0" lang="es-ES_tradnl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charset="0"/>
              </a:rPr>
              <a:pPr marL="0" marR="0" lvl="0" indent="0" algn="r" defTabSz="918147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s-ES_tradnl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Arial" charset="0"/>
            </a:endParaRPr>
          </a:p>
        </p:txBody>
      </p:sp>
      <p:sp>
        <p:nvSpPr>
          <p:cNvPr id="3" name="Notes Placeholder 2"/>
          <p:cNvSpPr>
            <a:spLocks noGrp="1"/>
          </p:cNvSpPr>
          <p:nvPr>
            <p:ph type="body" sz="quarter" idx="10"/>
          </p:nvPr>
        </p:nvSpPr>
        <p:spPr>
          <a:xfrm>
            <a:off x="722548" y="4784072"/>
            <a:ext cx="5363694" cy="4969528"/>
          </a:xfrm>
        </p:spPr>
        <p:txBody>
          <a:bodyPr/>
          <a:lstStyle/>
          <a:p>
            <a:pPr algn="just"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9839064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1794091-C6D9-966E-A5D3-1C9C9E81B27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>
            <a:extLst>
              <a:ext uri="{FF2B5EF4-FFF2-40B4-BE49-F238E27FC236}">
                <a16:creationId xmlns:a16="http://schemas.microsoft.com/office/drawing/2014/main" id="{5D2BEACB-40D5-1E9D-962E-71CE0E81489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>
            <a:extLst>
              <a:ext uri="{FF2B5EF4-FFF2-40B4-BE49-F238E27FC236}">
                <a16:creationId xmlns:a16="http://schemas.microsoft.com/office/drawing/2014/main" id="{BF0BD763-8280-3497-B966-95F9C030250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s-ES" dirty="0"/>
          </a:p>
        </p:txBody>
      </p:sp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id="{3ABBB2D4-F5A9-6DCE-B68F-17442166846C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E4CB052-C253-4640-86CA-525C5FEBA7E5}" type="slidenum">
              <a:rPr lang="es-ES" smtClean="0"/>
              <a:t>23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71175989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BE74781-DEA6-0742-EE5D-74B8EA39F85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98401" name="Slide Image Placeholder 1">
            <a:extLst>
              <a:ext uri="{FF2B5EF4-FFF2-40B4-BE49-F238E27FC236}">
                <a16:creationId xmlns:a16="http://schemas.microsoft.com/office/drawing/2014/main" id="{E9FD61FA-2FB4-E0FC-CEF6-95C80B39FC7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46083" name="Slide Number Placeholder 3">
            <a:extLst>
              <a:ext uri="{FF2B5EF4-FFF2-40B4-BE49-F238E27FC236}">
                <a16:creationId xmlns:a16="http://schemas.microsoft.com/office/drawing/2014/main" id="{DB06B562-4679-673A-FA69-100A20BD73F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marL="0" marR="0" lvl="0" indent="0" algn="r" defTabSz="918147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DC27D698-CE27-4E64-BB01-9EDB7D507198}" type="slidenum">
              <a:rPr kumimoji="0" lang="es-ES_tradnl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charset="0"/>
              </a:rPr>
              <a:pPr marL="0" marR="0" lvl="0" indent="0" algn="r" defTabSz="918147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31</a:t>
            </a:fld>
            <a:endParaRPr kumimoji="0" lang="es-ES_tradnl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Arial" charset="0"/>
            </a:endParaRPr>
          </a:p>
        </p:txBody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ACE182FA-54AD-EC86-A069-0EC52C53683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22548" y="4784072"/>
            <a:ext cx="5363694" cy="4969528"/>
          </a:xfrm>
        </p:spPr>
        <p:txBody>
          <a:bodyPr/>
          <a:lstStyle/>
          <a:p>
            <a:pPr algn="just"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552510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5639D74-BD4E-E503-1AFE-3F2E6E76E34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>
            <a:extLst>
              <a:ext uri="{FF2B5EF4-FFF2-40B4-BE49-F238E27FC236}">
                <a16:creationId xmlns:a16="http://schemas.microsoft.com/office/drawing/2014/main" id="{F0036A9E-BF9C-AB87-AEAE-E4A38A127FE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>
            <a:extLst>
              <a:ext uri="{FF2B5EF4-FFF2-40B4-BE49-F238E27FC236}">
                <a16:creationId xmlns:a16="http://schemas.microsoft.com/office/drawing/2014/main" id="{574F70D8-AF4E-4E96-ED71-62B1E4BA826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s-ES" b="1" dirty="0">
              <a:solidFill>
                <a:srgbClr val="FF0000"/>
              </a:solidFill>
            </a:endParaRPr>
          </a:p>
        </p:txBody>
      </p:sp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id="{C03297BB-5A40-A179-3EB0-3F16C5CCA66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E4CB052-C253-4640-86CA-525C5FEBA7E5}" type="slidenum">
              <a:rPr lang="es-ES" smtClean="0"/>
              <a:t>4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30590271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589B3AD-DC68-8A7B-915B-28849F66621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>
            <a:extLst>
              <a:ext uri="{FF2B5EF4-FFF2-40B4-BE49-F238E27FC236}">
                <a16:creationId xmlns:a16="http://schemas.microsoft.com/office/drawing/2014/main" id="{C23D5098-13A3-7BA7-5528-D1E2382D36E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>
            <a:extLst>
              <a:ext uri="{FF2B5EF4-FFF2-40B4-BE49-F238E27FC236}">
                <a16:creationId xmlns:a16="http://schemas.microsoft.com/office/drawing/2014/main" id="{232658B1-6A3A-9CBB-ADF9-572E90E88E3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s-ES" dirty="0"/>
          </a:p>
        </p:txBody>
      </p:sp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id="{D025ADA8-B140-50BA-99E2-D9B11C87A28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E4CB052-C253-4640-86CA-525C5FEBA7E5}" type="slidenum">
              <a:rPr lang="es-ES" smtClean="0"/>
              <a:t>5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54604463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802F88D-CABD-0613-A827-88D942C67AC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>
            <a:extLst>
              <a:ext uri="{FF2B5EF4-FFF2-40B4-BE49-F238E27FC236}">
                <a16:creationId xmlns:a16="http://schemas.microsoft.com/office/drawing/2014/main" id="{E319C81D-8F80-ECB8-E71B-601412F2C59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>
            <a:extLst>
              <a:ext uri="{FF2B5EF4-FFF2-40B4-BE49-F238E27FC236}">
                <a16:creationId xmlns:a16="http://schemas.microsoft.com/office/drawing/2014/main" id="{AD7146A0-E770-B8E5-9475-6F61C9BBFC4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s-ES" dirty="0"/>
          </a:p>
        </p:txBody>
      </p:sp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id="{13C8BC8B-8D97-C67D-8610-23C2D9767366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E4CB052-C253-4640-86CA-525C5FEBA7E5}" type="slidenum">
              <a:rPr lang="es-ES" smtClean="0"/>
              <a:t>7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36642104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A147EF5-4FD6-9807-6145-D7EEE3A528C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>
            <a:extLst>
              <a:ext uri="{FF2B5EF4-FFF2-40B4-BE49-F238E27FC236}">
                <a16:creationId xmlns:a16="http://schemas.microsoft.com/office/drawing/2014/main" id="{9A3E8B42-C3BF-7CDB-F6D1-FA219406040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>
            <a:extLst>
              <a:ext uri="{FF2B5EF4-FFF2-40B4-BE49-F238E27FC236}">
                <a16:creationId xmlns:a16="http://schemas.microsoft.com/office/drawing/2014/main" id="{DE364D2A-E032-3ADB-81B9-0D488A267D7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s-ES" b="1" dirty="0">
              <a:solidFill>
                <a:srgbClr val="FF0000"/>
              </a:solidFill>
            </a:endParaRPr>
          </a:p>
        </p:txBody>
      </p:sp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id="{9BA2D342-F681-651C-4774-4B4DB2DAAAB6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E4CB052-C253-4640-86CA-525C5FEBA7E5}" type="slidenum">
              <a:rPr lang="es-ES" smtClean="0"/>
              <a:t>8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4210193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597D53C-96CE-E2C9-BEAF-B058499EADA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>
            <a:extLst>
              <a:ext uri="{FF2B5EF4-FFF2-40B4-BE49-F238E27FC236}">
                <a16:creationId xmlns:a16="http://schemas.microsoft.com/office/drawing/2014/main" id="{8B1AA4E8-9F84-153A-AF8B-85718FF060C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>
            <a:extLst>
              <a:ext uri="{FF2B5EF4-FFF2-40B4-BE49-F238E27FC236}">
                <a16:creationId xmlns:a16="http://schemas.microsoft.com/office/drawing/2014/main" id="{7E33F5A8-E340-C4AE-240C-E4A6211539B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s-ES" dirty="0"/>
          </a:p>
        </p:txBody>
      </p:sp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id="{F6F359C9-CEEA-2228-02F1-27424B4D5F2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E4CB052-C253-4640-86CA-525C5FEBA7E5}" type="slidenum">
              <a:rPr lang="es-ES" smtClean="0"/>
              <a:t>9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40767727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470A796-5742-FBC9-E3C4-46C06828146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>
            <a:extLst>
              <a:ext uri="{FF2B5EF4-FFF2-40B4-BE49-F238E27FC236}">
                <a16:creationId xmlns:a16="http://schemas.microsoft.com/office/drawing/2014/main" id="{3DD7C916-797A-141E-446F-1DFF4651D33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>
            <a:extLst>
              <a:ext uri="{FF2B5EF4-FFF2-40B4-BE49-F238E27FC236}">
                <a16:creationId xmlns:a16="http://schemas.microsoft.com/office/drawing/2014/main" id="{A2839AF6-841E-EEA9-BA53-E5376A0E12E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s-ES" dirty="0"/>
          </a:p>
        </p:txBody>
      </p:sp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id="{9E8EB67E-D855-7BBC-7331-B922AD6C428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E4CB052-C253-4640-86CA-525C5FEBA7E5}" type="slidenum">
              <a:rPr lang="es-ES" smtClean="0"/>
              <a:t>11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51321261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E0186A3-93CE-0E56-84C4-0047DFADBB6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>
            <a:extLst>
              <a:ext uri="{FF2B5EF4-FFF2-40B4-BE49-F238E27FC236}">
                <a16:creationId xmlns:a16="http://schemas.microsoft.com/office/drawing/2014/main" id="{0D843286-D355-97C1-DE33-245BDC13798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>
            <a:extLst>
              <a:ext uri="{FF2B5EF4-FFF2-40B4-BE49-F238E27FC236}">
                <a16:creationId xmlns:a16="http://schemas.microsoft.com/office/drawing/2014/main" id="{CC52C34C-79EA-E3FA-D113-E3BBB685627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s-ES" dirty="0"/>
          </a:p>
        </p:txBody>
      </p:sp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id="{0EDB38C1-C30B-6320-5CA5-30A4266EB195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E4CB052-C253-4640-86CA-525C5FEBA7E5}" type="slidenum">
              <a:rPr lang="es-ES" smtClean="0"/>
              <a:t>12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405543046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5735597-D0B1-6BCA-E9F7-7915F6F9AA1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>
            <a:extLst>
              <a:ext uri="{FF2B5EF4-FFF2-40B4-BE49-F238E27FC236}">
                <a16:creationId xmlns:a16="http://schemas.microsoft.com/office/drawing/2014/main" id="{9971A5BA-5318-46AB-731B-172EA6F096D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>
            <a:extLst>
              <a:ext uri="{FF2B5EF4-FFF2-40B4-BE49-F238E27FC236}">
                <a16:creationId xmlns:a16="http://schemas.microsoft.com/office/drawing/2014/main" id="{A9AD5162-171C-4C20-3F61-EA633CBE77F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s-ES" dirty="0"/>
          </a:p>
        </p:txBody>
      </p:sp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id="{C6FA1B79-5947-CE8B-747F-8B3E46FD27E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E4CB052-C253-4640-86CA-525C5FEBA7E5}" type="slidenum">
              <a:rPr lang="es-ES" smtClean="0"/>
              <a:t>22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49159483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Diseño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69A2BE49-8834-EC86-9E4A-E56FAC8A5F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</a:p>
        </p:txBody>
      </p:sp>
    </p:spTree>
    <p:extLst>
      <p:ext uri="{BB962C8B-B14F-4D97-AF65-F5344CB8AC3E}">
        <p14:creationId xmlns:p14="http://schemas.microsoft.com/office/powerpoint/2010/main" val="177248176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BEST FI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n 5">
            <a:extLst>
              <a:ext uri="{FF2B5EF4-FFF2-40B4-BE49-F238E27FC236}">
                <a16:creationId xmlns:a16="http://schemas.microsoft.com/office/drawing/2014/main" id="{057F6F9D-641F-4F3E-B189-6D48E2F78FB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5595933"/>
            <a:ext cx="2079437" cy="1262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520296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880">
          <p15:clr>
            <a:srgbClr val="FBAE40"/>
          </p15:clr>
        </p15:guide>
        <p15:guide id="4" pos="4400">
          <p15:clr>
            <a:srgbClr val="FBAE40"/>
          </p15:clr>
        </p15:guide>
        <p15:guide id="5" orient="horz" pos="259">
          <p15:clr>
            <a:srgbClr val="FBAE40"/>
          </p15:clr>
        </p15:guide>
        <p15:guide id="6" orient="horz" pos="797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BEST FI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" name="Imagen 39">
            <a:extLst>
              <a:ext uri="{FF2B5EF4-FFF2-40B4-BE49-F238E27FC236}">
                <a16:creationId xmlns:a16="http://schemas.microsoft.com/office/drawing/2014/main" id="{4EA52F12-EA22-4822-A163-614255B62DD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5595933"/>
            <a:ext cx="2079437" cy="1262068"/>
          </a:xfrm>
          <a:prstGeom prst="rect">
            <a:avLst/>
          </a:prstGeom>
        </p:spPr>
      </p:pic>
      <p:sp>
        <p:nvSpPr>
          <p:cNvPr id="2" name="Rectángulo 1">
            <a:extLst>
              <a:ext uri="{FF2B5EF4-FFF2-40B4-BE49-F238E27FC236}">
                <a16:creationId xmlns:a16="http://schemas.microsoft.com/office/drawing/2014/main" id="{3BF3B21F-543C-C88A-C5AC-E14834E16415}"/>
              </a:ext>
            </a:extLst>
          </p:cNvPr>
          <p:cNvSpPr/>
          <p:nvPr userDrawn="1"/>
        </p:nvSpPr>
        <p:spPr>
          <a:xfrm>
            <a:off x="10875704" y="0"/>
            <a:ext cx="1316296" cy="32374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</p:spTree>
    <p:extLst>
      <p:ext uri="{BB962C8B-B14F-4D97-AF65-F5344CB8AC3E}">
        <p14:creationId xmlns:p14="http://schemas.microsoft.com/office/powerpoint/2010/main" val="19448451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880">
          <p15:clr>
            <a:srgbClr val="FBAE40"/>
          </p15:clr>
        </p15:guide>
        <p15:guide id="4" pos="4400">
          <p15:clr>
            <a:srgbClr val="FBAE40"/>
          </p15:clr>
        </p15:guide>
        <p15:guide id="5" orient="horz" pos="259">
          <p15:clr>
            <a:srgbClr val="FBAE40"/>
          </p15:clr>
        </p15:guide>
        <p15:guide id="6" orient="horz" pos="797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BEST FI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8" name="Imagen 37">
            <a:extLst>
              <a:ext uri="{FF2B5EF4-FFF2-40B4-BE49-F238E27FC236}">
                <a16:creationId xmlns:a16="http://schemas.microsoft.com/office/drawing/2014/main" id="{5C82E371-EEFD-424A-A184-4D330DCDFAB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5595933"/>
            <a:ext cx="2079437" cy="1262068"/>
          </a:xfrm>
          <a:prstGeom prst="rect">
            <a:avLst/>
          </a:prstGeom>
        </p:spPr>
      </p:pic>
      <p:sp>
        <p:nvSpPr>
          <p:cNvPr id="2" name="Rectángulo 1">
            <a:extLst>
              <a:ext uri="{FF2B5EF4-FFF2-40B4-BE49-F238E27FC236}">
                <a16:creationId xmlns:a16="http://schemas.microsoft.com/office/drawing/2014/main" id="{2CBC9F86-9730-CB61-A776-904816C2A2BF}"/>
              </a:ext>
            </a:extLst>
          </p:cNvPr>
          <p:cNvSpPr/>
          <p:nvPr userDrawn="1"/>
        </p:nvSpPr>
        <p:spPr>
          <a:xfrm>
            <a:off x="10875704" y="0"/>
            <a:ext cx="1316296" cy="32374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</p:spTree>
    <p:extLst>
      <p:ext uri="{BB962C8B-B14F-4D97-AF65-F5344CB8AC3E}">
        <p14:creationId xmlns:p14="http://schemas.microsoft.com/office/powerpoint/2010/main" val="266003828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880">
          <p15:clr>
            <a:srgbClr val="FBAE40"/>
          </p15:clr>
        </p15:guide>
        <p15:guide id="4" pos="4400">
          <p15:clr>
            <a:srgbClr val="FBAE40"/>
          </p15:clr>
        </p15:guide>
        <p15:guide id="5" orient="horz" pos="259">
          <p15:clr>
            <a:srgbClr val="FBAE40"/>
          </p15:clr>
        </p15:guide>
        <p15:guide id="6" orient="horz" pos="797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BEST FI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7" name="Grupo 76">
            <a:extLst>
              <a:ext uri="{FF2B5EF4-FFF2-40B4-BE49-F238E27FC236}">
                <a16:creationId xmlns:a16="http://schemas.microsoft.com/office/drawing/2014/main" id="{E5C63A3C-557F-2742-8DAC-6F774198CF5A}"/>
              </a:ext>
            </a:extLst>
          </p:cNvPr>
          <p:cNvGrpSpPr/>
          <p:nvPr userDrawn="1"/>
        </p:nvGrpSpPr>
        <p:grpSpPr>
          <a:xfrm>
            <a:off x="7694034" y="-1232050"/>
            <a:ext cx="5607983" cy="3738655"/>
            <a:chOff x="5429332" y="-1308126"/>
            <a:chExt cx="4782119" cy="3188079"/>
          </a:xfrm>
        </p:grpSpPr>
        <p:grpSp>
          <p:nvGrpSpPr>
            <p:cNvPr id="78" name="Gráfico 16">
              <a:extLst>
                <a:ext uri="{FF2B5EF4-FFF2-40B4-BE49-F238E27FC236}">
                  <a16:creationId xmlns:a16="http://schemas.microsoft.com/office/drawing/2014/main" id="{2AEC8D84-0817-7944-B365-3E066FEA40B5}"/>
                </a:ext>
              </a:extLst>
            </p:cNvPr>
            <p:cNvGrpSpPr/>
            <p:nvPr/>
          </p:nvGrpSpPr>
          <p:grpSpPr>
            <a:xfrm>
              <a:off x="5429332" y="-1308126"/>
              <a:ext cx="4782119" cy="3188079"/>
              <a:chOff x="714375" y="0"/>
              <a:chExt cx="7715250" cy="5143500"/>
            </a:xfrm>
            <a:gradFill flip="none" rotWithShape="1">
              <a:gsLst>
                <a:gs pos="70000">
                  <a:schemeClr val="bg1"/>
                </a:gs>
                <a:gs pos="0">
                  <a:schemeClr val="bg1">
                    <a:lumMod val="85000"/>
                  </a:schemeClr>
                </a:gs>
              </a:gsLst>
              <a:lin ang="18900000" scaled="1"/>
              <a:tileRect/>
            </a:gradFill>
          </p:grpSpPr>
          <p:sp>
            <p:nvSpPr>
              <p:cNvPr id="124" name="Forma libre 123">
                <a:extLst>
                  <a:ext uri="{FF2B5EF4-FFF2-40B4-BE49-F238E27FC236}">
                    <a16:creationId xmlns:a16="http://schemas.microsoft.com/office/drawing/2014/main" id="{50D70F4A-4848-FA4E-86AA-FD5302B03B7C}"/>
                  </a:ext>
                </a:extLst>
              </p:cNvPr>
              <p:cNvSpPr/>
              <p:nvPr/>
            </p:nvSpPr>
            <p:spPr>
              <a:xfrm>
                <a:off x="8323604" y="0"/>
                <a:ext cx="106020" cy="8869"/>
              </a:xfrm>
              <a:custGeom>
                <a:avLst/>
                <a:gdLst>
                  <a:gd name="connsiteX0" fmla="*/ 106020 w 106020"/>
                  <a:gd name="connsiteY0" fmla="*/ 7221 h 8869"/>
                  <a:gd name="connsiteX1" fmla="*/ 106020 w 106020"/>
                  <a:gd name="connsiteY1" fmla="*/ 8869 h 8869"/>
                  <a:gd name="connsiteX2" fmla="*/ 0 w 106020"/>
                  <a:gd name="connsiteY2" fmla="*/ 0 h 8869"/>
                  <a:gd name="connsiteX3" fmla="*/ 21384 w 106020"/>
                  <a:gd name="connsiteY3" fmla="*/ 0 h 8869"/>
                  <a:gd name="connsiteX4" fmla="*/ 106020 w 106020"/>
                  <a:gd name="connsiteY4" fmla="*/ 7221 h 88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06020" h="8869">
                    <a:moveTo>
                      <a:pt x="106020" y="7221"/>
                    </a:moveTo>
                    <a:lnTo>
                      <a:pt x="106020" y="8869"/>
                    </a:lnTo>
                    <a:cubicBezTo>
                      <a:pt x="70593" y="5622"/>
                      <a:pt x="35246" y="2671"/>
                      <a:pt x="0" y="0"/>
                    </a:cubicBezTo>
                    <a:lnTo>
                      <a:pt x="21384" y="0"/>
                    </a:lnTo>
                    <a:cubicBezTo>
                      <a:pt x="49541" y="2226"/>
                      <a:pt x="77748" y="4616"/>
                      <a:pt x="106020" y="7221"/>
                    </a:cubicBezTo>
                    <a:close/>
                  </a:path>
                </a:pathLst>
              </a:custGeom>
              <a:grpFill/>
              <a:ln w="164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 sz="2400"/>
              </a:p>
            </p:txBody>
          </p:sp>
          <p:grpSp>
            <p:nvGrpSpPr>
              <p:cNvPr id="125" name="Gráfico 16">
                <a:extLst>
                  <a:ext uri="{FF2B5EF4-FFF2-40B4-BE49-F238E27FC236}">
                    <a16:creationId xmlns:a16="http://schemas.microsoft.com/office/drawing/2014/main" id="{7F745EC9-43CF-D649-9A23-27132D697CE2}"/>
                  </a:ext>
                </a:extLst>
              </p:cNvPr>
              <p:cNvGrpSpPr/>
              <p:nvPr/>
            </p:nvGrpSpPr>
            <p:grpSpPr>
              <a:xfrm>
                <a:off x="7521383" y="0"/>
                <a:ext cx="908241" cy="5143501"/>
                <a:chOff x="7521383" y="0"/>
                <a:chExt cx="908241" cy="5143501"/>
              </a:xfrm>
              <a:grpFill/>
            </p:grpSpPr>
            <p:sp>
              <p:nvSpPr>
                <p:cNvPr id="236" name="Forma libre 235">
                  <a:extLst>
                    <a:ext uri="{FF2B5EF4-FFF2-40B4-BE49-F238E27FC236}">
                      <a16:creationId xmlns:a16="http://schemas.microsoft.com/office/drawing/2014/main" id="{0CD9FF4C-34FF-7E43-8F2E-03860D0A53D1}"/>
                    </a:ext>
                  </a:extLst>
                </p:cNvPr>
                <p:cNvSpPr/>
                <p:nvPr/>
              </p:nvSpPr>
              <p:spPr>
                <a:xfrm>
                  <a:off x="8378008" y="0"/>
                  <a:ext cx="51616" cy="350285"/>
                </a:xfrm>
                <a:custGeom>
                  <a:avLst/>
                  <a:gdLst>
                    <a:gd name="connsiteX0" fmla="*/ 51616 w 51616"/>
                    <a:gd name="connsiteY0" fmla="*/ 327948 h 350285"/>
                    <a:gd name="connsiteX1" fmla="*/ 51616 w 51616"/>
                    <a:gd name="connsiteY1" fmla="*/ 350286 h 350285"/>
                    <a:gd name="connsiteX2" fmla="*/ 6561 w 51616"/>
                    <a:gd name="connsiteY2" fmla="*/ 29509 h 350285"/>
                    <a:gd name="connsiteX3" fmla="*/ 0 w 51616"/>
                    <a:gd name="connsiteY3" fmla="*/ 0 h 350285"/>
                    <a:gd name="connsiteX4" fmla="*/ 1683 w 51616"/>
                    <a:gd name="connsiteY4" fmla="*/ 0 h 350285"/>
                    <a:gd name="connsiteX5" fmla="*/ 8145 w 51616"/>
                    <a:gd name="connsiteY5" fmla="*/ 28998 h 350285"/>
                    <a:gd name="connsiteX6" fmla="*/ 51616 w 51616"/>
                    <a:gd name="connsiteY6" fmla="*/ 327948 h 35028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51616" h="350285">
                      <a:moveTo>
                        <a:pt x="51616" y="327948"/>
                      </a:moveTo>
                      <a:lnTo>
                        <a:pt x="51616" y="350286"/>
                      </a:lnTo>
                      <a:cubicBezTo>
                        <a:pt x="41132" y="216291"/>
                        <a:pt x="23704" y="109481"/>
                        <a:pt x="6561" y="29509"/>
                      </a:cubicBezTo>
                      <a:cubicBezTo>
                        <a:pt x="4385" y="19371"/>
                        <a:pt x="2193" y="9545"/>
                        <a:pt x="0" y="0"/>
                      </a:cubicBezTo>
                      <a:lnTo>
                        <a:pt x="1683" y="0"/>
                      </a:lnTo>
                      <a:cubicBezTo>
                        <a:pt x="3859" y="9380"/>
                        <a:pt x="6003" y="19041"/>
                        <a:pt x="8145" y="28998"/>
                      </a:cubicBezTo>
                      <a:cubicBezTo>
                        <a:pt x="27844" y="120922"/>
                        <a:pt x="42434" y="221286"/>
                        <a:pt x="51616" y="327948"/>
                      </a:cubicBezTo>
                      <a:close/>
                    </a:path>
                  </a:pathLst>
                </a:custGeom>
                <a:grpFill/>
                <a:ln w="164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s-ES_tradnl" sz="2400"/>
                </a:p>
              </p:txBody>
            </p:sp>
            <p:sp>
              <p:nvSpPr>
                <p:cNvPr id="237" name="Forma libre 236">
                  <a:extLst>
                    <a:ext uri="{FF2B5EF4-FFF2-40B4-BE49-F238E27FC236}">
                      <a16:creationId xmlns:a16="http://schemas.microsoft.com/office/drawing/2014/main" id="{3AE72032-F870-8448-A4F3-8CFF4CC2597D}"/>
                    </a:ext>
                  </a:extLst>
                </p:cNvPr>
                <p:cNvSpPr/>
                <p:nvPr/>
              </p:nvSpPr>
              <p:spPr>
                <a:xfrm>
                  <a:off x="8391675" y="0"/>
                  <a:ext cx="37949" cy="177071"/>
                </a:xfrm>
                <a:custGeom>
                  <a:avLst/>
                  <a:gdLst>
                    <a:gd name="connsiteX0" fmla="*/ 37950 w 37949"/>
                    <a:gd name="connsiteY0" fmla="*/ 162152 h 177071"/>
                    <a:gd name="connsiteX1" fmla="*/ 37950 w 37949"/>
                    <a:gd name="connsiteY1" fmla="*/ 177072 h 177071"/>
                    <a:gd name="connsiteX2" fmla="*/ 0 w 37949"/>
                    <a:gd name="connsiteY2" fmla="*/ 0 h 177071"/>
                    <a:gd name="connsiteX3" fmla="*/ 1894 w 37949"/>
                    <a:gd name="connsiteY3" fmla="*/ 0 h 177071"/>
                    <a:gd name="connsiteX4" fmla="*/ 37950 w 37949"/>
                    <a:gd name="connsiteY4" fmla="*/ 162152 h 1770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7949" h="177071">
                      <a:moveTo>
                        <a:pt x="37950" y="162152"/>
                      </a:moveTo>
                      <a:lnTo>
                        <a:pt x="37950" y="177072"/>
                      </a:lnTo>
                      <a:cubicBezTo>
                        <a:pt x="27432" y="115993"/>
                        <a:pt x="14788" y="56941"/>
                        <a:pt x="0" y="0"/>
                      </a:cubicBezTo>
                      <a:lnTo>
                        <a:pt x="1894" y="0"/>
                      </a:lnTo>
                      <a:cubicBezTo>
                        <a:pt x="12331" y="39005"/>
                        <a:pt x="25471" y="92599"/>
                        <a:pt x="37950" y="162152"/>
                      </a:cubicBezTo>
                      <a:close/>
                    </a:path>
                  </a:pathLst>
                </a:custGeom>
                <a:grpFill/>
                <a:ln w="164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s-ES_tradnl" sz="2400"/>
                </a:p>
              </p:txBody>
            </p:sp>
            <p:sp>
              <p:nvSpPr>
                <p:cNvPr id="238" name="Forma libre 237">
                  <a:extLst>
                    <a:ext uri="{FF2B5EF4-FFF2-40B4-BE49-F238E27FC236}">
                      <a16:creationId xmlns:a16="http://schemas.microsoft.com/office/drawing/2014/main" id="{42C9673F-44F2-4542-AA9D-62D77A3C91D4}"/>
                    </a:ext>
                  </a:extLst>
                </p:cNvPr>
                <p:cNvSpPr/>
                <p:nvPr/>
              </p:nvSpPr>
              <p:spPr>
                <a:xfrm>
                  <a:off x="7521383" y="4150903"/>
                  <a:ext cx="908241" cy="992596"/>
                </a:xfrm>
                <a:custGeom>
                  <a:avLst/>
                  <a:gdLst>
                    <a:gd name="connsiteX0" fmla="*/ 908242 w 908241"/>
                    <a:gd name="connsiteY0" fmla="*/ 0 h 992596"/>
                    <a:gd name="connsiteX1" fmla="*/ 908242 w 908241"/>
                    <a:gd name="connsiteY1" fmla="*/ 2537 h 992596"/>
                    <a:gd name="connsiteX2" fmla="*/ 2293 w 908241"/>
                    <a:gd name="connsiteY2" fmla="*/ 992597 h 992596"/>
                    <a:gd name="connsiteX3" fmla="*/ 0 w 908241"/>
                    <a:gd name="connsiteY3" fmla="*/ 992597 h 992596"/>
                    <a:gd name="connsiteX4" fmla="*/ 908242 w 908241"/>
                    <a:gd name="connsiteY4" fmla="*/ 0 h 99259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908241" h="992596">
                      <a:moveTo>
                        <a:pt x="908242" y="0"/>
                      </a:moveTo>
                      <a:lnTo>
                        <a:pt x="908242" y="2537"/>
                      </a:lnTo>
                      <a:cubicBezTo>
                        <a:pt x="672894" y="276529"/>
                        <a:pt x="380307" y="610080"/>
                        <a:pt x="2293" y="992597"/>
                      </a:cubicBezTo>
                      <a:lnTo>
                        <a:pt x="0" y="992597"/>
                      </a:lnTo>
                      <a:cubicBezTo>
                        <a:pt x="379187" y="608944"/>
                        <a:pt x="672465" y="274518"/>
                        <a:pt x="908242" y="0"/>
                      </a:cubicBezTo>
                      <a:close/>
                    </a:path>
                  </a:pathLst>
                </a:custGeom>
                <a:grpFill/>
                <a:ln w="164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s-ES_tradnl" sz="2400"/>
                </a:p>
              </p:txBody>
            </p:sp>
            <p:sp>
              <p:nvSpPr>
                <p:cNvPr id="239" name="Forma libre 238">
                  <a:extLst>
                    <a:ext uri="{FF2B5EF4-FFF2-40B4-BE49-F238E27FC236}">
                      <a16:creationId xmlns:a16="http://schemas.microsoft.com/office/drawing/2014/main" id="{BABC1185-2AAB-BE40-9DDD-69F385545A49}"/>
                    </a:ext>
                  </a:extLst>
                </p:cNvPr>
                <p:cNvSpPr/>
                <p:nvPr/>
              </p:nvSpPr>
              <p:spPr>
                <a:xfrm>
                  <a:off x="7583471" y="4263697"/>
                  <a:ext cx="846153" cy="879800"/>
                </a:xfrm>
                <a:custGeom>
                  <a:avLst/>
                  <a:gdLst>
                    <a:gd name="connsiteX0" fmla="*/ 846154 w 846153"/>
                    <a:gd name="connsiteY0" fmla="*/ 0 h 879800"/>
                    <a:gd name="connsiteX1" fmla="*/ 846154 w 846153"/>
                    <a:gd name="connsiteY1" fmla="*/ 2438 h 879800"/>
                    <a:gd name="connsiteX2" fmla="*/ 2389 w 846153"/>
                    <a:gd name="connsiteY2" fmla="*/ 879801 h 879800"/>
                    <a:gd name="connsiteX3" fmla="*/ 0 w 846153"/>
                    <a:gd name="connsiteY3" fmla="*/ 879801 h 879800"/>
                    <a:gd name="connsiteX4" fmla="*/ 846154 w 846153"/>
                    <a:gd name="connsiteY4" fmla="*/ 0 h 8798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846153" h="879800">
                      <a:moveTo>
                        <a:pt x="846154" y="0"/>
                      </a:moveTo>
                      <a:lnTo>
                        <a:pt x="846154" y="2438"/>
                      </a:lnTo>
                      <a:cubicBezTo>
                        <a:pt x="614449" y="254702"/>
                        <a:pt x="344067" y="546363"/>
                        <a:pt x="2389" y="879801"/>
                      </a:cubicBezTo>
                      <a:lnTo>
                        <a:pt x="0" y="879801"/>
                      </a:lnTo>
                      <a:cubicBezTo>
                        <a:pt x="342831" y="545324"/>
                        <a:pt x="613938" y="252837"/>
                        <a:pt x="846154" y="0"/>
                      </a:cubicBezTo>
                      <a:close/>
                    </a:path>
                  </a:pathLst>
                </a:custGeom>
                <a:grpFill/>
                <a:ln w="164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s-ES_tradnl" sz="2400"/>
                </a:p>
              </p:txBody>
            </p:sp>
            <p:sp>
              <p:nvSpPr>
                <p:cNvPr id="240" name="Forma libre 239">
                  <a:extLst>
                    <a:ext uri="{FF2B5EF4-FFF2-40B4-BE49-F238E27FC236}">
                      <a16:creationId xmlns:a16="http://schemas.microsoft.com/office/drawing/2014/main" id="{E7DCBC3D-D890-2347-8179-E37D838A1117}"/>
                    </a:ext>
                  </a:extLst>
                </p:cNvPr>
                <p:cNvSpPr/>
                <p:nvPr/>
              </p:nvSpPr>
              <p:spPr>
                <a:xfrm>
                  <a:off x="7650747" y="4375338"/>
                  <a:ext cx="778877" cy="768163"/>
                </a:xfrm>
                <a:custGeom>
                  <a:avLst/>
                  <a:gdLst>
                    <a:gd name="connsiteX0" fmla="*/ 778878 w 778877"/>
                    <a:gd name="connsiteY0" fmla="*/ 0 h 768163"/>
                    <a:gd name="connsiteX1" fmla="*/ 778878 w 778877"/>
                    <a:gd name="connsiteY1" fmla="*/ 2357 h 768163"/>
                    <a:gd name="connsiteX2" fmla="*/ 772629 w 778877"/>
                    <a:gd name="connsiteY2" fmla="*/ 8706 h 768163"/>
                    <a:gd name="connsiteX3" fmla="*/ 2391 w 778877"/>
                    <a:gd name="connsiteY3" fmla="*/ 768164 h 768163"/>
                    <a:gd name="connsiteX4" fmla="*/ 0 w 778877"/>
                    <a:gd name="connsiteY4" fmla="*/ 768164 h 768163"/>
                    <a:gd name="connsiteX5" fmla="*/ 771443 w 778877"/>
                    <a:gd name="connsiteY5" fmla="*/ 7552 h 768163"/>
                    <a:gd name="connsiteX6" fmla="*/ 778878 w 778877"/>
                    <a:gd name="connsiteY6" fmla="*/ 0 h 76816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78877" h="768163">
                      <a:moveTo>
                        <a:pt x="778878" y="0"/>
                      </a:moveTo>
                      <a:lnTo>
                        <a:pt x="778878" y="2357"/>
                      </a:lnTo>
                      <a:cubicBezTo>
                        <a:pt x="776801" y="4468"/>
                        <a:pt x="774723" y="6579"/>
                        <a:pt x="772629" y="8706"/>
                      </a:cubicBezTo>
                      <a:cubicBezTo>
                        <a:pt x="556734" y="228178"/>
                        <a:pt x="307143" y="481890"/>
                        <a:pt x="2391" y="768164"/>
                      </a:cubicBezTo>
                      <a:lnTo>
                        <a:pt x="0" y="768164"/>
                      </a:lnTo>
                      <a:cubicBezTo>
                        <a:pt x="305313" y="481415"/>
                        <a:pt x="555265" y="227321"/>
                        <a:pt x="771443" y="7552"/>
                      </a:cubicBezTo>
                      <a:cubicBezTo>
                        <a:pt x="773932" y="5028"/>
                        <a:pt x="776405" y="2507"/>
                        <a:pt x="778878" y="0"/>
                      </a:cubicBezTo>
                      <a:close/>
                    </a:path>
                  </a:pathLst>
                </a:custGeom>
                <a:grpFill/>
                <a:ln w="164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s-ES_tradnl" sz="2400"/>
                </a:p>
              </p:txBody>
            </p:sp>
            <p:sp>
              <p:nvSpPr>
                <p:cNvPr id="241" name="Forma libre 240">
                  <a:extLst>
                    <a:ext uri="{FF2B5EF4-FFF2-40B4-BE49-F238E27FC236}">
                      <a16:creationId xmlns:a16="http://schemas.microsoft.com/office/drawing/2014/main" id="{E7F482BB-4FF2-4B4D-A99B-4EAD31A7D3B5}"/>
                    </a:ext>
                  </a:extLst>
                </p:cNvPr>
                <p:cNvSpPr/>
                <p:nvPr/>
              </p:nvSpPr>
              <p:spPr>
                <a:xfrm>
                  <a:off x="7724438" y="4485923"/>
                  <a:ext cx="705186" cy="657576"/>
                </a:xfrm>
                <a:custGeom>
                  <a:avLst/>
                  <a:gdLst>
                    <a:gd name="connsiteX0" fmla="*/ 705187 w 705186"/>
                    <a:gd name="connsiteY0" fmla="*/ 0 h 657576"/>
                    <a:gd name="connsiteX1" fmla="*/ 705187 w 705186"/>
                    <a:gd name="connsiteY1" fmla="*/ 2275 h 657576"/>
                    <a:gd name="connsiteX2" fmla="*/ 628957 w 705186"/>
                    <a:gd name="connsiteY2" fmla="*/ 74564 h 657576"/>
                    <a:gd name="connsiteX3" fmla="*/ 2489 w 705186"/>
                    <a:gd name="connsiteY3" fmla="*/ 657577 h 657576"/>
                    <a:gd name="connsiteX4" fmla="*/ 0 w 705186"/>
                    <a:gd name="connsiteY4" fmla="*/ 657577 h 657576"/>
                    <a:gd name="connsiteX5" fmla="*/ 627818 w 705186"/>
                    <a:gd name="connsiteY5" fmla="*/ 73361 h 657576"/>
                    <a:gd name="connsiteX6" fmla="*/ 705187 w 705186"/>
                    <a:gd name="connsiteY6" fmla="*/ 0 h 65757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05186" h="657576">
                      <a:moveTo>
                        <a:pt x="705187" y="0"/>
                      </a:moveTo>
                      <a:lnTo>
                        <a:pt x="705187" y="2275"/>
                      </a:lnTo>
                      <a:cubicBezTo>
                        <a:pt x="680244" y="25899"/>
                        <a:pt x="654857" y="50000"/>
                        <a:pt x="628957" y="74564"/>
                      </a:cubicBezTo>
                      <a:cubicBezTo>
                        <a:pt x="447568" y="246674"/>
                        <a:pt x="241695" y="441996"/>
                        <a:pt x="2489" y="657577"/>
                      </a:cubicBezTo>
                      <a:lnTo>
                        <a:pt x="0" y="657577"/>
                      </a:lnTo>
                      <a:cubicBezTo>
                        <a:pt x="239781" y="441549"/>
                        <a:pt x="446099" y="245800"/>
                        <a:pt x="627818" y="73361"/>
                      </a:cubicBezTo>
                      <a:cubicBezTo>
                        <a:pt x="654114" y="48418"/>
                        <a:pt x="679881" y="23970"/>
                        <a:pt x="705187" y="0"/>
                      </a:cubicBezTo>
                      <a:close/>
                    </a:path>
                  </a:pathLst>
                </a:custGeom>
                <a:grpFill/>
                <a:ln w="164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s-ES_tradnl" sz="2400"/>
                </a:p>
              </p:txBody>
            </p:sp>
            <p:sp>
              <p:nvSpPr>
                <p:cNvPr id="242" name="Forma libre 241">
                  <a:extLst>
                    <a:ext uri="{FF2B5EF4-FFF2-40B4-BE49-F238E27FC236}">
                      <a16:creationId xmlns:a16="http://schemas.microsoft.com/office/drawing/2014/main" id="{06413295-3CFB-BC49-8532-1815C6B8FD09}"/>
                    </a:ext>
                  </a:extLst>
                </p:cNvPr>
                <p:cNvSpPr/>
                <p:nvPr/>
              </p:nvSpPr>
              <p:spPr>
                <a:xfrm>
                  <a:off x="7805779" y="4595552"/>
                  <a:ext cx="623845" cy="547947"/>
                </a:xfrm>
                <a:custGeom>
                  <a:avLst/>
                  <a:gdLst>
                    <a:gd name="connsiteX0" fmla="*/ 623845 w 623845"/>
                    <a:gd name="connsiteY0" fmla="*/ 0 h 547947"/>
                    <a:gd name="connsiteX1" fmla="*/ 623845 w 623845"/>
                    <a:gd name="connsiteY1" fmla="*/ 2209 h 547947"/>
                    <a:gd name="connsiteX2" fmla="*/ 471305 w 623845"/>
                    <a:gd name="connsiteY2" fmla="*/ 137094 h 547947"/>
                    <a:gd name="connsiteX3" fmla="*/ 2520 w 623845"/>
                    <a:gd name="connsiteY3" fmla="*/ 547947 h 547947"/>
                    <a:gd name="connsiteX4" fmla="*/ 0 w 623845"/>
                    <a:gd name="connsiteY4" fmla="*/ 547947 h 547947"/>
                    <a:gd name="connsiteX5" fmla="*/ 470218 w 623845"/>
                    <a:gd name="connsiteY5" fmla="*/ 135858 h 547947"/>
                    <a:gd name="connsiteX6" fmla="*/ 623845 w 623845"/>
                    <a:gd name="connsiteY6" fmla="*/ 0 h 54794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623845" h="547947">
                      <a:moveTo>
                        <a:pt x="623845" y="0"/>
                      </a:moveTo>
                      <a:lnTo>
                        <a:pt x="623845" y="2209"/>
                      </a:lnTo>
                      <a:cubicBezTo>
                        <a:pt x="574587" y="45615"/>
                        <a:pt x="523796" y="90605"/>
                        <a:pt x="471305" y="137094"/>
                      </a:cubicBezTo>
                      <a:cubicBezTo>
                        <a:pt x="331045" y="261329"/>
                        <a:pt x="175570" y="399048"/>
                        <a:pt x="2520" y="547947"/>
                      </a:cubicBezTo>
                      <a:lnTo>
                        <a:pt x="0" y="547947"/>
                      </a:lnTo>
                      <a:cubicBezTo>
                        <a:pt x="173610" y="398573"/>
                        <a:pt x="329563" y="260439"/>
                        <a:pt x="470218" y="135858"/>
                      </a:cubicBezTo>
                      <a:cubicBezTo>
                        <a:pt x="523267" y="88874"/>
                        <a:pt x="574389" y="43589"/>
                        <a:pt x="623845" y="0"/>
                      </a:cubicBezTo>
                      <a:close/>
                    </a:path>
                  </a:pathLst>
                </a:custGeom>
                <a:grpFill/>
                <a:ln w="164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s-ES_tradnl" sz="2400"/>
                </a:p>
              </p:txBody>
            </p:sp>
            <p:sp>
              <p:nvSpPr>
                <p:cNvPr id="243" name="Forma libre 242">
                  <a:extLst>
                    <a:ext uri="{FF2B5EF4-FFF2-40B4-BE49-F238E27FC236}">
                      <a16:creationId xmlns:a16="http://schemas.microsoft.com/office/drawing/2014/main" id="{4E5BDD3F-DB38-6449-9133-8B0E2EAF7DDF}"/>
                    </a:ext>
                  </a:extLst>
                </p:cNvPr>
                <p:cNvSpPr/>
                <p:nvPr/>
              </p:nvSpPr>
              <p:spPr>
                <a:xfrm>
                  <a:off x="7896397" y="4704307"/>
                  <a:ext cx="533227" cy="439192"/>
                </a:xfrm>
                <a:custGeom>
                  <a:avLst/>
                  <a:gdLst>
                    <a:gd name="connsiteX0" fmla="*/ 533228 w 533227"/>
                    <a:gd name="connsiteY0" fmla="*/ 0 h 439192"/>
                    <a:gd name="connsiteX1" fmla="*/ 533228 w 533227"/>
                    <a:gd name="connsiteY1" fmla="*/ 2110 h 439192"/>
                    <a:gd name="connsiteX2" fmla="*/ 298061 w 533227"/>
                    <a:gd name="connsiteY2" fmla="*/ 195881 h 439192"/>
                    <a:gd name="connsiteX3" fmla="*/ 2606 w 533227"/>
                    <a:gd name="connsiteY3" fmla="*/ 439192 h 439192"/>
                    <a:gd name="connsiteX4" fmla="*/ 0 w 533227"/>
                    <a:gd name="connsiteY4" fmla="*/ 439192 h 439192"/>
                    <a:gd name="connsiteX5" fmla="*/ 297006 w 533227"/>
                    <a:gd name="connsiteY5" fmla="*/ 194614 h 439192"/>
                    <a:gd name="connsiteX6" fmla="*/ 533228 w 533227"/>
                    <a:gd name="connsiteY6" fmla="*/ 0 h 4391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533227" h="439192">
                      <a:moveTo>
                        <a:pt x="533228" y="0"/>
                      </a:moveTo>
                      <a:lnTo>
                        <a:pt x="533228" y="2110"/>
                      </a:lnTo>
                      <a:cubicBezTo>
                        <a:pt x="458268" y="63436"/>
                        <a:pt x="380092" y="128058"/>
                        <a:pt x="298061" y="195881"/>
                      </a:cubicBezTo>
                      <a:cubicBezTo>
                        <a:pt x="203782" y="273824"/>
                        <a:pt x="105757" y="354867"/>
                        <a:pt x="2606" y="439192"/>
                      </a:cubicBezTo>
                      <a:lnTo>
                        <a:pt x="0" y="439192"/>
                      </a:lnTo>
                      <a:cubicBezTo>
                        <a:pt x="103730" y="354407"/>
                        <a:pt x="202264" y="272935"/>
                        <a:pt x="297006" y="194614"/>
                      </a:cubicBezTo>
                      <a:cubicBezTo>
                        <a:pt x="379416" y="126479"/>
                        <a:pt x="457955" y="61557"/>
                        <a:pt x="533228" y="0"/>
                      </a:cubicBezTo>
                      <a:close/>
                    </a:path>
                  </a:pathLst>
                </a:custGeom>
                <a:grpFill/>
                <a:ln w="164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s-ES_tradnl" sz="2400"/>
                </a:p>
              </p:txBody>
            </p:sp>
            <p:sp>
              <p:nvSpPr>
                <p:cNvPr id="244" name="Forma libre 243">
                  <a:extLst>
                    <a:ext uri="{FF2B5EF4-FFF2-40B4-BE49-F238E27FC236}">
                      <a16:creationId xmlns:a16="http://schemas.microsoft.com/office/drawing/2014/main" id="{661CB0A0-0E18-E145-A076-30BBEE27F600}"/>
                    </a:ext>
                  </a:extLst>
                </p:cNvPr>
                <p:cNvSpPr/>
                <p:nvPr/>
              </p:nvSpPr>
              <p:spPr>
                <a:xfrm>
                  <a:off x="7998113" y="4812222"/>
                  <a:ext cx="431511" cy="331277"/>
                </a:xfrm>
                <a:custGeom>
                  <a:avLst/>
                  <a:gdLst>
                    <a:gd name="connsiteX0" fmla="*/ 431512 w 431511"/>
                    <a:gd name="connsiteY0" fmla="*/ 0 h 331277"/>
                    <a:gd name="connsiteX1" fmla="*/ 431512 w 431511"/>
                    <a:gd name="connsiteY1" fmla="*/ 2044 h 331277"/>
                    <a:gd name="connsiteX2" fmla="*/ 107488 w 431511"/>
                    <a:gd name="connsiteY2" fmla="*/ 250515 h 331277"/>
                    <a:gd name="connsiteX3" fmla="*/ 2704 w 431511"/>
                    <a:gd name="connsiteY3" fmla="*/ 331278 h 331277"/>
                    <a:gd name="connsiteX4" fmla="*/ 0 w 431511"/>
                    <a:gd name="connsiteY4" fmla="*/ 331278 h 331277"/>
                    <a:gd name="connsiteX5" fmla="*/ 106480 w 431511"/>
                    <a:gd name="connsiteY5" fmla="*/ 249212 h 331277"/>
                    <a:gd name="connsiteX6" fmla="*/ 431512 w 431511"/>
                    <a:gd name="connsiteY6" fmla="*/ 0 h 33127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431511" h="331277">
                      <a:moveTo>
                        <a:pt x="431512" y="0"/>
                      </a:moveTo>
                      <a:lnTo>
                        <a:pt x="431512" y="2044"/>
                      </a:lnTo>
                      <a:cubicBezTo>
                        <a:pt x="329466" y="79312"/>
                        <a:pt x="221931" y="162267"/>
                        <a:pt x="107488" y="250515"/>
                      </a:cubicBezTo>
                      <a:cubicBezTo>
                        <a:pt x="73114" y="277024"/>
                        <a:pt x="38199" y="303944"/>
                        <a:pt x="2704" y="331278"/>
                      </a:cubicBezTo>
                      <a:lnTo>
                        <a:pt x="0" y="331278"/>
                      </a:lnTo>
                      <a:cubicBezTo>
                        <a:pt x="36070" y="303499"/>
                        <a:pt x="71547" y="276152"/>
                        <a:pt x="106480" y="249212"/>
                      </a:cubicBezTo>
                      <a:cubicBezTo>
                        <a:pt x="221815" y="160273"/>
                        <a:pt x="329466" y="77220"/>
                        <a:pt x="431512" y="0"/>
                      </a:cubicBezTo>
                      <a:close/>
                    </a:path>
                  </a:pathLst>
                </a:custGeom>
                <a:grpFill/>
                <a:ln w="164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s-ES_tradnl" sz="2400"/>
                </a:p>
              </p:txBody>
            </p:sp>
            <p:sp>
              <p:nvSpPr>
                <p:cNvPr id="245" name="Forma libre 244">
                  <a:extLst>
                    <a:ext uri="{FF2B5EF4-FFF2-40B4-BE49-F238E27FC236}">
                      <a16:creationId xmlns:a16="http://schemas.microsoft.com/office/drawing/2014/main" id="{855E5AFB-C812-4244-97BA-EF22F4A53BE9}"/>
                    </a:ext>
                  </a:extLst>
                </p:cNvPr>
                <p:cNvSpPr/>
                <p:nvPr/>
              </p:nvSpPr>
              <p:spPr>
                <a:xfrm>
                  <a:off x="8114140" y="4919494"/>
                  <a:ext cx="315484" cy="224004"/>
                </a:xfrm>
                <a:custGeom>
                  <a:avLst/>
                  <a:gdLst>
                    <a:gd name="connsiteX0" fmla="*/ 315485 w 315484"/>
                    <a:gd name="connsiteY0" fmla="*/ 0 h 224004"/>
                    <a:gd name="connsiteX1" fmla="*/ 315485 w 315484"/>
                    <a:gd name="connsiteY1" fmla="*/ 2026 h 224004"/>
                    <a:gd name="connsiteX2" fmla="*/ 2819 w 315484"/>
                    <a:gd name="connsiteY2" fmla="*/ 224004 h 224004"/>
                    <a:gd name="connsiteX3" fmla="*/ 0 w 315484"/>
                    <a:gd name="connsiteY3" fmla="*/ 224004 h 224004"/>
                    <a:gd name="connsiteX4" fmla="*/ 315485 w 315484"/>
                    <a:gd name="connsiteY4" fmla="*/ 0 h 22400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15484" h="224004">
                      <a:moveTo>
                        <a:pt x="315485" y="0"/>
                      </a:moveTo>
                      <a:lnTo>
                        <a:pt x="315485" y="2026"/>
                      </a:lnTo>
                      <a:cubicBezTo>
                        <a:pt x="215945" y="71447"/>
                        <a:pt x="112102" y="145582"/>
                        <a:pt x="2819" y="224004"/>
                      </a:cubicBezTo>
                      <a:lnTo>
                        <a:pt x="0" y="224004"/>
                      </a:lnTo>
                      <a:cubicBezTo>
                        <a:pt x="110007" y="145055"/>
                        <a:pt x="214857" y="70195"/>
                        <a:pt x="315485" y="0"/>
                      </a:cubicBezTo>
                      <a:close/>
                    </a:path>
                  </a:pathLst>
                </a:custGeom>
                <a:grpFill/>
                <a:ln w="164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s-ES_tradnl" sz="2400"/>
                </a:p>
              </p:txBody>
            </p:sp>
            <p:sp>
              <p:nvSpPr>
                <p:cNvPr id="246" name="Forma libre 245">
                  <a:extLst>
                    <a:ext uri="{FF2B5EF4-FFF2-40B4-BE49-F238E27FC236}">
                      <a16:creationId xmlns:a16="http://schemas.microsoft.com/office/drawing/2014/main" id="{C9C54356-6C6C-C14B-90B5-91EC5DE93421}"/>
                    </a:ext>
                  </a:extLst>
                </p:cNvPr>
                <p:cNvSpPr/>
                <p:nvPr/>
              </p:nvSpPr>
              <p:spPr>
                <a:xfrm>
                  <a:off x="8248942" y="5025974"/>
                  <a:ext cx="180680" cy="117525"/>
                </a:xfrm>
                <a:custGeom>
                  <a:avLst/>
                  <a:gdLst>
                    <a:gd name="connsiteX0" fmla="*/ 0 w 180680"/>
                    <a:gd name="connsiteY0" fmla="*/ 117526 h 117525"/>
                    <a:gd name="connsiteX1" fmla="*/ 2999 w 180680"/>
                    <a:gd name="connsiteY1" fmla="*/ 117526 h 117525"/>
                    <a:gd name="connsiteX2" fmla="*/ 180680 w 180680"/>
                    <a:gd name="connsiteY2" fmla="*/ 1947 h 117525"/>
                    <a:gd name="connsiteX3" fmla="*/ 180680 w 180680"/>
                    <a:gd name="connsiteY3" fmla="*/ 0 h 117525"/>
                    <a:gd name="connsiteX4" fmla="*/ 0 w 180680"/>
                    <a:gd name="connsiteY4" fmla="*/ 117526 h 11752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80680" h="117525">
                      <a:moveTo>
                        <a:pt x="0" y="117526"/>
                      </a:moveTo>
                      <a:lnTo>
                        <a:pt x="2999" y="117526"/>
                      </a:lnTo>
                      <a:cubicBezTo>
                        <a:pt x="63699" y="77581"/>
                        <a:pt x="122849" y="39040"/>
                        <a:pt x="180680" y="1947"/>
                      </a:cubicBezTo>
                      <a:lnTo>
                        <a:pt x="180680" y="0"/>
                      </a:lnTo>
                      <a:cubicBezTo>
                        <a:pt x="121828" y="37736"/>
                        <a:pt x="61656" y="76938"/>
                        <a:pt x="0" y="117526"/>
                      </a:cubicBezTo>
                      <a:close/>
                    </a:path>
                  </a:pathLst>
                </a:custGeom>
                <a:grpFill/>
                <a:ln w="164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s-ES_tradnl" sz="2400"/>
                </a:p>
              </p:txBody>
            </p:sp>
            <p:sp>
              <p:nvSpPr>
                <p:cNvPr id="247" name="Forma libre 246">
                  <a:extLst>
                    <a:ext uri="{FF2B5EF4-FFF2-40B4-BE49-F238E27FC236}">
                      <a16:creationId xmlns:a16="http://schemas.microsoft.com/office/drawing/2014/main" id="{3B4556B8-D6B0-444C-80B8-AD65B0E637E1}"/>
                    </a:ext>
                  </a:extLst>
                </p:cNvPr>
                <p:cNvSpPr/>
                <p:nvPr/>
              </p:nvSpPr>
              <p:spPr>
                <a:xfrm>
                  <a:off x="8409727" y="5131795"/>
                  <a:ext cx="19897" cy="11704"/>
                </a:xfrm>
                <a:custGeom>
                  <a:avLst/>
                  <a:gdLst>
                    <a:gd name="connsiteX0" fmla="*/ 19898 w 19897"/>
                    <a:gd name="connsiteY0" fmla="*/ 0 h 11704"/>
                    <a:gd name="connsiteX1" fmla="*/ 19898 w 19897"/>
                    <a:gd name="connsiteY1" fmla="*/ 1781 h 11704"/>
                    <a:gd name="connsiteX2" fmla="*/ 3033 w 19897"/>
                    <a:gd name="connsiteY2" fmla="*/ 11705 h 11704"/>
                    <a:gd name="connsiteX3" fmla="*/ 0 w 19897"/>
                    <a:gd name="connsiteY3" fmla="*/ 11705 h 11704"/>
                    <a:gd name="connsiteX4" fmla="*/ 19898 w 19897"/>
                    <a:gd name="connsiteY4" fmla="*/ 0 h 1170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9897" h="11704">
                      <a:moveTo>
                        <a:pt x="19898" y="0"/>
                      </a:moveTo>
                      <a:lnTo>
                        <a:pt x="19898" y="1781"/>
                      </a:lnTo>
                      <a:cubicBezTo>
                        <a:pt x="14293" y="5078"/>
                        <a:pt x="8669" y="8375"/>
                        <a:pt x="3033" y="11705"/>
                      </a:cubicBezTo>
                      <a:lnTo>
                        <a:pt x="0" y="11705"/>
                      </a:lnTo>
                      <a:cubicBezTo>
                        <a:pt x="6643" y="7782"/>
                        <a:pt x="13287" y="3874"/>
                        <a:pt x="19898" y="0"/>
                      </a:cubicBezTo>
                      <a:close/>
                    </a:path>
                  </a:pathLst>
                </a:custGeom>
                <a:grpFill/>
                <a:ln w="164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s-ES_tradnl" sz="2400"/>
                </a:p>
              </p:txBody>
            </p:sp>
          </p:grpSp>
          <p:grpSp>
            <p:nvGrpSpPr>
              <p:cNvPr id="126" name="Gráfico 16">
                <a:extLst>
                  <a:ext uri="{FF2B5EF4-FFF2-40B4-BE49-F238E27FC236}">
                    <a16:creationId xmlns:a16="http://schemas.microsoft.com/office/drawing/2014/main" id="{0A57B86B-1BD6-774E-A0E1-54161A18F691}"/>
                  </a:ext>
                </a:extLst>
              </p:cNvPr>
              <p:cNvGrpSpPr/>
              <p:nvPr/>
            </p:nvGrpSpPr>
            <p:grpSpPr>
              <a:xfrm>
                <a:off x="4018760" y="879375"/>
                <a:ext cx="4281793" cy="3267852"/>
                <a:chOff x="4018760" y="879375"/>
                <a:chExt cx="4281793" cy="3267852"/>
              </a:xfrm>
              <a:grpFill/>
            </p:grpSpPr>
            <p:sp>
              <p:nvSpPr>
                <p:cNvPr id="130" name="Forma libre 129">
                  <a:extLst>
                    <a:ext uri="{FF2B5EF4-FFF2-40B4-BE49-F238E27FC236}">
                      <a16:creationId xmlns:a16="http://schemas.microsoft.com/office/drawing/2014/main" id="{8356BEEF-7192-B447-9E6A-478742382793}"/>
                    </a:ext>
                  </a:extLst>
                </p:cNvPr>
                <p:cNvSpPr/>
                <p:nvPr/>
              </p:nvSpPr>
              <p:spPr>
                <a:xfrm>
                  <a:off x="5873481" y="2992897"/>
                  <a:ext cx="338537" cy="168199"/>
                </a:xfrm>
                <a:custGeom>
                  <a:avLst/>
                  <a:gdLst>
                    <a:gd name="connsiteX0" fmla="*/ 299856 w 338537"/>
                    <a:gd name="connsiteY0" fmla="*/ 11657 h 168199"/>
                    <a:gd name="connsiteX1" fmla="*/ 298127 w 338537"/>
                    <a:gd name="connsiteY1" fmla="*/ 8650 h 168199"/>
                    <a:gd name="connsiteX2" fmla="*/ 295311 w 338537"/>
                    <a:gd name="connsiteY2" fmla="*/ 8258 h 168199"/>
                    <a:gd name="connsiteX3" fmla="*/ 292475 w 338537"/>
                    <a:gd name="connsiteY3" fmla="*/ 7999 h 168199"/>
                    <a:gd name="connsiteX4" fmla="*/ 282746 w 338537"/>
                    <a:gd name="connsiteY4" fmla="*/ 4319 h 168199"/>
                    <a:gd name="connsiteX5" fmla="*/ 275858 w 338537"/>
                    <a:gd name="connsiteY5" fmla="*/ 1690 h 168199"/>
                    <a:gd name="connsiteX6" fmla="*/ 261799 w 338537"/>
                    <a:gd name="connsiteY6" fmla="*/ 13599 h 168199"/>
                    <a:gd name="connsiteX7" fmla="*/ 260642 w 338537"/>
                    <a:gd name="connsiteY7" fmla="*/ 15211 h 168199"/>
                    <a:gd name="connsiteX8" fmla="*/ 241992 w 338537"/>
                    <a:gd name="connsiteY8" fmla="*/ 27308 h 168199"/>
                    <a:gd name="connsiteX9" fmla="*/ 230744 w 338537"/>
                    <a:gd name="connsiteY9" fmla="*/ 23668 h 168199"/>
                    <a:gd name="connsiteX10" fmla="*/ 227854 w 338537"/>
                    <a:gd name="connsiteY10" fmla="*/ 20370 h 168199"/>
                    <a:gd name="connsiteX11" fmla="*/ 226070 w 338537"/>
                    <a:gd name="connsiteY11" fmla="*/ 18325 h 168199"/>
                    <a:gd name="connsiteX12" fmla="*/ 224820 w 338537"/>
                    <a:gd name="connsiteY12" fmla="*/ 18625 h 168199"/>
                    <a:gd name="connsiteX13" fmla="*/ 219036 w 338537"/>
                    <a:gd name="connsiteY13" fmla="*/ 18907 h 168199"/>
                    <a:gd name="connsiteX14" fmla="*/ 210041 w 338537"/>
                    <a:gd name="connsiteY14" fmla="*/ 8444 h 168199"/>
                    <a:gd name="connsiteX15" fmla="*/ 209011 w 338537"/>
                    <a:gd name="connsiteY15" fmla="*/ 5607 h 168199"/>
                    <a:gd name="connsiteX16" fmla="*/ 205176 w 338537"/>
                    <a:gd name="connsiteY16" fmla="*/ 2389 h 168199"/>
                    <a:gd name="connsiteX17" fmla="*/ 187937 w 338537"/>
                    <a:gd name="connsiteY17" fmla="*/ 5547 h 168199"/>
                    <a:gd name="connsiteX18" fmla="*/ 185420 w 338537"/>
                    <a:gd name="connsiteY18" fmla="*/ 6973 h 168199"/>
                    <a:gd name="connsiteX19" fmla="*/ 153298 w 338537"/>
                    <a:gd name="connsiteY19" fmla="*/ 13574 h 168199"/>
                    <a:gd name="connsiteX20" fmla="*/ 143622 w 338537"/>
                    <a:gd name="connsiteY20" fmla="*/ 5974 h 168199"/>
                    <a:gd name="connsiteX21" fmla="*/ 138843 w 338537"/>
                    <a:gd name="connsiteY21" fmla="*/ 1593 h 168199"/>
                    <a:gd name="connsiteX22" fmla="*/ 132686 w 338537"/>
                    <a:gd name="connsiteY22" fmla="*/ 513 h 168199"/>
                    <a:gd name="connsiteX23" fmla="*/ 130155 w 338537"/>
                    <a:gd name="connsiteY23" fmla="*/ 0 h 168199"/>
                    <a:gd name="connsiteX24" fmla="*/ 128635 w 338537"/>
                    <a:gd name="connsiteY24" fmla="*/ 13419 h 168199"/>
                    <a:gd name="connsiteX25" fmla="*/ 114476 w 338537"/>
                    <a:gd name="connsiteY25" fmla="*/ 29351 h 168199"/>
                    <a:gd name="connsiteX26" fmla="*/ 106917 w 338537"/>
                    <a:gd name="connsiteY26" fmla="*/ 35902 h 168199"/>
                    <a:gd name="connsiteX27" fmla="*/ 97492 w 338537"/>
                    <a:gd name="connsiteY27" fmla="*/ 51478 h 168199"/>
                    <a:gd name="connsiteX28" fmla="*/ 89621 w 338537"/>
                    <a:gd name="connsiteY28" fmla="*/ 65603 h 168199"/>
                    <a:gd name="connsiteX29" fmla="*/ 66862 w 338537"/>
                    <a:gd name="connsiteY29" fmla="*/ 78991 h 168199"/>
                    <a:gd name="connsiteX30" fmla="*/ 60596 w 338537"/>
                    <a:gd name="connsiteY30" fmla="*/ 78562 h 168199"/>
                    <a:gd name="connsiteX31" fmla="*/ 60438 w 338537"/>
                    <a:gd name="connsiteY31" fmla="*/ 78977 h 168199"/>
                    <a:gd name="connsiteX32" fmla="*/ 48237 w 338537"/>
                    <a:gd name="connsiteY32" fmla="*/ 91066 h 168199"/>
                    <a:gd name="connsiteX33" fmla="*/ 37709 w 338537"/>
                    <a:gd name="connsiteY33" fmla="*/ 94052 h 168199"/>
                    <a:gd name="connsiteX34" fmla="*/ 28274 w 338537"/>
                    <a:gd name="connsiteY34" fmla="*/ 96802 h 168199"/>
                    <a:gd name="connsiteX35" fmla="*/ 22555 w 338537"/>
                    <a:gd name="connsiteY35" fmla="*/ 103122 h 168199"/>
                    <a:gd name="connsiteX36" fmla="*/ 22805 w 338537"/>
                    <a:gd name="connsiteY36" fmla="*/ 106068 h 168199"/>
                    <a:gd name="connsiteX37" fmla="*/ 25729 w 338537"/>
                    <a:gd name="connsiteY37" fmla="*/ 110681 h 168199"/>
                    <a:gd name="connsiteX38" fmla="*/ 21027 w 338537"/>
                    <a:gd name="connsiteY38" fmla="*/ 113457 h 168199"/>
                    <a:gd name="connsiteX39" fmla="*/ 14437 w 338537"/>
                    <a:gd name="connsiteY39" fmla="*/ 115328 h 168199"/>
                    <a:gd name="connsiteX40" fmla="*/ 0 w 338537"/>
                    <a:gd name="connsiteY40" fmla="*/ 109397 h 168199"/>
                    <a:gd name="connsiteX41" fmla="*/ 2857 w 338537"/>
                    <a:gd name="connsiteY41" fmla="*/ 119448 h 168199"/>
                    <a:gd name="connsiteX42" fmla="*/ 16626 w 338537"/>
                    <a:gd name="connsiteY42" fmla="*/ 144974 h 168199"/>
                    <a:gd name="connsiteX43" fmla="*/ 19913 w 338537"/>
                    <a:gd name="connsiteY43" fmla="*/ 146552 h 168199"/>
                    <a:gd name="connsiteX44" fmla="*/ 54902 w 338537"/>
                    <a:gd name="connsiteY44" fmla="*/ 157802 h 168199"/>
                    <a:gd name="connsiteX45" fmla="*/ 59173 w 338537"/>
                    <a:gd name="connsiteY45" fmla="*/ 159757 h 168199"/>
                    <a:gd name="connsiteX46" fmla="*/ 98249 w 338537"/>
                    <a:gd name="connsiteY46" fmla="*/ 167147 h 168199"/>
                    <a:gd name="connsiteX47" fmla="*/ 113777 w 338537"/>
                    <a:gd name="connsiteY47" fmla="*/ 153833 h 168199"/>
                    <a:gd name="connsiteX48" fmla="*/ 113955 w 338537"/>
                    <a:gd name="connsiteY48" fmla="*/ 141255 h 168199"/>
                    <a:gd name="connsiteX49" fmla="*/ 110204 w 338537"/>
                    <a:gd name="connsiteY49" fmla="*/ 133919 h 168199"/>
                    <a:gd name="connsiteX50" fmla="*/ 166084 w 338537"/>
                    <a:gd name="connsiteY50" fmla="*/ 131421 h 168199"/>
                    <a:gd name="connsiteX51" fmla="*/ 172891 w 338537"/>
                    <a:gd name="connsiteY51" fmla="*/ 130449 h 168199"/>
                    <a:gd name="connsiteX52" fmla="*/ 182575 w 338537"/>
                    <a:gd name="connsiteY52" fmla="*/ 113436 h 168199"/>
                    <a:gd name="connsiteX53" fmla="*/ 200936 w 338537"/>
                    <a:gd name="connsiteY53" fmla="*/ 90181 h 168199"/>
                    <a:gd name="connsiteX54" fmla="*/ 208341 w 338537"/>
                    <a:gd name="connsiteY54" fmla="*/ 90199 h 168199"/>
                    <a:gd name="connsiteX55" fmla="*/ 213970 w 338537"/>
                    <a:gd name="connsiteY55" fmla="*/ 89970 h 168199"/>
                    <a:gd name="connsiteX56" fmla="*/ 217102 w 338537"/>
                    <a:gd name="connsiteY56" fmla="*/ 86285 h 168199"/>
                    <a:gd name="connsiteX57" fmla="*/ 220297 w 338537"/>
                    <a:gd name="connsiteY57" fmla="*/ 82042 h 168199"/>
                    <a:gd name="connsiteX58" fmla="*/ 252325 w 338537"/>
                    <a:gd name="connsiteY58" fmla="*/ 80158 h 168199"/>
                    <a:gd name="connsiteX59" fmla="*/ 260024 w 338537"/>
                    <a:gd name="connsiteY59" fmla="*/ 84660 h 168199"/>
                    <a:gd name="connsiteX60" fmla="*/ 275426 w 338537"/>
                    <a:gd name="connsiteY60" fmla="*/ 91826 h 168199"/>
                    <a:gd name="connsiteX61" fmla="*/ 294213 w 338537"/>
                    <a:gd name="connsiteY61" fmla="*/ 89327 h 168199"/>
                    <a:gd name="connsiteX62" fmla="*/ 305095 w 338537"/>
                    <a:gd name="connsiteY62" fmla="*/ 86762 h 168199"/>
                    <a:gd name="connsiteX63" fmla="*/ 325145 w 338537"/>
                    <a:gd name="connsiteY63" fmla="*/ 89487 h 168199"/>
                    <a:gd name="connsiteX64" fmla="*/ 325493 w 338537"/>
                    <a:gd name="connsiteY64" fmla="*/ 88356 h 168199"/>
                    <a:gd name="connsiteX65" fmla="*/ 338538 w 338537"/>
                    <a:gd name="connsiteY65" fmla="*/ 51503 h 168199"/>
                    <a:gd name="connsiteX66" fmla="*/ 299856 w 338537"/>
                    <a:gd name="connsiteY66" fmla="*/ 11657 h 16819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</a:cxnLst>
                  <a:rect l="l" t="t" r="r" b="b"/>
                  <a:pathLst>
                    <a:path w="338537" h="168199">
                      <a:moveTo>
                        <a:pt x="299856" y="11657"/>
                      </a:moveTo>
                      <a:cubicBezTo>
                        <a:pt x="299278" y="10430"/>
                        <a:pt x="298585" y="8945"/>
                        <a:pt x="298127" y="8650"/>
                      </a:cubicBezTo>
                      <a:cubicBezTo>
                        <a:pt x="297735" y="8395"/>
                        <a:pt x="296336" y="8310"/>
                        <a:pt x="295311" y="8258"/>
                      </a:cubicBezTo>
                      <a:cubicBezTo>
                        <a:pt x="294360" y="8203"/>
                        <a:pt x="293409" y="8137"/>
                        <a:pt x="292475" y="7999"/>
                      </a:cubicBezTo>
                      <a:cubicBezTo>
                        <a:pt x="288737" y="7448"/>
                        <a:pt x="285550" y="5785"/>
                        <a:pt x="282746" y="4319"/>
                      </a:cubicBezTo>
                      <a:cubicBezTo>
                        <a:pt x="280171" y="2974"/>
                        <a:pt x="277950" y="1812"/>
                        <a:pt x="275858" y="1690"/>
                      </a:cubicBezTo>
                      <a:cubicBezTo>
                        <a:pt x="270559" y="1264"/>
                        <a:pt x="266119" y="7597"/>
                        <a:pt x="261799" y="13599"/>
                      </a:cubicBezTo>
                      <a:lnTo>
                        <a:pt x="260642" y="15211"/>
                      </a:lnTo>
                      <a:cubicBezTo>
                        <a:pt x="256936" y="20295"/>
                        <a:pt x="249835" y="26514"/>
                        <a:pt x="241992" y="27308"/>
                      </a:cubicBezTo>
                      <a:cubicBezTo>
                        <a:pt x="237651" y="27775"/>
                        <a:pt x="233815" y="26491"/>
                        <a:pt x="230744" y="23668"/>
                      </a:cubicBezTo>
                      <a:cubicBezTo>
                        <a:pt x="229690" y="22714"/>
                        <a:pt x="228764" y="21542"/>
                        <a:pt x="227854" y="20370"/>
                      </a:cubicBezTo>
                      <a:cubicBezTo>
                        <a:pt x="227300" y="19639"/>
                        <a:pt x="226453" y="18528"/>
                        <a:pt x="226070" y="18325"/>
                      </a:cubicBezTo>
                      <a:cubicBezTo>
                        <a:pt x="226030" y="18367"/>
                        <a:pt x="225305" y="18528"/>
                        <a:pt x="224820" y="18625"/>
                      </a:cubicBezTo>
                      <a:cubicBezTo>
                        <a:pt x="223348" y="18945"/>
                        <a:pt x="221320" y="19376"/>
                        <a:pt x="219036" y="18907"/>
                      </a:cubicBezTo>
                      <a:cubicBezTo>
                        <a:pt x="213030" y="17617"/>
                        <a:pt x="211233" y="12097"/>
                        <a:pt x="210041" y="8444"/>
                      </a:cubicBezTo>
                      <a:cubicBezTo>
                        <a:pt x="209725" y="7463"/>
                        <a:pt x="209421" y="6484"/>
                        <a:pt x="209011" y="5607"/>
                      </a:cubicBezTo>
                      <a:cubicBezTo>
                        <a:pt x="208259" y="4019"/>
                        <a:pt x="207042" y="2995"/>
                        <a:pt x="205176" y="2389"/>
                      </a:cubicBezTo>
                      <a:cubicBezTo>
                        <a:pt x="200842" y="1004"/>
                        <a:pt x="193750" y="2298"/>
                        <a:pt x="187937" y="5547"/>
                      </a:cubicBezTo>
                      <a:lnTo>
                        <a:pt x="185420" y="6973"/>
                      </a:lnTo>
                      <a:cubicBezTo>
                        <a:pt x="176161" y="12245"/>
                        <a:pt x="164632" y="18825"/>
                        <a:pt x="153298" y="13574"/>
                      </a:cubicBezTo>
                      <a:cubicBezTo>
                        <a:pt x="149229" y="11702"/>
                        <a:pt x="146250" y="8653"/>
                        <a:pt x="143622" y="5974"/>
                      </a:cubicBezTo>
                      <a:cubicBezTo>
                        <a:pt x="142099" y="4425"/>
                        <a:pt x="140594" y="2842"/>
                        <a:pt x="138843" y="1593"/>
                      </a:cubicBezTo>
                      <a:cubicBezTo>
                        <a:pt x="137168" y="415"/>
                        <a:pt x="134341" y="-91"/>
                        <a:pt x="132686" y="513"/>
                      </a:cubicBezTo>
                      <a:lnTo>
                        <a:pt x="130155" y="0"/>
                      </a:lnTo>
                      <a:cubicBezTo>
                        <a:pt x="130826" y="4318"/>
                        <a:pt x="130528" y="8833"/>
                        <a:pt x="128635" y="13419"/>
                      </a:cubicBezTo>
                      <a:cubicBezTo>
                        <a:pt x="125684" y="20557"/>
                        <a:pt x="119982" y="25027"/>
                        <a:pt x="114476" y="29351"/>
                      </a:cubicBezTo>
                      <a:cubicBezTo>
                        <a:pt x="111693" y="31532"/>
                        <a:pt x="109067" y="33589"/>
                        <a:pt x="106917" y="35902"/>
                      </a:cubicBezTo>
                      <a:cubicBezTo>
                        <a:pt x="102937" y="40174"/>
                        <a:pt x="100293" y="45665"/>
                        <a:pt x="97492" y="51478"/>
                      </a:cubicBezTo>
                      <a:cubicBezTo>
                        <a:pt x="95211" y="56211"/>
                        <a:pt x="92850" y="61100"/>
                        <a:pt x="89621" y="65603"/>
                      </a:cubicBezTo>
                      <a:cubicBezTo>
                        <a:pt x="84227" y="73110"/>
                        <a:pt x="75293" y="78358"/>
                        <a:pt x="66862" y="78991"/>
                      </a:cubicBezTo>
                      <a:cubicBezTo>
                        <a:pt x="64664" y="79183"/>
                        <a:pt x="62564" y="79014"/>
                        <a:pt x="60596" y="78562"/>
                      </a:cubicBezTo>
                      <a:cubicBezTo>
                        <a:pt x="60545" y="78697"/>
                        <a:pt x="60494" y="78831"/>
                        <a:pt x="60438" y="78977"/>
                      </a:cubicBezTo>
                      <a:cubicBezTo>
                        <a:pt x="58455" y="84100"/>
                        <a:pt x="53776" y="88739"/>
                        <a:pt x="48237" y="91066"/>
                      </a:cubicBezTo>
                      <a:cubicBezTo>
                        <a:pt x="44714" y="92542"/>
                        <a:pt x="41151" y="93312"/>
                        <a:pt x="37709" y="94052"/>
                      </a:cubicBezTo>
                      <a:cubicBezTo>
                        <a:pt x="34290" y="94792"/>
                        <a:pt x="31064" y="95488"/>
                        <a:pt x="28274" y="96802"/>
                      </a:cubicBezTo>
                      <a:cubicBezTo>
                        <a:pt x="25627" y="98053"/>
                        <a:pt x="23277" y="100646"/>
                        <a:pt x="22555" y="103122"/>
                      </a:cubicBezTo>
                      <a:cubicBezTo>
                        <a:pt x="22045" y="104873"/>
                        <a:pt x="22617" y="105770"/>
                        <a:pt x="22805" y="106068"/>
                      </a:cubicBezTo>
                      <a:lnTo>
                        <a:pt x="25729" y="110681"/>
                      </a:lnTo>
                      <a:lnTo>
                        <a:pt x="21027" y="113457"/>
                      </a:lnTo>
                      <a:cubicBezTo>
                        <a:pt x="18830" y="114766"/>
                        <a:pt x="16614" y="115310"/>
                        <a:pt x="14437" y="115328"/>
                      </a:cubicBezTo>
                      <a:cubicBezTo>
                        <a:pt x="9098" y="115366"/>
                        <a:pt x="4057" y="112252"/>
                        <a:pt x="0" y="109397"/>
                      </a:cubicBezTo>
                      <a:cubicBezTo>
                        <a:pt x="1090" y="112732"/>
                        <a:pt x="1993" y="116144"/>
                        <a:pt x="2857" y="119448"/>
                      </a:cubicBezTo>
                      <a:cubicBezTo>
                        <a:pt x="5780" y="130587"/>
                        <a:pt x="8538" y="141095"/>
                        <a:pt x="16626" y="144974"/>
                      </a:cubicBezTo>
                      <a:lnTo>
                        <a:pt x="19913" y="146552"/>
                      </a:lnTo>
                      <a:cubicBezTo>
                        <a:pt x="32353" y="147678"/>
                        <a:pt x="43824" y="152696"/>
                        <a:pt x="54902" y="157802"/>
                      </a:cubicBezTo>
                      <a:lnTo>
                        <a:pt x="59173" y="159757"/>
                      </a:lnTo>
                      <a:cubicBezTo>
                        <a:pt x="71332" y="165271"/>
                        <a:pt x="85479" y="170492"/>
                        <a:pt x="98249" y="167147"/>
                      </a:cubicBezTo>
                      <a:cubicBezTo>
                        <a:pt x="104834" y="165423"/>
                        <a:pt x="110926" y="160195"/>
                        <a:pt x="113777" y="153833"/>
                      </a:cubicBezTo>
                      <a:cubicBezTo>
                        <a:pt x="115185" y="150690"/>
                        <a:pt x="116359" y="145955"/>
                        <a:pt x="113955" y="141255"/>
                      </a:cubicBezTo>
                      <a:lnTo>
                        <a:pt x="110204" y="133919"/>
                      </a:lnTo>
                      <a:lnTo>
                        <a:pt x="166084" y="131421"/>
                      </a:lnTo>
                      <a:cubicBezTo>
                        <a:pt x="168502" y="131319"/>
                        <a:pt x="170995" y="131209"/>
                        <a:pt x="172891" y="130449"/>
                      </a:cubicBezTo>
                      <a:cubicBezTo>
                        <a:pt x="178077" y="128332"/>
                        <a:pt x="180265" y="121097"/>
                        <a:pt x="182575" y="113436"/>
                      </a:cubicBezTo>
                      <a:cubicBezTo>
                        <a:pt x="185596" y="103432"/>
                        <a:pt x="189019" y="92102"/>
                        <a:pt x="200936" y="90181"/>
                      </a:cubicBezTo>
                      <a:cubicBezTo>
                        <a:pt x="203576" y="89759"/>
                        <a:pt x="206111" y="89998"/>
                        <a:pt x="208341" y="90199"/>
                      </a:cubicBezTo>
                      <a:cubicBezTo>
                        <a:pt x="210720" y="90430"/>
                        <a:pt x="212766" y="90633"/>
                        <a:pt x="213970" y="89970"/>
                      </a:cubicBezTo>
                      <a:cubicBezTo>
                        <a:pt x="215012" y="89415"/>
                        <a:pt x="216029" y="87896"/>
                        <a:pt x="217102" y="86285"/>
                      </a:cubicBezTo>
                      <a:cubicBezTo>
                        <a:pt x="218089" y="84800"/>
                        <a:pt x="219102" y="83323"/>
                        <a:pt x="220297" y="82042"/>
                      </a:cubicBezTo>
                      <a:cubicBezTo>
                        <a:pt x="228917" y="72804"/>
                        <a:pt x="242938" y="75253"/>
                        <a:pt x="252325" y="80158"/>
                      </a:cubicBezTo>
                      <a:cubicBezTo>
                        <a:pt x="254955" y="81523"/>
                        <a:pt x="257488" y="83097"/>
                        <a:pt x="260024" y="84660"/>
                      </a:cubicBezTo>
                      <a:cubicBezTo>
                        <a:pt x="265228" y="87880"/>
                        <a:pt x="270134" y="90925"/>
                        <a:pt x="275426" y="91826"/>
                      </a:cubicBezTo>
                      <a:cubicBezTo>
                        <a:pt x="281351" y="92837"/>
                        <a:pt x="287586" y="91136"/>
                        <a:pt x="294213" y="89327"/>
                      </a:cubicBezTo>
                      <a:cubicBezTo>
                        <a:pt x="297825" y="88348"/>
                        <a:pt x="301449" y="87369"/>
                        <a:pt x="305095" y="86762"/>
                      </a:cubicBezTo>
                      <a:cubicBezTo>
                        <a:pt x="312122" y="85573"/>
                        <a:pt x="319349" y="86688"/>
                        <a:pt x="325145" y="89487"/>
                      </a:cubicBezTo>
                      <a:cubicBezTo>
                        <a:pt x="325261" y="89119"/>
                        <a:pt x="325384" y="88694"/>
                        <a:pt x="325493" y="88356"/>
                      </a:cubicBezTo>
                      <a:cubicBezTo>
                        <a:pt x="329555" y="75956"/>
                        <a:pt x="333986" y="63682"/>
                        <a:pt x="338538" y="51503"/>
                      </a:cubicBezTo>
                      <a:cubicBezTo>
                        <a:pt x="321744" y="42923"/>
                        <a:pt x="307894" y="28784"/>
                        <a:pt x="299856" y="11657"/>
                      </a:cubicBezTo>
                      <a:close/>
                    </a:path>
                  </a:pathLst>
                </a:custGeom>
                <a:grpFill/>
                <a:ln w="164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s-ES_tradnl" sz="2400"/>
                </a:p>
              </p:txBody>
            </p:sp>
            <p:sp>
              <p:nvSpPr>
                <p:cNvPr id="131" name="Forma libre 130">
                  <a:extLst>
                    <a:ext uri="{FF2B5EF4-FFF2-40B4-BE49-F238E27FC236}">
                      <a16:creationId xmlns:a16="http://schemas.microsoft.com/office/drawing/2014/main" id="{B964ACF7-52EC-214B-8B3E-F841F5FE35D4}"/>
                    </a:ext>
                  </a:extLst>
                </p:cNvPr>
                <p:cNvSpPr/>
                <p:nvPr/>
              </p:nvSpPr>
              <p:spPr>
                <a:xfrm>
                  <a:off x="5616681" y="2869960"/>
                  <a:ext cx="376702" cy="227055"/>
                </a:xfrm>
                <a:custGeom>
                  <a:avLst/>
                  <a:gdLst>
                    <a:gd name="connsiteX0" fmla="*/ 21537 w 376702"/>
                    <a:gd name="connsiteY0" fmla="*/ 102578 h 227055"/>
                    <a:gd name="connsiteX1" fmla="*/ 91130 w 376702"/>
                    <a:gd name="connsiteY1" fmla="*/ 211734 h 227055"/>
                    <a:gd name="connsiteX2" fmla="*/ 91948 w 376702"/>
                    <a:gd name="connsiteY2" fmla="*/ 212610 h 227055"/>
                    <a:gd name="connsiteX3" fmla="*/ 93674 w 376702"/>
                    <a:gd name="connsiteY3" fmla="*/ 208798 h 227055"/>
                    <a:gd name="connsiteX4" fmla="*/ 119566 w 376702"/>
                    <a:gd name="connsiteY4" fmla="*/ 216434 h 227055"/>
                    <a:gd name="connsiteX5" fmla="*/ 119685 w 376702"/>
                    <a:gd name="connsiteY5" fmla="*/ 216434 h 227055"/>
                    <a:gd name="connsiteX6" fmla="*/ 137529 w 376702"/>
                    <a:gd name="connsiteY6" fmla="*/ 205068 h 227055"/>
                    <a:gd name="connsiteX7" fmla="*/ 138078 w 376702"/>
                    <a:gd name="connsiteY7" fmla="*/ 197624 h 227055"/>
                    <a:gd name="connsiteX8" fmla="*/ 140048 w 376702"/>
                    <a:gd name="connsiteY8" fmla="*/ 184507 h 227055"/>
                    <a:gd name="connsiteX9" fmla="*/ 155670 w 376702"/>
                    <a:gd name="connsiteY9" fmla="*/ 171739 h 227055"/>
                    <a:gd name="connsiteX10" fmla="*/ 205130 w 376702"/>
                    <a:gd name="connsiteY10" fmla="*/ 184235 h 227055"/>
                    <a:gd name="connsiteX11" fmla="*/ 212364 w 376702"/>
                    <a:gd name="connsiteY11" fmla="*/ 193511 h 227055"/>
                    <a:gd name="connsiteX12" fmla="*/ 226759 w 376702"/>
                    <a:gd name="connsiteY12" fmla="*/ 207336 h 227055"/>
                    <a:gd name="connsiteX13" fmla="*/ 231696 w 376702"/>
                    <a:gd name="connsiteY13" fmla="*/ 208416 h 227055"/>
                    <a:gd name="connsiteX14" fmla="*/ 238593 w 376702"/>
                    <a:gd name="connsiteY14" fmla="*/ 210018 h 227055"/>
                    <a:gd name="connsiteX15" fmla="*/ 249308 w 376702"/>
                    <a:gd name="connsiteY15" fmla="*/ 217694 h 227055"/>
                    <a:gd name="connsiteX16" fmla="*/ 259903 w 376702"/>
                    <a:gd name="connsiteY16" fmla="*/ 221535 h 227055"/>
                    <a:gd name="connsiteX17" fmla="*/ 260978 w 376702"/>
                    <a:gd name="connsiteY17" fmla="*/ 222315 h 227055"/>
                    <a:gd name="connsiteX18" fmla="*/ 268566 w 376702"/>
                    <a:gd name="connsiteY18" fmla="*/ 227056 h 227055"/>
                    <a:gd name="connsiteX19" fmla="*/ 269188 w 376702"/>
                    <a:gd name="connsiteY19" fmla="*/ 223101 h 227055"/>
                    <a:gd name="connsiteX20" fmla="*/ 280566 w 376702"/>
                    <a:gd name="connsiteY20" fmla="*/ 210150 h 227055"/>
                    <a:gd name="connsiteX21" fmla="*/ 292278 w 376702"/>
                    <a:gd name="connsiteY21" fmla="*/ 206639 h 227055"/>
                    <a:gd name="connsiteX22" fmla="*/ 300933 w 376702"/>
                    <a:gd name="connsiteY22" fmla="*/ 204237 h 227055"/>
                    <a:gd name="connsiteX23" fmla="*/ 307360 w 376702"/>
                    <a:gd name="connsiteY23" fmla="*/ 198086 h 227055"/>
                    <a:gd name="connsiteX24" fmla="*/ 307408 w 376702"/>
                    <a:gd name="connsiteY24" fmla="*/ 194972 h 227055"/>
                    <a:gd name="connsiteX25" fmla="*/ 294310 w 376702"/>
                    <a:gd name="connsiteY25" fmla="*/ 166781 h 227055"/>
                    <a:gd name="connsiteX26" fmla="*/ 316005 w 376702"/>
                    <a:gd name="connsiteY26" fmla="*/ 189043 h 227055"/>
                    <a:gd name="connsiteX27" fmla="*/ 322870 w 376702"/>
                    <a:gd name="connsiteY27" fmla="*/ 191360 h 227055"/>
                    <a:gd name="connsiteX28" fmla="*/ 337816 w 376702"/>
                    <a:gd name="connsiteY28" fmla="*/ 182354 h 227055"/>
                    <a:gd name="connsiteX29" fmla="*/ 344749 w 376702"/>
                    <a:gd name="connsiteY29" fmla="*/ 169806 h 227055"/>
                    <a:gd name="connsiteX30" fmla="*/ 355965 w 376702"/>
                    <a:gd name="connsiteY30" fmla="*/ 151613 h 227055"/>
                    <a:gd name="connsiteX31" fmla="*/ 364735 w 376702"/>
                    <a:gd name="connsiteY31" fmla="*/ 143946 h 227055"/>
                    <a:gd name="connsiteX32" fmla="*/ 375642 w 376702"/>
                    <a:gd name="connsiteY32" fmla="*/ 132310 h 227055"/>
                    <a:gd name="connsiteX33" fmla="*/ 359466 w 376702"/>
                    <a:gd name="connsiteY33" fmla="*/ 100005 h 227055"/>
                    <a:gd name="connsiteX34" fmla="*/ 314113 w 376702"/>
                    <a:gd name="connsiteY34" fmla="*/ 62200 h 227055"/>
                    <a:gd name="connsiteX35" fmla="*/ 301402 w 376702"/>
                    <a:gd name="connsiteY35" fmla="*/ 57377 h 227055"/>
                    <a:gd name="connsiteX36" fmla="*/ 290890 w 376702"/>
                    <a:gd name="connsiteY36" fmla="*/ 65309 h 227055"/>
                    <a:gd name="connsiteX37" fmla="*/ 269768 w 376702"/>
                    <a:gd name="connsiteY37" fmla="*/ 75138 h 227055"/>
                    <a:gd name="connsiteX38" fmla="*/ 262633 w 376702"/>
                    <a:gd name="connsiteY38" fmla="*/ 73279 h 227055"/>
                    <a:gd name="connsiteX39" fmla="*/ 266677 w 376702"/>
                    <a:gd name="connsiteY39" fmla="*/ 67110 h 227055"/>
                    <a:gd name="connsiteX40" fmla="*/ 262722 w 376702"/>
                    <a:gd name="connsiteY40" fmla="*/ 63727 h 227055"/>
                    <a:gd name="connsiteX41" fmla="*/ 255035 w 376702"/>
                    <a:gd name="connsiteY41" fmla="*/ 64109 h 227055"/>
                    <a:gd name="connsiteX42" fmla="*/ 247209 w 376702"/>
                    <a:gd name="connsiteY42" fmla="*/ 64752 h 227055"/>
                    <a:gd name="connsiteX43" fmla="*/ 233976 w 376702"/>
                    <a:gd name="connsiteY43" fmla="*/ 58610 h 227055"/>
                    <a:gd name="connsiteX44" fmla="*/ 233236 w 376702"/>
                    <a:gd name="connsiteY44" fmla="*/ 57615 h 227055"/>
                    <a:gd name="connsiteX45" fmla="*/ 212028 w 376702"/>
                    <a:gd name="connsiteY45" fmla="*/ 61043 h 227055"/>
                    <a:gd name="connsiteX46" fmla="*/ 208488 w 376702"/>
                    <a:gd name="connsiteY46" fmla="*/ 60759 h 227055"/>
                    <a:gd name="connsiteX47" fmla="*/ 207410 w 376702"/>
                    <a:gd name="connsiteY47" fmla="*/ 57373 h 227055"/>
                    <a:gd name="connsiteX48" fmla="*/ 203778 w 376702"/>
                    <a:gd name="connsiteY48" fmla="*/ 39150 h 227055"/>
                    <a:gd name="connsiteX49" fmla="*/ 184307 w 376702"/>
                    <a:gd name="connsiteY49" fmla="*/ 42843 h 227055"/>
                    <a:gd name="connsiteX50" fmla="*/ 178499 w 376702"/>
                    <a:gd name="connsiteY50" fmla="*/ 42614 h 227055"/>
                    <a:gd name="connsiteX51" fmla="*/ 179267 w 376702"/>
                    <a:gd name="connsiteY51" fmla="*/ 36850 h 227055"/>
                    <a:gd name="connsiteX52" fmla="*/ 156869 w 376702"/>
                    <a:gd name="connsiteY52" fmla="*/ 0 h 227055"/>
                    <a:gd name="connsiteX53" fmla="*/ 156730 w 376702"/>
                    <a:gd name="connsiteY53" fmla="*/ 772 h 227055"/>
                    <a:gd name="connsiteX54" fmla="*/ 79736 w 376702"/>
                    <a:gd name="connsiteY54" fmla="*/ 29890 h 227055"/>
                    <a:gd name="connsiteX55" fmla="*/ 50981 w 376702"/>
                    <a:gd name="connsiteY55" fmla="*/ 39280 h 227055"/>
                    <a:gd name="connsiteX56" fmla="*/ 0 w 376702"/>
                    <a:gd name="connsiteY56" fmla="*/ 39232 h 227055"/>
                    <a:gd name="connsiteX57" fmla="*/ 3564 w 376702"/>
                    <a:gd name="connsiteY57" fmla="*/ 50464 h 227055"/>
                    <a:gd name="connsiteX58" fmla="*/ 21537 w 376702"/>
                    <a:gd name="connsiteY58" fmla="*/ 102578 h 22705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</a:cxnLst>
                  <a:rect l="l" t="t" r="r" b="b"/>
                  <a:pathLst>
                    <a:path w="376702" h="227055">
                      <a:moveTo>
                        <a:pt x="21537" y="102578"/>
                      </a:moveTo>
                      <a:cubicBezTo>
                        <a:pt x="37902" y="143093"/>
                        <a:pt x="61315" y="179820"/>
                        <a:pt x="91130" y="211734"/>
                      </a:cubicBezTo>
                      <a:lnTo>
                        <a:pt x="91948" y="212610"/>
                      </a:lnTo>
                      <a:lnTo>
                        <a:pt x="93674" y="208798"/>
                      </a:lnTo>
                      <a:cubicBezTo>
                        <a:pt x="101660" y="212410"/>
                        <a:pt x="110709" y="216500"/>
                        <a:pt x="119566" y="216434"/>
                      </a:cubicBezTo>
                      <a:cubicBezTo>
                        <a:pt x="119608" y="216434"/>
                        <a:pt x="119644" y="216434"/>
                        <a:pt x="119685" y="216434"/>
                      </a:cubicBezTo>
                      <a:cubicBezTo>
                        <a:pt x="126930" y="216359"/>
                        <a:pt x="135647" y="212343"/>
                        <a:pt x="137529" y="205068"/>
                      </a:cubicBezTo>
                      <a:cubicBezTo>
                        <a:pt x="138088" y="202891"/>
                        <a:pt x="138083" y="200336"/>
                        <a:pt x="138078" y="197624"/>
                      </a:cubicBezTo>
                      <a:cubicBezTo>
                        <a:pt x="138075" y="193560"/>
                        <a:pt x="138065" y="188948"/>
                        <a:pt x="140048" y="184507"/>
                      </a:cubicBezTo>
                      <a:cubicBezTo>
                        <a:pt x="142597" y="178798"/>
                        <a:pt x="147998" y="174381"/>
                        <a:pt x="155670" y="171739"/>
                      </a:cubicBezTo>
                      <a:cubicBezTo>
                        <a:pt x="172647" y="165903"/>
                        <a:pt x="192972" y="171025"/>
                        <a:pt x="205130" y="184235"/>
                      </a:cubicBezTo>
                      <a:cubicBezTo>
                        <a:pt x="207817" y="187154"/>
                        <a:pt x="210125" y="190382"/>
                        <a:pt x="212364" y="193511"/>
                      </a:cubicBezTo>
                      <a:cubicBezTo>
                        <a:pt x="216726" y="199611"/>
                        <a:pt x="220850" y="205372"/>
                        <a:pt x="226759" y="207336"/>
                      </a:cubicBezTo>
                      <a:cubicBezTo>
                        <a:pt x="228363" y="207872"/>
                        <a:pt x="230035" y="208137"/>
                        <a:pt x="231696" y="208416"/>
                      </a:cubicBezTo>
                      <a:cubicBezTo>
                        <a:pt x="234037" y="208811"/>
                        <a:pt x="236367" y="209227"/>
                        <a:pt x="238593" y="210018"/>
                      </a:cubicBezTo>
                      <a:cubicBezTo>
                        <a:pt x="243167" y="211635"/>
                        <a:pt x="246574" y="214375"/>
                        <a:pt x="249308" y="217694"/>
                      </a:cubicBezTo>
                      <a:cubicBezTo>
                        <a:pt x="253251" y="218134"/>
                        <a:pt x="257127" y="219547"/>
                        <a:pt x="259903" y="221535"/>
                      </a:cubicBezTo>
                      <a:lnTo>
                        <a:pt x="260978" y="222315"/>
                      </a:lnTo>
                      <a:cubicBezTo>
                        <a:pt x="263401" y="224074"/>
                        <a:pt x="266189" y="226091"/>
                        <a:pt x="268566" y="227056"/>
                      </a:cubicBezTo>
                      <a:cubicBezTo>
                        <a:pt x="268598" y="225754"/>
                        <a:pt x="268799" y="224426"/>
                        <a:pt x="269188" y="223101"/>
                      </a:cubicBezTo>
                      <a:cubicBezTo>
                        <a:pt x="270734" y="217763"/>
                        <a:pt x="275200" y="212672"/>
                        <a:pt x="280566" y="210150"/>
                      </a:cubicBezTo>
                      <a:cubicBezTo>
                        <a:pt x="284447" y="208323"/>
                        <a:pt x="288426" y="207465"/>
                        <a:pt x="292278" y="206639"/>
                      </a:cubicBezTo>
                      <a:cubicBezTo>
                        <a:pt x="295387" y="205964"/>
                        <a:pt x="298325" y="205331"/>
                        <a:pt x="300933" y="204237"/>
                      </a:cubicBezTo>
                      <a:cubicBezTo>
                        <a:pt x="303780" y="203046"/>
                        <a:pt x="306417" y="200512"/>
                        <a:pt x="307360" y="198086"/>
                      </a:cubicBezTo>
                      <a:cubicBezTo>
                        <a:pt x="308040" y="196323"/>
                        <a:pt x="307566" y="195311"/>
                        <a:pt x="307408" y="194972"/>
                      </a:cubicBezTo>
                      <a:lnTo>
                        <a:pt x="294310" y="166781"/>
                      </a:lnTo>
                      <a:lnTo>
                        <a:pt x="316005" y="189043"/>
                      </a:lnTo>
                      <a:cubicBezTo>
                        <a:pt x="317715" y="190798"/>
                        <a:pt x="320028" y="191599"/>
                        <a:pt x="322870" y="191360"/>
                      </a:cubicBezTo>
                      <a:cubicBezTo>
                        <a:pt x="328137" y="190969"/>
                        <a:pt x="334285" y="187261"/>
                        <a:pt x="337816" y="182354"/>
                      </a:cubicBezTo>
                      <a:cubicBezTo>
                        <a:pt x="340508" y="178610"/>
                        <a:pt x="342565" y="174333"/>
                        <a:pt x="344749" y="169806"/>
                      </a:cubicBezTo>
                      <a:cubicBezTo>
                        <a:pt x="347770" y="163537"/>
                        <a:pt x="350890" y="157060"/>
                        <a:pt x="355965" y="151613"/>
                      </a:cubicBezTo>
                      <a:cubicBezTo>
                        <a:pt x="358673" y="148706"/>
                        <a:pt x="361753" y="146285"/>
                        <a:pt x="364735" y="143946"/>
                      </a:cubicBezTo>
                      <a:cubicBezTo>
                        <a:pt x="369372" y="140312"/>
                        <a:pt x="373753" y="136877"/>
                        <a:pt x="375642" y="132310"/>
                      </a:cubicBezTo>
                      <a:cubicBezTo>
                        <a:pt x="379180" y="123729"/>
                        <a:pt x="373891" y="113157"/>
                        <a:pt x="359466" y="100005"/>
                      </a:cubicBezTo>
                      <a:cubicBezTo>
                        <a:pt x="345089" y="86894"/>
                        <a:pt x="330224" y="73343"/>
                        <a:pt x="314113" y="62200"/>
                      </a:cubicBezTo>
                      <a:cubicBezTo>
                        <a:pt x="309825" y="59231"/>
                        <a:pt x="305289" y="56602"/>
                        <a:pt x="301402" y="57377"/>
                      </a:cubicBezTo>
                      <a:cubicBezTo>
                        <a:pt x="297807" y="58092"/>
                        <a:pt x="294447" y="61597"/>
                        <a:pt x="290890" y="65309"/>
                      </a:cubicBezTo>
                      <a:cubicBezTo>
                        <a:pt x="285657" y="70773"/>
                        <a:pt x="279134" y="77551"/>
                        <a:pt x="269768" y="75138"/>
                      </a:cubicBezTo>
                      <a:lnTo>
                        <a:pt x="262633" y="73279"/>
                      </a:lnTo>
                      <a:lnTo>
                        <a:pt x="266677" y="67110"/>
                      </a:lnTo>
                      <a:cubicBezTo>
                        <a:pt x="266758" y="66354"/>
                        <a:pt x="264936" y="64093"/>
                        <a:pt x="262722" y="63727"/>
                      </a:cubicBezTo>
                      <a:cubicBezTo>
                        <a:pt x="260432" y="63349"/>
                        <a:pt x="257813" y="63722"/>
                        <a:pt x="255035" y="64109"/>
                      </a:cubicBezTo>
                      <a:cubicBezTo>
                        <a:pt x="252425" y="64480"/>
                        <a:pt x="249790" y="64826"/>
                        <a:pt x="247209" y="64752"/>
                      </a:cubicBezTo>
                      <a:cubicBezTo>
                        <a:pt x="242146" y="64625"/>
                        <a:pt x="236952" y="62213"/>
                        <a:pt x="233976" y="58610"/>
                      </a:cubicBezTo>
                      <a:cubicBezTo>
                        <a:pt x="233711" y="58285"/>
                        <a:pt x="233465" y="57957"/>
                        <a:pt x="233236" y="57615"/>
                      </a:cubicBezTo>
                      <a:cubicBezTo>
                        <a:pt x="226576" y="60421"/>
                        <a:pt x="219220" y="61631"/>
                        <a:pt x="212028" y="61043"/>
                      </a:cubicBezTo>
                      <a:lnTo>
                        <a:pt x="208488" y="60759"/>
                      </a:lnTo>
                      <a:lnTo>
                        <a:pt x="207410" y="57373"/>
                      </a:lnTo>
                      <a:cubicBezTo>
                        <a:pt x="205514" y="51425"/>
                        <a:pt x="204299" y="45325"/>
                        <a:pt x="203778" y="39150"/>
                      </a:cubicBezTo>
                      <a:cubicBezTo>
                        <a:pt x="197678" y="41819"/>
                        <a:pt x="190997" y="43088"/>
                        <a:pt x="184307" y="42843"/>
                      </a:cubicBezTo>
                      <a:lnTo>
                        <a:pt x="178499" y="42614"/>
                      </a:lnTo>
                      <a:lnTo>
                        <a:pt x="179267" y="36850"/>
                      </a:lnTo>
                      <a:cubicBezTo>
                        <a:pt x="181292" y="21632"/>
                        <a:pt x="171178" y="5483"/>
                        <a:pt x="156869" y="0"/>
                      </a:cubicBezTo>
                      <a:lnTo>
                        <a:pt x="156730" y="772"/>
                      </a:lnTo>
                      <a:lnTo>
                        <a:pt x="79736" y="29890"/>
                      </a:lnTo>
                      <a:cubicBezTo>
                        <a:pt x="70438" y="33405"/>
                        <a:pt x="60907" y="37007"/>
                        <a:pt x="50981" y="39280"/>
                      </a:cubicBezTo>
                      <a:cubicBezTo>
                        <a:pt x="34168" y="43140"/>
                        <a:pt x="16734" y="43110"/>
                        <a:pt x="0" y="39232"/>
                      </a:cubicBezTo>
                      <a:cubicBezTo>
                        <a:pt x="1198" y="42975"/>
                        <a:pt x="2383" y="46720"/>
                        <a:pt x="3564" y="50464"/>
                      </a:cubicBezTo>
                      <a:cubicBezTo>
                        <a:pt x="9029" y="67738"/>
                        <a:pt x="14680" y="85595"/>
                        <a:pt x="21537" y="102578"/>
                      </a:cubicBezTo>
                      <a:close/>
                    </a:path>
                  </a:pathLst>
                </a:custGeom>
                <a:grpFill/>
                <a:ln w="164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s-ES_tradnl" sz="2400"/>
                </a:p>
              </p:txBody>
            </p:sp>
            <p:sp>
              <p:nvSpPr>
                <p:cNvPr id="132" name="Forma libre 131">
                  <a:extLst>
                    <a:ext uri="{FF2B5EF4-FFF2-40B4-BE49-F238E27FC236}">
                      <a16:creationId xmlns:a16="http://schemas.microsoft.com/office/drawing/2014/main" id="{864A5BE4-C343-7347-BBBD-669663F5CE0E}"/>
                    </a:ext>
                  </a:extLst>
                </p:cNvPr>
                <p:cNvSpPr/>
                <p:nvPr/>
              </p:nvSpPr>
              <p:spPr>
                <a:xfrm>
                  <a:off x="5429828" y="3049860"/>
                  <a:ext cx="449802" cy="215371"/>
                </a:xfrm>
                <a:custGeom>
                  <a:avLst/>
                  <a:gdLst>
                    <a:gd name="connsiteX0" fmla="*/ 241265 w 449802"/>
                    <a:gd name="connsiteY0" fmla="*/ 196210 h 215371"/>
                    <a:gd name="connsiteX1" fmla="*/ 243627 w 449802"/>
                    <a:gd name="connsiteY1" fmla="*/ 193939 h 215371"/>
                    <a:gd name="connsiteX2" fmla="*/ 295746 w 449802"/>
                    <a:gd name="connsiteY2" fmla="*/ 212579 h 215371"/>
                    <a:gd name="connsiteX3" fmla="*/ 311404 w 449802"/>
                    <a:gd name="connsiteY3" fmla="*/ 214707 h 215371"/>
                    <a:gd name="connsiteX4" fmla="*/ 314886 w 449802"/>
                    <a:gd name="connsiteY4" fmla="*/ 209986 h 215371"/>
                    <a:gd name="connsiteX5" fmla="*/ 314421 w 449802"/>
                    <a:gd name="connsiteY5" fmla="*/ 208148 h 215371"/>
                    <a:gd name="connsiteX6" fmla="*/ 289503 w 449802"/>
                    <a:gd name="connsiteY6" fmla="*/ 189666 h 215371"/>
                    <a:gd name="connsiteX7" fmla="*/ 319142 w 449802"/>
                    <a:gd name="connsiteY7" fmla="*/ 198835 h 215371"/>
                    <a:gd name="connsiteX8" fmla="*/ 362658 w 449802"/>
                    <a:gd name="connsiteY8" fmla="*/ 195902 h 215371"/>
                    <a:gd name="connsiteX9" fmla="*/ 368584 w 449802"/>
                    <a:gd name="connsiteY9" fmla="*/ 192889 h 215371"/>
                    <a:gd name="connsiteX10" fmla="*/ 382779 w 449802"/>
                    <a:gd name="connsiteY10" fmla="*/ 186733 h 215371"/>
                    <a:gd name="connsiteX11" fmla="*/ 419566 w 449802"/>
                    <a:gd name="connsiteY11" fmla="*/ 191763 h 215371"/>
                    <a:gd name="connsiteX12" fmla="*/ 436958 w 449802"/>
                    <a:gd name="connsiteY12" fmla="*/ 139629 h 215371"/>
                    <a:gd name="connsiteX13" fmla="*/ 425001 w 449802"/>
                    <a:gd name="connsiteY13" fmla="*/ 127741 h 215371"/>
                    <a:gd name="connsiteX14" fmla="*/ 427181 w 449802"/>
                    <a:gd name="connsiteY14" fmla="*/ 101132 h 215371"/>
                    <a:gd name="connsiteX15" fmla="*/ 428856 w 449802"/>
                    <a:gd name="connsiteY15" fmla="*/ 99610 h 215371"/>
                    <a:gd name="connsiteX16" fmla="*/ 431111 w 449802"/>
                    <a:gd name="connsiteY16" fmla="*/ 99758 h 215371"/>
                    <a:gd name="connsiteX17" fmla="*/ 449802 w 449802"/>
                    <a:gd name="connsiteY17" fmla="*/ 93640 h 215371"/>
                    <a:gd name="connsiteX18" fmla="*/ 436268 w 449802"/>
                    <a:gd name="connsiteY18" fmla="*/ 65173 h 215371"/>
                    <a:gd name="connsiteX19" fmla="*/ 430567 w 449802"/>
                    <a:gd name="connsiteY19" fmla="*/ 48317 h 215371"/>
                    <a:gd name="connsiteX20" fmla="*/ 421473 w 449802"/>
                    <a:gd name="connsiteY20" fmla="*/ 46945 h 215371"/>
                    <a:gd name="connsiteX21" fmla="*/ 424299 w 449802"/>
                    <a:gd name="connsiteY21" fmla="*/ 41279 h 215371"/>
                    <a:gd name="connsiteX22" fmla="*/ 421915 w 449802"/>
                    <a:gd name="connsiteY22" fmla="*/ 40094 h 215371"/>
                    <a:gd name="connsiteX23" fmla="*/ 416793 w 449802"/>
                    <a:gd name="connsiteY23" fmla="*/ 38955 h 215371"/>
                    <a:gd name="connsiteX24" fmla="*/ 410260 w 449802"/>
                    <a:gd name="connsiteY24" fmla="*/ 37482 h 215371"/>
                    <a:gd name="connsiteX25" fmla="*/ 390604 w 449802"/>
                    <a:gd name="connsiteY25" fmla="*/ 19767 h 215371"/>
                    <a:gd name="connsiteX26" fmla="*/ 384191 w 449802"/>
                    <a:gd name="connsiteY26" fmla="*/ 11509 h 215371"/>
                    <a:gd name="connsiteX27" fmla="*/ 345975 w 449802"/>
                    <a:gd name="connsiteY27" fmla="*/ 1845 h 215371"/>
                    <a:gd name="connsiteX28" fmla="*/ 336573 w 449802"/>
                    <a:gd name="connsiteY28" fmla="*/ 8918 h 215371"/>
                    <a:gd name="connsiteX29" fmla="*/ 335521 w 449802"/>
                    <a:gd name="connsiteY29" fmla="*/ 17708 h 215371"/>
                    <a:gd name="connsiteX30" fmla="*/ 334634 w 449802"/>
                    <a:gd name="connsiteY30" fmla="*/ 27819 h 215371"/>
                    <a:gd name="connsiteX31" fmla="*/ 306651 w 449802"/>
                    <a:gd name="connsiteY31" fmla="*/ 47121 h 215371"/>
                    <a:gd name="connsiteX32" fmla="*/ 280637 w 449802"/>
                    <a:gd name="connsiteY32" fmla="*/ 40546 h 215371"/>
                    <a:gd name="connsiteX33" fmla="*/ 230518 w 449802"/>
                    <a:gd name="connsiteY33" fmla="*/ 42118 h 215371"/>
                    <a:gd name="connsiteX34" fmla="*/ 213104 w 449802"/>
                    <a:gd name="connsiteY34" fmla="*/ 64755 h 215371"/>
                    <a:gd name="connsiteX35" fmla="*/ 214772 w 449802"/>
                    <a:gd name="connsiteY35" fmla="*/ 104562 h 215371"/>
                    <a:gd name="connsiteX36" fmla="*/ 213364 w 449802"/>
                    <a:gd name="connsiteY36" fmla="*/ 111471 h 215371"/>
                    <a:gd name="connsiteX37" fmla="*/ 207120 w 449802"/>
                    <a:gd name="connsiteY37" fmla="*/ 108197 h 215371"/>
                    <a:gd name="connsiteX38" fmla="*/ 158901 w 449802"/>
                    <a:gd name="connsiteY38" fmla="*/ 107650 h 215371"/>
                    <a:gd name="connsiteX39" fmla="*/ 140597 w 449802"/>
                    <a:gd name="connsiteY39" fmla="*/ 110868 h 215371"/>
                    <a:gd name="connsiteX40" fmla="*/ 103922 w 449802"/>
                    <a:gd name="connsiteY40" fmla="*/ 111618 h 215371"/>
                    <a:gd name="connsiteX41" fmla="*/ 0 w 449802"/>
                    <a:gd name="connsiteY41" fmla="*/ 108113 h 215371"/>
                    <a:gd name="connsiteX42" fmla="*/ 12080 w 449802"/>
                    <a:gd name="connsiteY42" fmla="*/ 127449 h 215371"/>
                    <a:gd name="connsiteX43" fmla="*/ 15152 w 449802"/>
                    <a:gd name="connsiteY43" fmla="*/ 133767 h 215371"/>
                    <a:gd name="connsiteX44" fmla="*/ 38647 w 449802"/>
                    <a:gd name="connsiteY44" fmla="*/ 162003 h 215371"/>
                    <a:gd name="connsiteX45" fmla="*/ 39808 w 449802"/>
                    <a:gd name="connsiteY45" fmla="*/ 162295 h 215371"/>
                    <a:gd name="connsiteX46" fmla="*/ 47950 w 449802"/>
                    <a:gd name="connsiteY46" fmla="*/ 165811 h 215371"/>
                    <a:gd name="connsiteX47" fmla="*/ 54900 w 449802"/>
                    <a:gd name="connsiteY47" fmla="*/ 155883 h 215371"/>
                    <a:gd name="connsiteX48" fmla="*/ 72612 w 449802"/>
                    <a:gd name="connsiteY48" fmla="*/ 160582 h 215371"/>
                    <a:gd name="connsiteX49" fmla="*/ 77716 w 449802"/>
                    <a:gd name="connsiteY49" fmla="*/ 164031 h 215371"/>
                    <a:gd name="connsiteX50" fmla="*/ 95455 w 449802"/>
                    <a:gd name="connsiteY50" fmla="*/ 159759 h 215371"/>
                    <a:gd name="connsiteX51" fmla="*/ 115727 w 449802"/>
                    <a:gd name="connsiteY51" fmla="*/ 153040 h 215371"/>
                    <a:gd name="connsiteX52" fmla="*/ 116019 w 449802"/>
                    <a:gd name="connsiteY52" fmla="*/ 153038 h 215371"/>
                    <a:gd name="connsiteX53" fmla="*/ 138147 w 449802"/>
                    <a:gd name="connsiteY53" fmla="*/ 161995 h 215371"/>
                    <a:gd name="connsiteX54" fmla="*/ 184668 w 449802"/>
                    <a:gd name="connsiteY54" fmla="*/ 193368 h 215371"/>
                    <a:gd name="connsiteX55" fmla="*/ 194129 w 449802"/>
                    <a:gd name="connsiteY55" fmla="*/ 198095 h 215371"/>
                    <a:gd name="connsiteX56" fmla="*/ 207810 w 449802"/>
                    <a:gd name="connsiteY56" fmla="*/ 195541 h 215371"/>
                    <a:gd name="connsiteX57" fmla="*/ 232868 w 449802"/>
                    <a:gd name="connsiteY57" fmla="*/ 196720 h 215371"/>
                    <a:gd name="connsiteX58" fmla="*/ 236949 w 449802"/>
                    <a:gd name="connsiteY58" fmla="*/ 202187 h 215371"/>
                    <a:gd name="connsiteX59" fmla="*/ 241265 w 449802"/>
                    <a:gd name="connsiteY59" fmla="*/ 196210 h 2153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</a:cxnLst>
                  <a:rect l="l" t="t" r="r" b="b"/>
                  <a:pathLst>
                    <a:path w="449802" h="215371">
                      <a:moveTo>
                        <a:pt x="241265" y="196210"/>
                      </a:moveTo>
                      <a:lnTo>
                        <a:pt x="243627" y="193939"/>
                      </a:lnTo>
                      <a:lnTo>
                        <a:pt x="295746" y="212579"/>
                      </a:lnTo>
                      <a:cubicBezTo>
                        <a:pt x="301538" y="214648"/>
                        <a:pt x="307083" y="216362"/>
                        <a:pt x="311404" y="214707"/>
                      </a:cubicBezTo>
                      <a:cubicBezTo>
                        <a:pt x="313086" y="214063"/>
                        <a:pt x="314611" y="211984"/>
                        <a:pt x="314886" y="209986"/>
                      </a:cubicBezTo>
                      <a:cubicBezTo>
                        <a:pt x="315071" y="208631"/>
                        <a:pt x="314583" y="208270"/>
                        <a:pt x="314421" y="208148"/>
                      </a:cubicBezTo>
                      <a:lnTo>
                        <a:pt x="289503" y="189666"/>
                      </a:lnTo>
                      <a:lnTo>
                        <a:pt x="319142" y="198835"/>
                      </a:lnTo>
                      <a:cubicBezTo>
                        <a:pt x="333328" y="203227"/>
                        <a:pt x="349189" y="202157"/>
                        <a:pt x="362658" y="195902"/>
                      </a:cubicBezTo>
                      <a:cubicBezTo>
                        <a:pt x="364659" y="194967"/>
                        <a:pt x="366621" y="193929"/>
                        <a:pt x="368584" y="192889"/>
                      </a:cubicBezTo>
                      <a:cubicBezTo>
                        <a:pt x="373014" y="190549"/>
                        <a:pt x="377589" y="188126"/>
                        <a:pt x="382779" y="186733"/>
                      </a:cubicBezTo>
                      <a:cubicBezTo>
                        <a:pt x="395224" y="183403"/>
                        <a:pt x="407364" y="186601"/>
                        <a:pt x="419566" y="191763"/>
                      </a:cubicBezTo>
                      <a:cubicBezTo>
                        <a:pt x="416813" y="172930"/>
                        <a:pt x="423361" y="153022"/>
                        <a:pt x="436958" y="139629"/>
                      </a:cubicBezTo>
                      <a:cubicBezTo>
                        <a:pt x="432533" y="136549"/>
                        <a:pt x="428074" y="132766"/>
                        <a:pt x="425001" y="127741"/>
                      </a:cubicBezTo>
                      <a:cubicBezTo>
                        <a:pt x="420311" y="120092"/>
                        <a:pt x="419487" y="108161"/>
                        <a:pt x="427181" y="101132"/>
                      </a:cubicBezTo>
                      <a:lnTo>
                        <a:pt x="428856" y="99610"/>
                      </a:lnTo>
                      <a:lnTo>
                        <a:pt x="431111" y="99758"/>
                      </a:lnTo>
                      <a:cubicBezTo>
                        <a:pt x="437725" y="100287"/>
                        <a:pt x="444611" y="97889"/>
                        <a:pt x="449802" y="93640"/>
                      </a:cubicBezTo>
                      <a:cubicBezTo>
                        <a:pt x="441894" y="86613"/>
                        <a:pt x="438933" y="75332"/>
                        <a:pt x="436268" y="65173"/>
                      </a:cubicBezTo>
                      <a:cubicBezTo>
                        <a:pt x="434586" y="58769"/>
                        <a:pt x="433000" y="52891"/>
                        <a:pt x="430567" y="48317"/>
                      </a:cubicBezTo>
                      <a:lnTo>
                        <a:pt x="421473" y="46945"/>
                      </a:lnTo>
                      <a:cubicBezTo>
                        <a:pt x="421838" y="44700"/>
                        <a:pt x="422847" y="42807"/>
                        <a:pt x="424299" y="41279"/>
                      </a:cubicBezTo>
                      <a:cubicBezTo>
                        <a:pt x="423546" y="40831"/>
                        <a:pt x="422779" y="40402"/>
                        <a:pt x="421915" y="40094"/>
                      </a:cubicBezTo>
                      <a:cubicBezTo>
                        <a:pt x="420265" y="39515"/>
                        <a:pt x="418524" y="39250"/>
                        <a:pt x="416793" y="38955"/>
                      </a:cubicBezTo>
                      <a:cubicBezTo>
                        <a:pt x="414586" y="38587"/>
                        <a:pt x="412380" y="38190"/>
                        <a:pt x="410260" y="37482"/>
                      </a:cubicBezTo>
                      <a:cubicBezTo>
                        <a:pt x="401089" y="34426"/>
                        <a:pt x="395517" y="26640"/>
                        <a:pt x="390604" y="19767"/>
                      </a:cubicBezTo>
                      <a:cubicBezTo>
                        <a:pt x="388555" y="16909"/>
                        <a:pt x="386512" y="14027"/>
                        <a:pt x="384191" y="11509"/>
                      </a:cubicBezTo>
                      <a:cubicBezTo>
                        <a:pt x="374801" y="1308"/>
                        <a:pt x="359076" y="-2670"/>
                        <a:pt x="345975" y="1845"/>
                      </a:cubicBezTo>
                      <a:cubicBezTo>
                        <a:pt x="343218" y="2797"/>
                        <a:pt x="338327" y="4984"/>
                        <a:pt x="336573" y="8918"/>
                      </a:cubicBezTo>
                      <a:cubicBezTo>
                        <a:pt x="335509" y="11295"/>
                        <a:pt x="335516" y="14407"/>
                        <a:pt x="335521" y="17708"/>
                      </a:cubicBezTo>
                      <a:cubicBezTo>
                        <a:pt x="335529" y="20811"/>
                        <a:pt x="335536" y="24329"/>
                        <a:pt x="334634" y="27819"/>
                      </a:cubicBezTo>
                      <a:cubicBezTo>
                        <a:pt x="331398" y="40328"/>
                        <a:pt x="318112" y="47006"/>
                        <a:pt x="306651" y="47121"/>
                      </a:cubicBezTo>
                      <a:cubicBezTo>
                        <a:pt x="297329" y="47512"/>
                        <a:pt x="288570" y="44073"/>
                        <a:pt x="280637" y="40546"/>
                      </a:cubicBezTo>
                      <a:lnTo>
                        <a:pt x="230518" y="42118"/>
                      </a:lnTo>
                      <a:cubicBezTo>
                        <a:pt x="228205" y="51673"/>
                        <a:pt x="221736" y="60068"/>
                        <a:pt x="213104" y="64755"/>
                      </a:cubicBezTo>
                      <a:cubicBezTo>
                        <a:pt x="216878" y="77676"/>
                        <a:pt x="217463" y="91334"/>
                        <a:pt x="214772" y="104562"/>
                      </a:cubicBezTo>
                      <a:lnTo>
                        <a:pt x="213364" y="111471"/>
                      </a:lnTo>
                      <a:lnTo>
                        <a:pt x="207120" y="108197"/>
                      </a:lnTo>
                      <a:cubicBezTo>
                        <a:pt x="193080" y="100805"/>
                        <a:pt x="176473" y="104135"/>
                        <a:pt x="158901" y="107650"/>
                      </a:cubicBezTo>
                      <a:cubicBezTo>
                        <a:pt x="152755" y="108885"/>
                        <a:pt x="146623" y="110110"/>
                        <a:pt x="140597" y="110868"/>
                      </a:cubicBezTo>
                      <a:cubicBezTo>
                        <a:pt x="128233" y="112451"/>
                        <a:pt x="115866" y="112025"/>
                        <a:pt x="103922" y="111618"/>
                      </a:cubicBezTo>
                      <a:lnTo>
                        <a:pt x="0" y="108113"/>
                      </a:lnTo>
                      <a:cubicBezTo>
                        <a:pt x="4589" y="114157"/>
                        <a:pt x="8638" y="120609"/>
                        <a:pt x="12080" y="127449"/>
                      </a:cubicBezTo>
                      <a:cubicBezTo>
                        <a:pt x="13114" y="129500"/>
                        <a:pt x="14128" y="131623"/>
                        <a:pt x="15152" y="133767"/>
                      </a:cubicBezTo>
                      <a:cubicBezTo>
                        <a:pt x="21093" y="146175"/>
                        <a:pt x="27241" y="159016"/>
                        <a:pt x="38647" y="162003"/>
                      </a:cubicBezTo>
                      <a:lnTo>
                        <a:pt x="39808" y="162295"/>
                      </a:lnTo>
                      <a:cubicBezTo>
                        <a:pt x="42147" y="162880"/>
                        <a:pt x="45350" y="163844"/>
                        <a:pt x="47950" y="165811"/>
                      </a:cubicBezTo>
                      <a:cubicBezTo>
                        <a:pt x="48601" y="161823"/>
                        <a:pt x="50337" y="158017"/>
                        <a:pt x="54900" y="155883"/>
                      </a:cubicBezTo>
                      <a:cubicBezTo>
                        <a:pt x="62058" y="152499"/>
                        <a:pt x="68166" y="157169"/>
                        <a:pt x="72612" y="160582"/>
                      </a:cubicBezTo>
                      <a:cubicBezTo>
                        <a:pt x="74432" y="161975"/>
                        <a:pt x="76148" y="163295"/>
                        <a:pt x="77716" y="164031"/>
                      </a:cubicBezTo>
                      <a:cubicBezTo>
                        <a:pt x="82372" y="166240"/>
                        <a:pt x="87520" y="163884"/>
                        <a:pt x="95455" y="159759"/>
                      </a:cubicBezTo>
                      <a:cubicBezTo>
                        <a:pt x="101482" y="156634"/>
                        <a:pt x="108297" y="153096"/>
                        <a:pt x="115727" y="153040"/>
                      </a:cubicBezTo>
                      <a:cubicBezTo>
                        <a:pt x="115821" y="153040"/>
                        <a:pt x="115920" y="153040"/>
                        <a:pt x="116019" y="153038"/>
                      </a:cubicBezTo>
                      <a:cubicBezTo>
                        <a:pt x="124918" y="153084"/>
                        <a:pt x="132564" y="158239"/>
                        <a:pt x="138147" y="161995"/>
                      </a:cubicBezTo>
                      <a:lnTo>
                        <a:pt x="184668" y="193368"/>
                      </a:lnTo>
                      <a:cubicBezTo>
                        <a:pt x="187749" y="195434"/>
                        <a:pt x="190941" y="197584"/>
                        <a:pt x="194129" y="198095"/>
                      </a:cubicBezTo>
                      <a:cubicBezTo>
                        <a:pt x="198050" y="198708"/>
                        <a:pt x="203025" y="197107"/>
                        <a:pt x="207810" y="195541"/>
                      </a:cubicBezTo>
                      <a:cubicBezTo>
                        <a:pt x="215542" y="192981"/>
                        <a:pt x="225196" y="189847"/>
                        <a:pt x="232868" y="196720"/>
                      </a:cubicBezTo>
                      <a:cubicBezTo>
                        <a:pt x="234707" y="198367"/>
                        <a:pt x="235932" y="200278"/>
                        <a:pt x="236949" y="202187"/>
                      </a:cubicBezTo>
                      <a:cubicBezTo>
                        <a:pt x="238066" y="199986"/>
                        <a:pt x="239476" y="197930"/>
                        <a:pt x="241265" y="196210"/>
                      </a:cubicBezTo>
                      <a:close/>
                    </a:path>
                  </a:pathLst>
                </a:custGeom>
                <a:grpFill/>
                <a:ln w="164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s-ES_tradnl" sz="2400"/>
                </a:p>
              </p:txBody>
            </p:sp>
            <p:sp>
              <p:nvSpPr>
                <p:cNvPr id="133" name="Forma libre 132">
                  <a:extLst>
                    <a:ext uri="{FF2B5EF4-FFF2-40B4-BE49-F238E27FC236}">
                      <a16:creationId xmlns:a16="http://schemas.microsoft.com/office/drawing/2014/main" id="{E7B78F6E-AB7C-6A49-A762-4863686A0431}"/>
                    </a:ext>
                  </a:extLst>
                </p:cNvPr>
                <p:cNvSpPr/>
                <p:nvPr/>
              </p:nvSpPr>
              <p:spPr>
                <a:xfrm>
                  <a:off x="5751812" y="2381108"/>
                  <a:ext cx="676114" cy="653251"/>
                </a:xfrm>
                <a:custGeom>
                  <a:avLst/>
                  <a:gdLst>
                    <a:gd name="connsiteX0" fmla="*/ 9840 w 676114"/>
                    <a:gd name="connsiteY0" fmla="*/ 350793 h 653251"/>
                    <a:gd name="connsiteX1" fmla="*/ 13854 w 676114"/>
                    <a:gd name="connsiteY1" fmla="*/ 362560 h 653251"/>
                    <a:gd name="connsiteX2" fmla="*/ 23397 w 676114"/>
                    <a:gd name="connsiteY2" fmla="*/ 478172 h 653251"/>
                    <a:gd name="connsiteX3" fmla="*/ 54979 w 676114"/>
                    <a:gd name="connsiteY3" fmla="*/ 520893 h 653251"/>
                    <a:gd name="connsiteX4" fmla="*/ 70566 w 676114"/>
                    <a:gd name="connsiteY4" fmla="*/ 514791 h 653251"/>
                    <a:gd name="connsiteX5" fmla="*/ 79218 w 676114"/>
                    <a:gd name="connsiteY5" fmla="*/ 508553 h 653251"/>
                    <a:gd name="connsiteX6" fmla="*/ 78957 w 676114"/>
                    <a:gd name="connsiteY6" fmla="*/ 519213 h 653251"/>
                    <a:gd name="connsiteX7" fmla="*/ 81328 w 676114"/>
                    <a:gd name="connsiteY7" fmla="*/ 539442 h 653251"/>
                    <a:gd name="connsiteX8" fmla="*/ 98620 w 676114"/>
                    <a:gd name="connsiteY8" fmla="*/ 534337 h 653251"/>
                    <a:gd name="connsiteX9" fmla="*/ 108519 w 676114"/>
                    <a:gd name="connsiteY9" fmla="*/ 528245 h 653251"/>
                    <a:gd name="connsiteX10" fmla="*/ 106618 w 676114"/>
                    <a:gd name="connsiteY10" fmla="*/ 539714 h 653251"/>
                    <a:gd name="connsiteX11" fmla="*/ 107014 w 676114"/>
                    <a:gd name="connsiteY11" fmla="*/ 540718 h 653251"/>
                    <a:gd name="connsiteX12" fmla="*/ 112352 w 676114"/>
                    <a:gd name="connsiteY12" fmla="*/ 543024 h 653251"/>
                    <a:gd name="connsiteX13" fmla="*/ 118425 w 676114"/>
                    <a:gd name="connsiteY13" fmla="*/ 542479 h 653251"/>
                    <a:gd name="connsiteX14" fmla="*/ 129331 w 676114"/>
                    <a:gd name="connsiteY14" fmla="*/ 542133 h 653251"/>
                    <a:gd name="connsiteX15" fmla="*/ 141131 w 676114"/>
                    <a:gd name="connsiteY15" fmla="*/ 551234 h 653251"/>
                    <a:gd name="connsiteX16" fmla="*/ 141681 w 676114"/>
                    <a:gd name="connsiteY16" fmla="*/ 552751 h 653251"/>
                    <a:gd name="connsiteX17" fmla="*/ 148111 w 676114"/>
                    <a:gd name="connsiteY17" fmla="*/ 546844 h 653251"/>
                    <a:gd name="connsiteX18" fmla="*/ 164206 w 676114"/>
                    <a:gd name="connsiteY18" fmla="*/ 535842 h 653251"/>
                    <a:gd name="connsiteX19" fmla="*/ 185012 w 676114"/>
                    <a:gd name="connsiteY19" fmla="*/ 542340 h 653251"/>
                    <a:gd name="connsiteX20" fmla="*/ 231478 w 676114"/>
                    <a:gd name="connsiteY20" fmla="*/ 581029 h 653251"/>
                    <a:gd name="connsiteX21" fmla="*/ 249144 w 676114"/>
                    <a:gd name="connsiteY21" fmla="*/ 603129 h 653251"/>
                    <a:gd name="connsiteX22" fmla="*/ 250762 w 676114"/>
                    <a:gd name="connsiteY22" fmla="*/ 602335 h 653251"/>
                    <a:gd name="connsiteX23" fmla="*/ 266647 w 676114"/>
                    <a:gd name="connsiteY23" fmla="*/ 604750 h 653251"/>
                    <a:gd name="connsiteX24" fmla="*/ 272859 w 676114"/>
                    <a:gd name="connsiteY24" fmla="*/ 610352 h 653251"/>
                    <a:gd name="connsiteX25" fmla="*/ 279405 w 676114"/>
                    <a:gd name="connsiteY25" fmla="*/ 615752 h 653251"/>
                    <a:gd name="connsiteX26" fmla="*/ 301850 w 676114"/>
                    <a:gd name="connsiteY26" fmla="*/ 609554 h 653251"/>
                    <a:gd name="connsiteX27" fmla="*/ 304440 w 676114"/>
                    <a:gd name="connsiteY27" fmla="*/ 608085 h 653251"/>
                    <a:gd name="connsiteX28" fmla="*/ 330087 w 676114"/>
                    <a:gd name="connsiteY28" fmla="*/ 604097 h 653251"/>
                    <a:gd name="connsiteX29" fmla="*/ 340268 w 676114"/>
                    <a:gd name="connsiteY29" fmla="*/ 612895 h 653251"/>
                    <a:gd name="connsiteX30" fmla="*/ 341788 w 676114"/>
                    <a:gd name="connsiteY30" fmla="*/ 616949 h 653251"/>
                    <a:gd name="connsiteX31" fmla="*/ 343232 w 676114"/>
                    <a:gd name="connsiteY31" fmla="*/ 620495 h 653251"/>
                    <a:gd name="connsiteX32" fmla="*/ 344243 w 676114"/>
                    <a:gd name="connsiteY32" fmla="*/ 620062 h 653251"/>
                    <a:gd name="connsiteX33" fmla="*/ 349753 w 676114"/>
                    <a:gd name="connsiteY33" fmla="*/ 619732 h 653251"/>
                    <a:gd name="connsiteX34" fmla="*/ 357937 w 676114"/>
                    <a:gd name="connsiteY34" fmla="*/ 625711 h 653251"/>
                    <a:gd name="connsiteX35" fmla="*/ 359555 w 676114"/>
                    <a:gd name="connsiteY35" fmla="*/ 627643 h 653251"/>
                    <a:gd name="connsiteX36" fmla="*/ 362603 w 676114"/>
                    <a:gd name="connsiteY36" fmla="*/ 628552 h 653251"/>
                    <a:gd name="connsiteX37" fmla="*/ 373746 w 676114"/>
                    <a:gd name="connsiteY37" fmla="*/ 620762 h 653251"/>
                    <a:gd name="connsiteX38" fmla="*/ 374883 w 676114"/>
                    <a:gd name="connsiteY38" fmla="*/ 619193 h 653251"/>
                    <a:gd name="connsiteX39" fmla="*/ 398115 w 676114"/>
                    <a:gd name="connsiteY39" fmla="*/ 602903 h 653251"/>
                    <a:gd name="connsiteX40" fmla="*/ 409335 w 676114"/>
                    <a:gd name="connsiteY40" fmla="*/ 606718 h 653251"/>
                    <a:gd name="connsiteX41" fmla="*/ 415695 w 676114"/>
                    <a:gd name="connsiteY41" fmla="*/ 609306 h 653251"/>
                    <a:gd name="connsiteX42" fmla="*/ 417597 w 676114"/>
                    <a:gd name="connsiteY42" fmla="*/ 609470 h 653251"/>
                    <a:gd name="connsiteX43" fmla="*/ 425546 w 676114"/>
                    <a:gd name="connsiteY43" fmla="*/ 611540 h 653251"/>
                    <a:gd name="connsiteX44" fmla="*/ 431008 w 676114"/>
                    <a:gd name="connsiteY44" fmla="*/ 618710 h 653251"/>
                    <a:gd name="connsiteX45" fmla="*/ 463953 w 676114"/>
                    <a:gd name="connsiteY45" fmla="*/ 653252 h 653251"/>
                    <a:gd name="connsiteX46" fmla="*/ 480768 w 676114"/>
                    <a:gd name="connsiteY46" fmla="*/ 610517 h 653251"/>
                    <a:gd name="connsiteX47" fmla="*/ 489794 w 676114"/>
                    <a:gd name="connsiteY47" fmla="*/ 587890 h 653251"/>
                    <a:gd name="connsiteX48" fmla="*/ 499435 w 676114"/>
                    <a:gd name="connsiteY48" fmla="*/ 568520 h 653251"/>
                    <a:gd name="connsiteX49" fmla="*/ 522572 w 676114"/>
                    <a:gd name="connsiteY49" fmla="*/ 548015 h 653251"/>
                    <a:gd name="connsiteX50" fmla="*/ 544136 w 676114"/>
                    <a:gd name="connsiteY50" fmla="*/ 528486 h 653251"/>
                    <a:gd name="connsiteX51" fmla="*/ 530187 w 676114"/>
                    <a:gd name="connsiteY51" fmla="*/ 455712 h 653251"/>
                    <a:gd name="connsiteX52" fmla="*/ 520242 w 676114"/>
                    <a:gd name="connsiteY52" fmla="*/ 430172 h 653251"/>
                    <a:gd name="connsiteX53" fmla="*/ 528628 w 676114"/>
                    <a:gd name="connsiteY53" fmla="*/ 413318 h 653251"/>
                    <a:gd name="connsiteX54" fmla="*/ 534914 w 676114"/>
                    <a:gd name="connsiteY54" fmla="*/ 410179 h 653251"/>
                    <a:gd name="connsiteX55" fmla="*/ 513751 w 676114"/>
                    <a:gd name="connsiteY55" fmla="*/ 382572 h 653251"/>
                    <a:gd name="connsiteX56" fmla="*/ 505528 w 676114"/>
                    <a:gd name="connsiteY56" fmla="*/ 378342 h 653251"/>
                    <a:gd name="connsiteX57" fmla="*/ 513341 w 676114"/>
                    <a:gd name="connsiteY57" fmla="*/ 373390 h 653251"/>
                    <a:gd name="connsiteX58" fmla="*/ 527388 w 676114"/>
                    <a:gd name="connsiteY58" fmla="*/ 337762 h 653251"/>
                    <a:gd name="connsiteX59" fmla="*/ 525998 w 676114"/>
                    <a:gd name="connsiteY59" fmla="*/ 333242 h 653251"/>
                    <a:gd name="connsiteX60" fmla="*/ 524017 w 676114"/>
                    <a:gd name="connsiteY60" fmla="*/ 315794 h 653251"/>
                    <a:gd name="connsiteX61" fmla="*/ 527629 w 676114"/>
                    <a:gd name="connsiteY61" fmla="*/ 308014 h 653251"/>
                    <a:gd name="connsiteX62" fmla="*/ 530136 w 676114"/>
                    <a:gd name="connsiteY62" fmla="*/ 302861 h 653251"/>
                    <a:gd name="connsiteX63" fmla="*/ 528557 w 676114"/>
                    <a:gd name="connsiteY63" fmla="*/ 292178 h 653251"/>
                    <a:gd name="connsiteX64" fmla="*/ 507889 w 676114"/>
                    <a:gd name="connsiteY64" fmla="*/ 226935 h 653251"/>
                    <a:gd name="connsiteX65" fmla="*/ 507546 w 676114"/>
                    <a:gd name="connsiteY65" fmla="*/ 226714 h 653251"/>
                    <a:gd name="connsiteX66" fmla="*/ 497404 w 676114"/>
                    <a:gd name="connsiteY66" fmla="*/ 216277 h 653251"/>
                    <a:gd name="connsiteX67" fmla="*/ 484349 w 676114"/>
                    <a:gd name="connsiteY67" fmla="*/ 205116 h 653251"/>
                    <a:gd name="connsiteX68" fmla="*/ 479980 w 676114"/>
                    <a:gd name="connsiteY68" fmla="*/ 204197 h 653251"/>
                    <a:gd name="connsiteX69" fmla="*/ 468757 w 676114"/>
                    <a:gd name="connsiteY69" fmla="*/ 200148 h 653251"/>
                    <a:gd name="connsiteX70" fmla="*/ 461315 w 676114"/>
                    <a:gd name="connsiteY70" fmla="*/ 185714 h 653251"/>
                    <a:gd name="connsiteX71" fmla="*/ 459316 w 676114"/>
                    <a:gd name="connsiteY71" fmla="*/ 130104 h 653251"/>
                    <a:gd name="connsiteX72" fmla="*/ 434004 w 676114"/>
                    <a:gd name="connsiteY72" fmla="*/ 136479 h 653251"/>
                    <a:gd name="connsiteX73" fmla="*/ 428062 w 676114"/>
                    <a:gd name="connsiteY73" fmla="*/ 127712 h 653251"/>
                    <a:gd name="connsiteX74" fmla="*/ 466527 w 676114"/>
                    <a:gd name="connsiteY74" fmla="*/ 120577 h 653251"/>
                    <a:gd name="connsiteX75" fmla="*/ 471355 w 676114"/>
                    <a:gd name="connsiteY75" fmla="*/ 121699 h 653251"/>
                    <a:gd name="connsiteX76" fmla="*/ 470555 w 676114"/>
                    <a:gd name="connsiteY76" fmla="*/ 126592 h 653251"/>
                    <a:gd name="connsiteX77" fmla="*/ 471685 w 676114"/>
                    <a:gd name="connsiteY77" fmla="*/ 183573 h 653251"/>
                    <a:gd name="connsiteX78" fmla="*/ 475254 w 676114"/>
                    <a:gd name="connsiteY78" fmla="*/ 191775 h 653251"/>
                    <a:gd name="connsiteX79" fmla="*/ 481743 w 676114"/>
                    <a:gd name="connsiteY79" fmla="*/ 193753 h 653251"/>
                    <a:gd name="connsiteX80" fmla="*/ 487524 w 676114"/>
                    <a:gd name="connsiteY80" fmla="*/ 195021 h 653251"/>
                    <a:gd name="connsiteX81" fmla="*/ 505538 w 676114"/>
                    <a:gd name="connsiteY81" fmla="*/ 209493 h 653251"/>
                    <a:gd name="connsiteX82" fmla="*/ 513980 w 676114"/>
                    <a:gd name="connsiteY82" fmla="*/ 218305 h 653251"/>
                    <a:gd name="connsiteX83" fmla="*/ 515632 w 676114"/>
                    <a:gd name="connsiteY83" fmla="*/ 219213 h 653251"/>
                    <a:gd name="connsiteX84" fmla="*/ 516468 w 676114"/>
                    <a:gd name="connsiteY84" fmla="*/ 218948 h 653251"/>
                    <a:gd name="connsiteX85" fmla="*/ 516746 w 676114"/>
                    <a:gd name="connsiteY85" fmla="*/ 219826 h 653251"/>
                    <a:gd name="connsiteX86" fmla="*/ 537111 w 676114"/>
                    <a:gd name="connsiteY86" fmla="*/ 220024 h 653251"/>
                    <a:gd name="connsiteX87" fmla="*/ 543588 w 676114"/>
                    <a:gd name="connsiteY87" fmla="*/ 199714 h 653251"/>
                    <a:gd name="connsiteX88" fmla="*/ 540751 w 676114"/>
                    <a:gd name="connsiteY88" fmla="*/ 193877 h 653251"/>
                    <a:gd name="connsiteX89" fmla="*/ 547049 w 676114"/>
                    <a:gd name="connsiteY89" fmla="*/ 192277 h 653251"/>
                    <a:gd name="connsiteX90" fmla="*/ 562263 w 676114"/>
                    <a:gd name="connsiteY90" fmla="*/ 195029 h 653251"/>
                    <a:gd name="connsiteX91" fmla="*/ 567397 w 676114"/>
                    <a:gd name="connsiteY91" fmla="*/ 199768 h 653251"/>
                    <a:gd name="connsiteX92" fmla="*/ 587356 w 676114"/>
                    <a:gd name="connsiteY92" fmla="*/ 193812 h 653251"/>
                    <a:gd name="connsiteX93" fmla="*/ 605996 w 676114"/>
                    <a:gd name="connsiteY93" fmla="*/ 187276 h 653251"/>
                    <a:gd name="connsiteX94" fmla="*/ 609258 w 676114"/>
                    <a:gd name="connsiteY94" fmla="*/ 166840 h 653251"/>
                    <a:gd name="connsiteX95" fmla="*/ 608596 w 676114"/>
                    <a:gd name="connsiteY95" fmla="*/ 162765 h 653251"/>
                    <a:gd name="connsiteX96" fmla="*/ 608446 w 676114"/>
                    <a:gd name="connsiteY96" fmla="*/ 138604 h 653251"/>
                    <a:gd name="connsiteX97" fmla="*/ 621957 w 676114"/>
                    <a:gd name="connsiteY97" fmla="*/ 124048 h 653251"/>
                    <a:gd name="connsiteX98" fmla="*/ 636227 w 676114"/>
                    <a:gd name="connsiteY98" fmla="*/ 124898 h 653251"/>
                    <a:gd name="connsiteX99" fmla="*/ 638649 w 676114"/>
                    <a:gd name="connsiteY99" fmla="*/ 126541 h 653251"/>
                    <a:gd name="connsiteX100" fmla="*/ 640604 w 676114"/>
                    <a:gd name="connsiteY100" fmla="*/ 127782 h 653251"/>
                    <a:gd name="connsiteX101" fmla="*/ 644411 w 676114"/>
                    <a:gd name="connsiteY101" fmla="*/ 126292 h 653251"/>
                    <a:gd name="connsiteX102" fmla="*/ 676114 w 676114"/>
                    <a:gd name="connsiteY102" fmla="*/ 108844 h 653251"/>
                    <a:gd name="connsiteX103" fmla="*/ 665258 w 676114"/>
                    <a:gd name="connsiteY103" fmla="*/ 106521 h 653251"/>
                    <a:gd name="connsiteX104" fmla="*/ 645776 w 676114"/>
                    <a:gd name="connsiteY104" fmla="*/ 98806 h 653251"/>
                    <a:gd name="connsiteX105" fmla="*/ 644013 w 676114"/>
                    <a:gd name="connsiteY105" fmla="*/ 88481 h 653251"/>
                    <a:gd name="connsiteX106" fmla="*/ 648956 w 676114"/>
                    <a:gd name="connsiteY106" fmla="*/ 81384 h 653251"/>
                    <a:gd name="connsiteX107" fmla="*/ 650403 w 676114"/>
                    <a:gd name="connsiteY107" fmla="*/ 79915 h 653251"/>
                    <a:gd name="connsiteX108" fmla="*/ 637442 w 676114"/>
                    <a:gd name="connsiteY108" fmla="*/ 79645 h 653251"/>
                    <a:gd name="connsiteX109" fmla="*/ 647095 w 676114"/>
                    <a:gd name="connsiteY109" fmla="*/ 72643 h 653251"/>
                    <a:gd name="connsiteX110" fmla="*/ 632956 w 676114"/>
                    <a:gd name="connsiteY110" fmla="*/ 58138 h 653251"/>
                    <a:gd name="connsiteX111" fmla="*/ 620543 w 676114"/>
                    <a:gd name="connsiteY111" fmla="*/ 46873 h 653251"/>
                    <a:gd name="connsiteX112" fmla="*/ 616792 w 676114"/>
                    <a:gd name="connsiteY112" fmla="*/ 47087 h 653251"/>
                    <a:gd name="connsiteX113" fmla="*/ 608495 w 676114"/>
                    <a:gd name="connsiteY113" fmla="*/ 46916 h 653251"/>
                    <a:gd name="connsiteX114" fmla="*/ 596856 w 676114"/>
                    <a:gd name="connsiteY114" fmla="*/ 38262 h 653251"/>
                    <a:gd name="connsiteX115" fmla="*/ 596044 w 676114"/>
                    <a:gd name="connsiteY115" fmla="*/ 37323 h 653251"/>
                    <a:gd name="connsiteX116" fmla="*/ 511895 w 676114"/>
                    <a:gd name="connsiteY116" fmla="*/ 3051 h 653251"/>
                    <a:gd name="connsiteX117" fmla="*/ 456960 w 676114"/>
                    <a:gd name="connsiteY117" fmla="*/ 5468 h 653251"/>
                    <a:gd name="connsiteX118" fmla="*/ 449629 w 676114"/>
                    <a:gd name="connsiteY118" fmla="*/ 9686 h 653251"/>
                    <a:gd name="connsiteX119" fmla="*/ 417245 w 676114"/>
                    <a:gd name="connsiteY119" fmla="*/ 16688 h 653251"/>
                    <a:gd name="connsiteX120" fmla="*/ 411194 w 676114"/>
                    <a:gd name="connsiteY120" fmla="*/ 12664 h 653251"/>
                    <a:gd name="connsiteX121" fmla="*/ 406517 w 676114"/>
                    <a:gd name="connsiteY121" fmla="*/ 9596 h 653251"/>
                    <a:gd name="connsiteX122" fmla="*/ 387032 w 676114"/>
                    <a:gd name="connsiteY122" fmla="*/ 17970 h 653251"/>
                    <a:gd name="connsiteX123" fmla="*/ 362138 w 676114"/>
                    <a:gd name="connsiteY123" fmla="*/ 26212 h 653251"/>
                    <a:gd name="connsiteX124" fmla="*/ 432090 w 676114"/>
                    <a:gd name="connsiteY124" fmla="*/ 140917 h 653251"/>
                    <a:gd name="connsiteX125" fmla="*/ 375086 w 676114"/>
                    <a:gd name="connsiteY125" fmla="*/ 144332 h 653251"/>
                    <a:gd name="connsiteX126" fmla="*/ 372714 w 676114"/>
                    <a:gd name="connsiteY126" fmla="*/ 122812 h 653251"/>
                    <a:gd name="connsiteX127" fmla="*/ 357224 w 676114"/>
                    <a:gd name="connsiteY127" fmla="*/ 166916 h 653251"/>
                    <a:gd name="connsiteX128" fmla="*/ 325187 w 676114"/>
                    <a:gd name="connsiteY128" fmla="*/ 137095 h 653251"/>
                    <a:gd name="connsiteX129" fmla="*/ 302516 w 676114"/>
                    <a:gd name="connsiteY129" fmla="*/ 175568 h 653251"/>
                    <a:gd name="connsiteX130" fmla="*/ 296173 w 676114"/>
                    <a:gd name="connsiteY130" fmla="*/ 224235 h 653251"/>
                    <a:gd name="connsiteX131" fmla="*/ 236846 w 676114"/>
                    <a:gd name="connsiteY131" fmla="*/ 182431 h 653251"/>
                    <a:gd name="connsiteX132" fmla="*/ 229673 w 676114"/>
                    <a:gd name="connsiteY132" fmla="*/ 166138 h 653251"/>
                    <a:gd name="connsiteX133" fmla="*/ 218157 w 676114"/>
                    <a:gd name="connsiteY133" fmla="*/ 166390 h 653251"/>
                    <a:gd name="connsiteX134" fmla="*/ 158790 w 676114"/>
                    <a:gd name="connsiteY134" fmla="*/ 182605 h 653251"/>
                    <a:gd name="connsiteX135" fmla="*/ 13023 w 676114"/>
                    <a:gd name="connsiteY135" fmla="*/ 267145 h 653251"/>
                    <a:gd name="connsiteX136" fmla="*/ 11287 w 676114"/>
                    <a:gd name="connsiteY136" fmla="*/ 265673 h 653251"/>
                    <a:gd name="connsiteX137" fmla="*/ 669 w 676114"/>
                    <a:gd name="connsiteY137" fmla="*/ 317584 h 653251"/>
                    <a:gd name="connsiteX138" fmla="*/ 9840 w 676114"/>
                    <a:gd name="connsiteY138" fmla="*/ 350793 h 65325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  <a:cxn ang="0">
                      <a:pos x="connsiteX86" y="connsiteY86"/>
                    </a:cxn>
                    <a:cxn ang="0">
                      <a:pos x="connsiteX87" y="connsiteY87"/>
                    </a:cxn>
                    <a:cxn ang="0">
                      <a:pos x="connsiteX88" y="connsiteY88"/>
                    </a:cxn>
                    <a:cxn ang="0">
                      <a:pos x="connsiteX89" y="connsiteY89"/>
                    </a:cxn>
                    <a:cxn ang="0">
                      <a:pos x="connsiteX90" y="connsiteY90"/>
                    </a:cxn>
                    <a:cxn ang="0">
                      <a:pos x="connsiteX91" y="connsiteY91"/>
                    </a:cxn>
                    <a:cxn ang="0">
                      <a:pos x="connsiteX92" y="connsiteY92"/>
                    </a:cxn>
                    <a:cxn ang="0">
                      <a:pos x="connsiteX93" y="connsiteY93"/>
                    </a:cxn>
                    <a:cxn ang="0">
                      <a:pos x="connsiteX94" y="connsiteY94"/>
                    </a:cxn>
                    <a:cxn ang="0">
                      <a:pos x="connsiteX95" y="connsiteY95"/>
                    </a:cxn>
                    <a:cxn ang="0">
                      <a:pos x="connsiteX96" y="connsiteY96"/>
                    </a:cxn>
                    <a:cxn ang="0">
                      <a:pos x="connsiteX97" y="connsiteY97"/>
                    </a:cxn>
                    <a:cxn ang="0">
                      <a:pos x="connsiteX98" y="connsiteY98"/>
                    </a:cxn>
                    <a:cxn ang="0">
                      <a:pos x="connsiteX99" y="connsiteY99"/>
                    </a:cxn>
                    <a:cxn ang="0">
                      <a:pos x="connsiteX100" y="connsiteY100"/>
                    </a:cxn>
                    <a:cxn ang="0">
                      <a:pos x="connsiteX101" y="connsiteY101"/>
                    </a:cxn>
                    <a:cxn ang="0">
                      <a:pos x="connsiteX102" y="connsiteY102"/>
                    </a:cxn>
                    <a:cxn ang="0">
                      <a:pos x="connsiteX103" y="connsiteY103"/>
                    </a:cxn>
                    <a:cxn ang="0">
                      <a:pos x="connsiteX104" y="connsiteY104"/>
                    </a:cxn>
                    <a:cxn ang="0">
                      <a:pos x="connsiteX105" y="connsiteY105"/>
                    </a:cxn>
                    <a:cxn ang="0">
                      <a:pos x="connsiteX106" y="connsiteY106"/>
                    </a:cxn>
                    <a:cxn ang="0">
                      <a:pos x="connsiteX107" y="connsiteY107"/>
                    </a:cxn>
                    <a:cxn ang="0">
                      <a:pos x="connsiteX108" y="connsiteY108"/>
                    </a:cxn>
                    <a:cxn ang="0">
                      <a:pos x="connsiteX109" y="connsiteY109"/>
                    </a:cxn>
                    <a:cxn ang="0">
                      <a:pos x="connsiteX110" y="connsiteY110"/>
                    </a:cxn>
                    <a:cxn ang="0">
                      <a:pos x="connsiteX111" y="connsiteY111"/>
                    </a:cxn>
                    <a:cxn ang="0">
                      <a:pos x="connsiteX112" y="connsiteY112"/>
                    </a:cxn>
                    <a:cxn ang="0">
                      <a:pos x="connsiteX113" y="connsiteY113"/>
                    </a:cxn>
                    <a:cxn ang="0">
                      <a:pos x="connsiteX114" y="connsiteY114"/>
                    </a:cxn>
                    <a:cxn ang="0">
                      <a:pos x="connsiteX115" y="connsiteY115"/>
                    </a:cxn>
                    <a:cxn ang="0">
                      <a:pos x="connsiteX116" y="connsiteY116"/>
                    </a:cxn>
                    <a:cxn ang="0">
                      <a:pos x="connsiteX117" y="connsiteY117"/>
                    </a:cxn>
                    <a:cxn ang="0">
                      <a:pos x="connsiteX118" y="connsiteY118"/>
                    </a:cxn>
                    <a:cxn ang="0">
                      <a:pos x="connsiteX119" y="connsiteY119"/>
                    </a:cxn>
                    <a:cxn ang="0">
                      <a:pos x="connsiteX120" y="connsiteY120"/>
                    </a:cxn>
                    <a:cxn ang="0">
                      <a:pos x="connsiteX121" y="connsiteY121"/>
                    </a:cxn>
                    <a:cxn ang="0">
                      <a:pos x="connsiteX122" y="connsiteY122"/>
                    </a:cxn>
                    <a:cxn ang="0">
                      <a:pos x="connsiteX123" y="connsiteY123"/>
                    </a:cxn>
                    <a:cxn ang="0">
                      <a:pos x="connsiteX124" y="connsiteY124"/>
                    </a:cxn>
                    <a:cxn ang="0">
                      <a:pos x="connsiteX125" y="connsiteY125"/>
                    </a:cxn>
                    <a:cxn ang="0">
                      <a:pos x="connsiteX126" y="connsiteY126"/>
                    </a:cxn>
                    <a:cxn ang="0">
                      <a:pos x="connsiteX127" y="connsiteY127"/>
                    </a:cxn>
                    <a:cxn ang="0">
                      <a:pos x="connsiteX128" y="connsiteY128"/>
                    </a:cxn>
                    <a:cxn ang="0">
                      <a:pos x="connsiteX129" y="connsiteY129"/>
                    </a:cxn>
                    <a:cxn ang="0">
                      <a:pos x="connsiteX130" y="connsiteY130"/>
                    </a:cxn>
                    <a:cxn ang="0">
                      <a:pos x="connsiteX131" y="connsiteY131"/>
                    </a:cxn>
                    <a:cxn ang="0">
                      <a:pos x="connsiteX132" y="connsiteY132"/>
                    </a:cxn>
                    <a:cxn ang="0">
                      <a:pos x="connsiteX133" y="connsiteY133"/>
                    </a:cxn>
                    <a:cxn ang="0">
                      <a:pos x="connsiteX134" y="connsiteY134"/>
                    </a:cxn>
                    <a:cxn ang="0">
                      <a:pos x="connsiteX135" y="connsiteY135"/>
                    </a:cxn>
                    <a:cxn ang="0">
                      <a:pos x="connsiteX136" y="connsiteY136"/>
                    </a:cxn>
                    <a:cxn ang="0">
                      <a:pos x="connsiteX137" y="connsiteY137"/>
                    </a:cxn>
                    <a:cxn ang="0">
                      <a:pos x="connsiteX138" y="connsiteY138"/>
                    </a:cxn>
                  </a:cxnLst>
                  <a:rect l="l" t="t" r="r" b="b"/>
                  <a:pathLst>
                    <a:path w="676114" h="653251">
                      <a:moveTo>
                        <a:pt x="9840" y="350793"/>
                      </a:moveTo>
                      <a:cubicBezTo>
                        <a:pt x="11208" y="354706"/>
                        <a:pt x="12581" y="358622"/>
                        <a:pt x="13854" y="362560"/>
                      </a:cubicBezTo>
                      <a:cubicBezTo>
                        <a:pt x="25864" y="399753"/>
                        <a:pt x="29052" y="439531"/>
                        <a:pt x="23397" y="478172"/>
                      </a:cubicBezTo>
                      <a:cubicBezTo>
                        <a:pt x="41490" y="483952"/>
                        <a:pt x="54613" y="502027"/>
                        <a:pt x="54979" y="520893"/>
                      </a:cubicBezTo>
                      <a:cubicBezTo>
                        <a:pt x="60576" y="520204"/>
                        <a:pt x="65970" y="518110"/>
                        <a:pt x="70566" y="514791"/>
                      </a:cubicBezTo>
                      <a:lnTo>
                        <a:pt x="79218" y="508553"/>
                      </a:lnTo>
                      <a:lnTo>
                        <a:pt x="78957" y="519213"/>
                      </a:lnTo>
                      <a:cubicBezTo>
                        <a:pt x="78796" y="526056"/>
                        <a:pt x="79592" y="532841"/>
                        <a:pt x="81328" y="539442"/>
                      </a:cubicBezTo>
                      <a:cubicBezTo>
                        <a:pt x="87414" y="539289"/>
                        <a:pt x="93441" y="537527"/>
                        <a:pt x="98620" y="534337"/>
                      </a:cubicBezTo>
                      <a:lnTo>
                        <a:pt x="108519" y="528245"/>
                      </a:lnTo>
                      <a:lnTo>
                        <a:pt x="106618" y="539714"/>
                      </a:lnTo>
                      <a:cubicBezTo>
                        <a:pt x="106595" y="539859"/>
                        <a:pt x="106544" y="540154"/>
                        <a:pt x="107014" y="540718"/>
                      </a:cubicBezTo>
                      <a:cubicBezTo>
                        <a:pt x="108057" y="541984"/>
                        <a:pt x="110351" y="542973"/>
                        <a:pt x="112352" y="543024"/>
                      </a:cubicBezTo>
                      <a:cubicBezTo>
                        <a:pt x="114416" y="543053"/>
                        <a:pt x="116411" y="542762"/>
                        <a:pt x="118425" y="542479"/>
                      </a:cubicBezTo>
                      <a:cubicBezTo>
                        <a:pt x="121706" y="542009"/>
                        <a:pt x="125441" y="541475"/>
                        <a:pt x="129331" y="542133"/>
                      </a:cubicBezTo>
                      <a:cubicBezTo>
                        <a:pt x="134378" y="542975"/>
                        <a:pt x="139121" y="546631"/>
                        <a:pt x="141131" y="551234"/>
                      </a:cubicBezTo>
                      <a:cubicBezTo>
                        <a:pt x="141353" y="551736"/>
                        <a:pt x="141537" y="552240"/>
                        <a:pt x="141681" y="552751"/>
                      </a:cubicBezTo>
                      <a:cubicBezTo>
                        <a:pt x="143435" y="551612"/>
                        <a:pt x="145449" y="549625"/>
                        <a:pt x="148111" y="546844"/>
                      </a:cubicBezTo>
                      <a:cubicBezTo>
                        <a:pt x="152436" y="542329"/>
                        <a:pt x="157343" y="537207"/>
                        <a:pt x="164206" y="535842"/>
                      </a:cubicBezTo>
                      <a:cubicBezTo>
                        <a:pt x="172033" y="534274"/>
                        <a:pt x="179107" y="538250"/>
                        <a:pt x="185012" y="542340"/>
                      </a:cubicBezTo>
                      <a:cubicBezTo>
                        <a:pt x="201706" y="553893"/>
                        <a:pt x="216843" y="567687"/>
                        <a:pt x="231478" y="581029"/>
                      </a:cubicBezTo>
                      <a:cubicBezTo>
                        <a:pt x="235496" y="584695"/>
                        <a:pt x="244439" y="592898"/>
                        <a:pt x="249144" y="603129"/>
                      </a:cubicBezTo>
                      <a:cubicBezTo>
                        <a:pt x="249672" y="602851"/>
                        <a:pt x="250178" y="602546"/>
                        <a:pt x="250762" y="602335"/>
                      </a:cubicBezTo>
                      <a:cubicBezTo>
                        <a:pt x="255702" y="600551"/>
                        <a:pt x="262097" y="601515"/>
                        <a:pt x="266647" y="604750"/>
                      </a:cubicBezTo>
                      <a:cubicBezTo>
                        <a:pt x="269043" y="606459"/>
                        <a:pt x="270983" y="608431"/>
                        <a:pt x="272859" y="610352"/>
                      </a:cubicBezTo>
                      <a:cubicBezTo>
                        <a:pt x="275043" y="612579"/>
                        <a:pt x="277112" y="614694"/>
                        <a:pt x="279405" y="615752"/>
                      </a:cubicBezTo>
                      <a:cubicBezTo>
                        <a:pt x="285800" y="618672"/>
                        <a:pt x="293956" y="614039"/>
                        <a:pt x="301850" y="609554"/>
                      </a:cubicBezTo>
                      <a:lnTo>
                        <a:pt x="304440" y="608085"/>
                      </a:lnTo>
                      <a:cubicBezTo>
                        <a:pt x="310857" y="604509"/>
                        <a:pt x="321435" y="601296"/>
                        <a:pt x="330087" y="604097"/>
                      </a:cubicBezTo>
                      <a:cubicBezTo>
                        <a:pt x="334747" y="605592"/>
                        <a:pt x="338265" y="608629"/>
                        <a:pt x="340268" y="612895"/>
                      </a:cubicBezTo>
                      <a:cubicBezTo>
                        <a:pt x="340857" y="614142"/>
                        <a:pt x="341328" y="615544"/>
                        <a:pt x="341788" y="616949"/>
                      </a:cubicBezTo>
                      <a:cubicBezTo>
                        <a:pt x="342161" y="618093"/>
                        <a:pt x="342784" y="620012"/>
                        <a:pt x="343232" y="620495"/>
                      </a:cubicBezTo>
                      <a:cubicBezTo>
                        <a:pt x="343091" y="620321"/>
                        <a:pt x="343778" y="620170"/>
                        <a:pt x="344243" y="620062"/>
                      </a:cubicBezTo>
                      <a:cubicBezTo>
                        <a:pt x="345648" y="619762"/>
                        <a:pt x="347547" y="619356"/>
                        <a:pt x="349753" y="619732"/>
                      </a:cubicBezTo>
                      <a:cubicBezTo>
                        <a:pt x="353938" y="620497"/>
                        <a:pt x="356245" y="623510"/>
                        <a:pt x="357937" y="625711"/>
                      </a:cubicBezTo>
                      <a:cubicBezTo>
                        <a:pt x="358450" y="626389"/>
                        <a:pt x="358951" y="627089"/>
                        <a:pt x="359555" y="627643"/>
                      </a:cubicBezTo>
                      <a:cubicBezTo>
                        <a:pt x="360117" y="628148"/>
                        <a:pt x="360826" y="628730"/>
                        <a:pt x="362603" y="628552"/>
                      </a:cubicBezTo>
                      <a:cubicBezTo>
                        <a:pt x="366024" y="628205"/>
                        <a:pt x="370715" y="624933"/>
                        <a:pt x="373746" y="620762"/>
                      </a:cubicBezTo>
                      <a:lnTo>
                        <a:pt x="374883" y="619193"/>
                      </a:lnTo>
                      <a:cubicBezTo>
                        <a:pt x="380297" y="611674"/>
                        <a:pt x="386723" y="602399"/>
                        <a:pt x="398115" y="602903"/>
                      </a:cubicBezTo>
                      <a:cubicBezTo>
                        <a:pt x="402492" y="603149"/>
                        <a:pt x="406125" y="605047"/>
                        <a:pt x="409335" y="606718"/>
                      </a:cubicBezTo>
                      <a:cubicBezTo>
                        <a:pt x="411588" y="607902"/>
                        <a:pt x="413726" y="609023"/>
                        <a:pt x="415695" y="609306"/>
                      </a:cubicBezTo>
                      <a:cubicBezTo>
                        <a:pt x="416305" y="609397"/>
                        <a:pt x="416958" y="609432"/>
                        <a:pt x="417597" y="609470"/>
                      </a:cubicBezTo>
                      <a:cubicBezTo>
                        <a:pt x="419915" y="609597"/>
                        <a:pt x="422802" y="609773"/>
                        <a:pt x="425546" y="611540"/>
                      </a:cubicBezTo>
                      <a:cubicBezTo>
                        <a:pt x="428560" y="613484"/>
                        <a:pt x="429970" y="616504"/>
                        <a:pt x="431008" y="618710"/>
                      </a:cubicBezTo>
                      <a:cubicBezTo>
                        <a:pt x="437973" y="633552"/>
                        <a:pt x="449718" y="645692"/>
                        <a:pt x="463953" y="653252"/>
                      </a:cubicBezTo>
                      <a:cubicBezTo>
                        <a:pt x="469476" y="638809"/>
                        <a:pt x="475165" y="624541"/>
                        <a:pt x="480768" y="610517"/>
                      </a:cubicBezTo>
                      <a:lnTo>
                        <a:pt x="489794" y="587890"/>
                      </a:lnTo>
                      <a:cubicBezTo>
                        <a:pt x="492404" y="581355"/>
                        <a:pt x="495104" y="574593"/>
                        <a:pt x="499435" y="568520"/>
                      </a:cubicBezTo>
                      <a:cubicBezTo>
                        <a:pt x="505627" y="559851"/>
                        <a:pt x="514237" y="553834"/>
                        <a:pt x="522572" y="548015"/>
                      </a:cubicBezTo>
                      <a:cubicBezTo>
                        <a:pt x="531071" y="542072"/>
                        <a:pt x="539107" y="536457"/>
                        <a:pt x="544136" y="528486"/>
                      </a:cubicBezTo>
                      <a:cubicBezTo>
                        <a:pt x="554869" y="511453"/>
                        <a:pt x="550176" y="486970"/>
                        <a:pt x="530187" y="455712"/>
                      </a:cubicBezTo>
                      <a:cubicBezTo>
                        <a:pt x="525477" y="448358"/>
                        <a:pt x="520138" y="440019"/>
                        <a:pt x="520242" y="430172"/>
                      </a:cubicBezTo>
                      <a:cubicBezTo>
                        <a:pt x="520297" y="423849"/>
                        <a:pt x="523590" y="417230"/>
                        <a:pt x="528628" y="413318"/>
                      </a:cubicBezTo>
                      <a:cubicBezTo>
                        <a:pt x="530591" y="411793"/>
                        <a:pt x="532724" y="410739"/>
                        <a:pt x="534914" y="410179"/>
                      </a:cubicBezTo>
                      <a:cubicBezTo>
                        <a:pt x="532302" y="398522"/>
                        <a:pt x="524404" y="388050"/>
                        <a:pt x="513751" y="382572"/>
                      </a:cubicBezTo>
                      <a:lnTo>
                        <a:pt x="505528" y="378342"/>
                      </a:lnTo>
                      <a:lnTo>
                        <a:pt x="513341" y="373390"/>
                      </a:lnTo>
                      <a:cubicBezTo>
                        <a:pt x="524768" y="366157"/>
                        <a:pt x="530809" y="350841"/>
                        <a:pt x="527388" y="337762"/>
                      </a:cubicBezTo>
                      <a:cubicBezTo>
                        <a:pt x="526994" y="336261"/>
                        <a:pt x="526498" y="334756"/>
                        <a:pt x="525998" y="333242"/>
                      </a:cubicBezTo>
                      <a:cubicBezTo>
                        <a:pt x="524294" y="328018"/>
                        <a:pt x="522358" y="322095"/>
                        <a:pt x="524017" y="315794"/>
                      </a:cubicBezTo>
                      <a:cubicBezTo>
                        <a:pt x="524811" y="312772"/>
                        <a:pt x="526313" y="310245"/>
                        <a:pt x="527629" y="308014"/>
                      </a:cubicBezTo>
                      <a:cubicBezTo>
                        <a:pt x="528712" y="306191"/>
                        <a:pt x="529734" y="304468"/>
                        <a:pt x="530136" y="302861"/>
                      </a:cubicBezTo>
                      <a:cubicBezTo>
                        <a:pt x="530929" y="299715"/>
                        <a:pt x="529670" y="295711"/>
                        <a:pt x="528557" y="292178"/>
                      </a:cubicBezTo>
                      <a:lnTo>
                        <a:pt x="507889" y="226935"/>
                      </a:lnTo>
                      <a:cubicBezTo>
                        <a:pt x="507780" y="226853"/>
                        <a:pt x="507655" y="226798"/>
                        <a:pt x="507546" y="226714"/>
                      </a:cubicBezTo>
                      <a:cubicBezTo>
                        <a:pt x="503571" y="223682"/>
                        <a:pt x="500441" y="219920"/>
                        <a:pt x="497404" y="216277"/>
                      </a:cubicBezTo>
                      <a:cubicBezTo>
                        <a:pt x="493304" y="211364"/>
                        <a:pt x="489430" y="206717"/>
                        <a:pt x="484349" y="205116"/>
                      </a:cubicBezTo>
                      <a:cubicBezTo>
                        <a:pt x="482941" y="204674"/>
                        <a:pt x="481459" y="204444"/>
                        <a:pt x="479980" y="204197"/>
                      </a:cubicBezTo>
                      <a:cubicBezTo>
                        <a:pt x="476395" y="203593"/>
                        <a:pt x="472316" y="202904"/>
                        <a:pt x="468757" y="200148"/>
                      </a:cubicBezTo>
                      <a:cubicBezTo>
                        <a:pt x="464096" y="196532"/>
                        <a:pt x="462422" y="191074"/>
                        <a:pt x="461315" y="185714"/>
                      </a:cubicBezTo>
                      <a:cubicBezTo>
                        <a:pt x="457515" y="167338"/>
                        <a:pt x="456849" y="148656"/>
                        <a:pt x="459316" y="130104"/>
                      </a:cubicBezTo>
                      <a:cubicBezTo>
                        <a:pt x="450488" y="129235"/>
                        <a:pt x="441330" y="131511"/>
                        <a:pt x="434004" y="136479"/>
                      </a:cubicBezTo>
                      <a:lnTo>
                        <a:pt x="428062" y="127712"/>
                      </a:lnTo>
                      <a:cubicBezTo>
                        <a:pt x="439114" y="120202"/>
                        <a:pt x="453480" y="117510"/>
                        <a:pt x="466527" y="120577"/>
                      </a:cubicBezTo>
                      <a:lnTo>
                        <a:pt x="471355" y="121699"/>
                      </a:lnTo>
                      <a:lnTo>
                        <a:pt x="470555" y="126592"/>
                      </a:lnTo>
                      <a:cubicBezTo>
                        <a:pt x="467417" y="145575"/>
                        <a:pt x="467799" y="164743"/>
                        <a:pt x="471685" y="183573"/>
                      </a:cubicBezTo>
                      <a:cubicBezTo>
                        <a:pt x="472382" y="186939"/>
                        <a:pt x="473297" y="190264"/>
                        <a:pt x="475254" y="191775"/>
                      </a:cubicBezTo>
                      <a:cubicBezTo>
                        <a:pt x="476710" y="192907"/>
                        <a:pt x="479039" y="193296"/>
                        <a:pt x="481743" y="193753"/>
                      </a:cubicBezTo>
                      <a:cubicBezTo>
                        <a:pt x="483701" y="194081"/>
                        <a:pt x="485668" y="194432"/>
                        <a:pt x="487524" y="195021"/>
                      </a:cubicBezTo>
                      <a:cubicBezTo>
                        <a:pt x="495569" y="197549"/>
                        <a:pt x="500642" y="203626"/>
                        <a:pt x="505538" y="209493"/>
                      </a:cubicBezTo>
                      <a:cubicBezTo>
                        <a:pt x="508323" y="212833"/>
                        <a:pt x="510954" y="215989"/>
                        <a:pt x="513980" y="218305"/>
                      </a:cubicBezTo>
                      <a:cubicBezTo>
                        <a:pt x="514485" y="218691"/>
                        <a:pt x="515098" y="218877"/>
                        <a:pt x="515632" y="219213"/>
                      </a:cubicBezTo>
                      <a:lnTo>
                        <a:pt x="516468" y="218948"/>
                      </a:lnTo>
                      <a:lnTo>
                        <a:pt x="516746" y="219826"/>
                      </a:lnTo>
                      <a:cubicBezTo>
                        <a:pt x="523215" y="223367"/>
                        <a:pt x="531292" y="223666"/>
                        <a:pt x="537111" y="220024"/>
                      </a:cubicBezTo>
                      <a:cubicBezTo>
                        <a:pt x="543771" y="215849"/>
                        <a:pt x="546805" y="206356"/>
                        <a:pt x="543588" y="199714"/>
                      </a:cubicBezTo>
                      <a:lnTo>
                        <a:pt x="540751" y="193877"/>
                      </a:lnTo>
                      <a:lnTo>
                        <a:pt x="547049" y="192277"/>
                      </a:lnTo>
                      <a:cubicBezTo>
                        <a:pt x="552034" y="190983"/>
                        <a:pt x="557598" y="192007"/>
                        <a:pt x="562263" y="195029"/>
                      </a:cubicBezTo>
                      <a:cubicBezTo>
                        <a:pt x="564270" y="196338"/>
                        <a:pt x="566007" y="197948"/>
                        <a:pt x="567397" y="199768"/>
                      </a:cubicBezTo>
                      <a:cubicBezTo>
                        <a:pt x="573253" y="195898"/>
                        <a:pt x="580630" y="194808"/>
                        <a:pt x="587356" y="193812"/>
                      </a:cubicBezTo>
                      <a:cubicBezTo>
                        <a:pt x="594867" y="192699"/>
                        <a:pt x="601964" y="191649"/>
                        <a:pt x="605996" y="187276"/>
                      </a:cubicBezTo>
                      <a:cubicBezTo>
                        <a:pt x="609689" y="183286"/>
                        <a:pt x="610747" y="176603"/>
                        <a:pt x="609258" y="166840"/>
                      </a:cubicBezTo>
                      <a:lnTo>
                        <a:pt x="608596" y="162765"/>
                      </a:lnTo>
                      <a:cubicBezTo>
                        <a:pt x="607275" y="154914"/>
                        <a:pt x="605910" y="146799"/>
                        <a:pt x="608446" y="138604"/>
                      </a:cubicBezTo>
                      <a:cubicBezTo>
                        <a:pt x="610436" y="132181"/>
                        <a:pt x="615741" y="126469"/>
                        <a:pt x="621957" y="124048"/>
                      </a:cubicBezTo>
                      <a:cubicBezTo>
                        <a:pt x="626929" y="122118"/>
                        <a:pt x="631999" y="122416"/>
                        <a:pt x="636227" y="124898"/>
                      </a:cubicBezTo>
                      <a:cubicBezTo>
                        <a:pt x="637068" y="125382"/>
                        <a:pt x="637859" y="125962"/>
                        <a:pt x="638649" y="126541"/>
                      </a:cubicBezTo>
                      <a:cubicBezTo>
                        <a:pt x="639348" y="127054"/>
                        <a:pt x="640210" y="127694"/>
                        <a:pt x="640604" y="127782"/>
                      </a:cubicBezTo>
                      <a:cubicBezTo>
                        <a:pt x="641371" y="127969"/>
                        <a:pt x="643586" y="126742"/>
                        <a:pt x="644411" y="126292"/>
                      </a:cubicBezTo>
                      <a:lnTo>
                        <a:pt x="676114" y="108844"/>
                      </a:lnTo>
                      <a:cubicBezTo>
                        <a:pt x="673951" y="107423"/>
                        <a:pt x="669456" y="106308"/>
                        <a:pt x="665258" y="106521"/>
                      </a:cubicBezTo>
                      <a:cubicBezTo>
                        <a:pt x="658588" y="106752"/>
                        <a:pt x="649904" y="104304"/>
                        <a:pt x="645776" y="98806"/>
                      </a:cubicBezTo>
                      <a:cubicBezTo>
                        <a:pt x="643509" y="95782"/>
                        <a:pt x="642881" y="92114"/>
                        <a:pt x="644013" y="88481"/>
                      </a:cubicBezTo>
                      <a:cubicBezTo>
                        <a:pt x="645022" y="85246"/>
                        <a:pt x="647200" y="83105"/>
                        <a:pt x="648956" y="81384"/>
                      </a:cubicBezTo>
                      <a:cubicBezTo>
                        <a:pt x="649449" y="80904"/>
                        <a:pt x="649952" y="80429"/>
                        <a:pt x="650403" y="79915"/>
                      </a:cubicBezTo>
                      <a:lnTo>
                        <a:pt x="637442" y="79645"/>
                      </a:lnTo>
                      <a:lnTo>
                        <a:pt x="647095" y="72643"/>
                      </a:lnTo>
                      <a:cubicBezTo>
                        <a:pt x="640817" y="69356"/>
                        <a:pt x="636620" y="63477"/>
                        <a:pt x="632956" y="58138"/>
                      </a:cubicBezTo>
                      <a:cubicBezTo>
                        <a:pt x="628334" y="51372"/>
                        <a:pt x="625181" y="47237"/>
                        <a:pt x="620543" y="46873"/>
                      </a:cubicBezTo>
                      <a:cubicBezTo>
                        <a:pt x="619292" y="46795"/>
                        <a:pt x="618041" y="46949"/>
                        <a:pt x="616792" y="47087"/>
                      </a:cubicBezTo>
                      <a:cubicBezTo>
                        <a:pt x="614333" y="47364"/>
                        <a:pt x="611512" y="47674"/>
                        <a:pt x="608495" y="46916"/>
                      </a:cubicBezTo>
                      <a:cubicBezTo>
                        <a:pt x="603139" y="45576"/>
                        <a:pt x="599654" y="41522"/>
                        <a:pt x="596856" y="38262"/>
                      </a:cubicBezTo>
                      <a:lnTo>
                        <a:pt x="596044" y="37323"/>
                      </a:lnTo>
                      <a:cubicBezTo>
                        <a:pt x="576754" y="15173"/>
                        <a:pt x="545240" y="8473"/>
                        <a:pt x="511895" y="3051"/>
                      </a:cubicBezTo>
                      <a:cubicBezTo>
                        <a:pt x="490996" y="-335"/>
                        <a:pt x="472456" y="-2503"/>
                        <a:pt x="456960" y="5468"/>
                      </a:cubicBezTo>
                      <a:cubicBezTo>
                        <a:pt x="454538" y="6712"/>
                        <a:pt x="452100" y="8194"/>
                        <a:pt x="449629" y="9686"/>
                      </a:cubicBezTo>
                      <a:cubicBezTo>
                        <a:pt x="439856" y="15588"/>
                        <a:pt x="428788" y="22263"/>
                        <a:pt x="417245" y="16688"/>
                      </a:cubicBezTo>
                      <a:cubicBezTo>
                        <a:pt x="414887" y="15547"/>
                        <a:pt x="412932" y="14015"/>
                        <a:pt x="411194" y="12664"/>
                      </a:cubicBezTo>
                      <a:cubicBezTo>
                        <a:pt x="409562" y="11389"/>
                        <a:pt x="408021" y="10184"/>
                        <a:pt x="406517" y="9596"/>
                      </a:cubicBezTo>
                      <a:cubicBezTo>
                        <a:pt x="400978" y="7410"/>
                        <a:pt x="394125" y="12317"/>
                        <a:pt x="387032" y="17970"/>
                      </a:cubicBezTo>
                      <a:cubicBezTo>
                        <a:pt x="378099" y="25089"/>
                        <a:pt x="369285" y="27896"/>
                        <a:pt x="362138" y="26212"/>
                      </a:cubicBezTo>
                      <a:cubicBezTo>
                        <a:pt x="364745" y="72767"/>
                        <a:pt x="391763" y="117410"/>
                        <a:pt x="432090" y="140917"/>
                      </a:cubicBezTo>
                      <a:cubicBezTo>
                        <a:pt x="413702" y="134182"/>
                        <a:pt x="392537" y="135450"/>
                        <a:pt x="375086" y="144332"/>
                      </a:cubicBezTo>
                      <a:cubicBezTo>
                        <a:pt x="377944" y="137369"/>
                        <a:pt x="377021" y="128983"/>
                        <a:pt x="372714" y="122812"/>
                      </a:cubicBezTo>
                      <a:cubicBezTo>
                        <a:pt x="357969" y="131243"/>
                        <a:pt x="350989" y="151114"/>
                        <a:pt x="357224" y="166916"/>
                      </a:cubicBezTo>
                      <a:cubicBezTo>
                        <a:pt x="340331" y="172589"/>
                        <a:pt x="320738" y="154351"/>
                        <a:pt x="325187" y="137095"/>
                      </a:cubicBezTo>
                      <a:cubicBezTo>
                        <a:pt x="308191" y="135902"/>
                        <a:pt x="300710" y="158627"/>
                        <a:pt x="302516" y="175568"/>
                      </a:cubicBezTo>
                      <a:cubicBezTo>
                        <a:pt x="304323" y="192510"/>
                        <a:pt x="308596" y="212574"/>
                        <a:pt x="296173" y="224235"/>
                      </a:cubicBezTo>
                      <a:cubicBezTo>
                        <a:pt x="271379" y="217982"/>
                        <a:pt x="242212" y="207433"/>
                        <a:pt x="236846" y="182431"/>
                      </a:cubicBezTo>
                      <a:cubicBezTo>
                        <a:pt x="235552" y="176398"/>
                        <a:pt x="235168" y="168935"/>
                        <a:pt x="229673" y="166138"/>
                      </a:cubicBezTo>
                      <a:cubicBezTo>
                        <a:pt x="226167" y="164352"/>
                        <a:pt x="221950" y="165353"/>
                        <a:pt x="218157" y="166390"/>
                      </a:cubicBezTo>
                      <a:cubicBezTo>
                        <a:pt x="198367" y="171794"/>
                        <a:pt x="178580" y="177200"/>
                        <a:pt x="158790" y="182605"/>
                      </a:cubicBezTo>
                      <a:cubicBezTo>
                        <a:pt x="104490" y="197437"/>
                        <a:pt x="56852" y="231823"/>
                        <a:pt x="13023" y="267145"/>
                      </a:cubicBezTo>
                      <a:cubicBezTo>
                        <a:pt x="12392" y="266720"/>
                        <a:pt x="11895" y="266128"/>
                        <a:pt x="11287" y="265673"/>
                      </a:cubicBezTo>
                      <a:cubicBezTo>
                        <a:pt x="2222" y="281110"/>
                        <a:pt x="-1679" y="299867"/>
                        <a:pt x="669" y="317584"/>
                      </a:cubicBezTo>
                      <a:cubicBezTo>
                        <a:pt x="2152" y="328818"/>
                        <a:pt x="5886" y="339490"/>
                        <a:pt x="9840" y="350793"/>
                      </a:cubicBezTo>
                      <a:close/>
                    </a:path>
                  </a:pathLst>
                </a:custGeom>
                <a:grpFill/>
                <a:ln w="164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s-ES_tradnl" sz="2400"/>
                </a:p>
              </p:txBody>
            </p:sp>
            <p:sp>
              <p:nvSpPr>
                <p:cNvPr id="134" name="Forma libre 133">
                  <a:extLst>
                    <a:ext uri="{FF2B5EF4-FFF2-40B4-BE49-F238E27FC236}">
                      <a16:creationId xmlns:a16="http://schemas.microsoft.com/office/drawing/2014/main" id="{E5A59F83-F129-304A-8C6E-F256D51C01FA}"/>
                    </a:ext>
                  </a:extLst>
                </p:cNvPr>
                <p:cNvSpPr/>
                <p:nvPr/>
              </p:nvSpPr>
              <p:spPr>
                <a:xfrm>
                  <a:off x="5670996" y="3245828"/>
                  <a:ext cx="176146" cy="94681"/>
                </a:xfrm>
                <a:custGeom>
                  <a:avLst/>
                  <a:gdLst>
                    <a:gd name="connsiteX0" fmla="*/ 41801 w 176146"/>
                    <a:gd name="connsiteY0" fmla="*/ 93452 h 94681"/>
                    <a:gd name="connsiteX1" fmla="*/ 43299 w 176146"/>
                    <a:gd name="connsiteY1" fmla="*/ 94682 h 94681"/>
                    <a:gd name="connsiteX2" fmla="*/ 44381 w 176146"/>
                    <a:gd name="connsiteY2" fmla="*/ 93411 h 94681"/>
                    <a:gd name="connsiteX3" fmla="*/ 77487 w 176146"/>
                    <a:gd name="connsiteY3" fmla="*/ 86925 h 94681"/>
                    <a:gd name="connsiteX4" fmla="*/ 98274 w 176146"/>
                    <a:gd name="connsiteY4" fmla="*/ 85963 h 94681"/>
                    <a:gd name="connsiteX5" fmla="*/ 118312 w 176146"/>
                    <a:gd name="connsiteY5" fmla="*/ 71394 h 94681"/>
                    <a:gd name="connsiteX6" fmla="*/ 132066 w 176146"/>
                    <a:gd name="connsiteY6" fmla="*/ 55342 h 94681"/>
                    <a:gd name="connsiteX7" fmla="*/ 137089 w 176146"/>
                    <a:gd name="connsiteY7" fmla="*/ 45118 h 94681"/>
                    <a:gd name="connsiteX8" fmla="*/ 158199 w 176146"/>
                    <a:gd name="connsiteY8" fmla="*/ 20239 h 94681"/>
                    <a:gd name="connsiteX9" fmla="*/ 164059 w 176146"/>
                    <a:gd name="connsiteY9" fmla="*/ 18934 h 94681"/>
                    <a:gd name="connsiteX10" fmla="*/ 169542 w 176146"/>
                    <a:gd name="connsiteY10" fmla="*/ 17547 h 94681"/>
                    <a:gd name="connsiteX11" fmla="*/ 176147 w 176146"/>
                    <a:gd name="connsiteY11" fmla="*/ 6373 h 94681"/>
                    <a:gd name="connsiteX12" fmla="*/ 144357 w 176146"/>
                    <a:gd name="connsiteY12" fmla="*/ 991 h 94681"/>
                    <a:gd name="connsiteX13" fmla="*/ 132372 w 176146"/>
                    <a:gd name="connsiteY13" fmla="*/ 6283 h 94681"/>
                    <a:gd name="connsiteX14" fmla="*/ 125951 w 176146"/>
                    <a:gd name="connsiteY14" fmla="*/ 9539 h 94681"/>
                    <a:gd name="connsiteX15" fmla="*/ 84244 w 176146"/>
                    <a:gd name="connsiteY15" fmla="*/ 15188 h 94681"/>
                    <a:gd name="connsiteX16" fmla="*/ 84210 w 176146"/>
                    <a:gd name="connsiteY16" fmla="*/ 15447 h 94681"/>
                    <a:gd name="connsiteX17" fmla="*/ 74046 w 176146"/>
                    <a:gd name="connsiteY17" fmla="*/ 28616 h 94681"/>
                    <a:gd name="connsiteX18" fmla="*/ 66519 w 176146"/>
                    <a:gd name="connsiteY18" fmla="*/ 29997 h 94681"/>
                    <a:gd name="connsiteX19" fmla="*/ 51016 w 176146"/>
                    <a:gd name="connsiteY19" fmla="*/ 26586 h 94681"/>
                    <a:gd name="connsiteX20" fmla="*/ 5524 w 176146"/>
                    <a:gd name="connsiteY20" fmla="*/ 10317 h 94681"/>
                    <a:gd name="connsiteX21" fmla="*/ 3884 w 176146"/>
                    <a:gd name="connsiteY21" fmla="*/ 15833 h 94681"/>
                    <a:gd name="connsiteX22" fmla="*/ 0 w 176146"/>
                    <a:gd name="connsiteY22" fmla="*/ 15694 h 94681"/>
                    <a:gd name="connsiteX23" fmla="*/ 8447 w 176146"/>
                    <a:gd name="connsiteY23" fmla="*/ 58959 h 94681"/>
                    <a:gd name="connsiteX24" fmla="*/ 10986 w 176146"/>
                    <a:gd name="connsiteY24" fmla="*/ 57611 h 94681"/>
                    <a:gd name="connsiteX25" fmla="*/ 15194 w 176146"/>
                    <a:gd name="connsiteY25" fmla="*/ 78635 h 94681"/>
                    <a:gd name="connsiteX26" fmla="*/ 41801 w 176146"/>
                    <a:gd name="connsiteY26" fmla="*/ 93452 h 9468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</a:cxnLst>
                  <a:rect l="l" t="t" r="r" b="b"/>
                  <a:pathLst>
                    <a:path w="176146" h="94681">
                      <a:moveTo>
                        <a:pt x="41801" y="93452"/>
                      </a:moveTo>
                      <a:cubicBezTo>
                        <a:pt x="42109" y="93740"/>
                        <a:pt x="42951" y="94528"/>
                        <a:pt x="43299" y="94682"/>
                      </a:cubicBezTo>
                      <a:cubicBezTo>
                        <a:pt x="42968" y="94540"/>
                        <a:pt x="43815" y="93861"/>
                        <a:pt x="44381" y="93411"/>
                      </a:cubicBezTo>
                      <a:cubicBezTo>
                        <a:pt x="54745" y="85390"/>
                        <a:pt x="66305" y="86142"/>
                        <a:pt x="77487" y="86925"/>
                      </a:cubicBezTo>
                      <a:cubicBezTo>
                        <a:pt x="84995" y="87418"/>
                        <a:pt x="92087" y="87913"/>
                        <a:pt x="98274" y="85963"/>
                      </a:cubicBezTo>
                      <a:cubicBezTo>
                        <a:pt x="106007" y="83557"/>
                        <a:pt x="112540" y="77095"/>
                        <a:pt x="118312" y="71394"/>
                      </a:cubicBezTo>
                      <a:cubicBezTo>
                        <a:pt x="123348" y="66414"/>
                        <a:pt x="128553" y="61264"/>
                        <a:pt x="132066" y="55342"/>
                      </a:cubicBezTo>
                      <a:cubicBezTo>
                        <a:pt x="133947" y="52185"/>
                        <a:pt x="135511" y="48646"/>
                        <a:pt x="137089" y="45118"/>
                      </a:cubicBezTo>
                      <a:cubicBezTo>
                        <a:pt x="141515" y="35228"/>
                        <a:pt x="146534" y="24008"/>
                        <a:pt x="158199" y="20239"/>
                      </a:cubicBezTo>
                      <a:cubicBezTo>
                        <a:pt x="160093" y="19624"/>
                        <a:pt x="162076" y="19268"/>
                        <a:pt x="164059" y="18934"/>
                      </a:cubicBezTo>
                      <a:cubicBezTo>
                        <a:pt x="166120" y="18598"/>
                        <a:pt x="168069" y="18273"/>
                        <a:pt x="169542" y="17547"/>
                      </a:cubicBezTo>
                      <a:cubicBezTo>
                        <a:pt x="173080" y="15825"/>
                        <a:pt x="174938" y="11469"/>
                        <a:pt x="176147" y="6373"/>
                      </a:cubicBezTo>
                      <a:cubicBezTo>
                        <a:pt x="165093" y="1527"/>
                        <a:pt x="154374" y="-1736"/>
                        <a:pt x="144357" y="991"/>
                      </a:cubicBezTo>
                      <a:cubicBezTo>
                        <a:pt x="140320" y="2076"/>
                        <a:pt x="136462" y="4113"/>
                        <a:pt x="132372" y="6283"/>
                      </a:cubicBezTo>
                      <a:cubicBezTo>
                        <a:pt x="130251" y="7405"/>
                        <a:pt x="128122" y="8528"/>
                        <a:pt x="125951" y="9539"/>
                      </a:cubicBezTo>
                      <a:cubicBezTo>
                        <a:pt x="113053" y="15520"/>
                        <a:pt x="98303" y="17462"/>
                        <a:pt x="84244" y="15188"/>
                      </a:cubicBezTo>
                      <a:cubicBezTo>
                        <a:pt x="84235" y="15272"/>
                        <a:pt x="84218" y="15355"/>
                        <a:pt x="84210" y="15447"/>
                      </a:cubicBezTo>
                      <a:cubicBezTo>
                        <a:pt x="83415" y="21286"/>
                        <a:pt x="79327" y="26582"/>
                        <a:pt x="74046" y="28616"/>
                      </a:cubicBezTo>
                      <a:cubicBezTo>
                        <a:pt x="71550" y="29588"/>
                        <a:pt x="69010" y="29977"/>
                        <a:pt x="66519" y="29997"/>
                      </a:cubicBezTo>
                      <a:cubicBezTo>
                        <a:pt x="60692" y="30040"/>
                        <a:pt x="55116" y="28044"/>
                        <a:pt x="51016" y="26586"/>
                      </a:cubicBezTo>
                      <a:lnTo>
                        <a:pt x="5524" y="10317"/>
                      </a:lnTo>
                      <a:cubicBezTo>
                        <a:pt x="4537" y="11990"/>
                        <a:pt x="3953" y="13919"/>
                        <a:pt x="3884" y="15833"/>
                      </a:cubicBezTo>
                      <a:lnTo>
                        <a:pt x="0" y="15694"/>
                      </a:lnTo>
                      <a:cubicBezTo>
                        <a:pt x="5958" y="30327"/>
                        <a:pt x="10315" y="45208"/>
                        <a:pt x="8447" y="58959"/>
                      </a:cubicBezTo>
                      <a:cubicBezTo>
                        <a:pt x="9283" y="58489"/>
                        <a:pt x="10153" y="58087"/>
                        <a:pt x="10986" y="57611"/>
                      </a:cubicBezTo>
                      <a:cubicBezTo>
                        <a:pt x="16212" y="63552"/>
                        <a:pt x="16815" y="70959"/>
                        <a:pt x="15194" y="78635"/>
                      </a:cubicBezTo>
                      <a:cubicBezTo>
                        <a:pt x="27161" y="79724"/>
                        <a:pt x="37712" y="89594"/>
                        <a:pt x="41801" y="93452"/>
                      </a:cubicBezTo>
                      <a:close/>
                    </a:path>
                  </a:pathLst>
                </a:custGeom>
                <a:grpFill/>
                <a:ln w="164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s-ES_tradnl" sz="2400"/>
                </a:p>
              </p:txBody>
            </p:sp>
            <p:sp>
              <p:nvSpPr>
                <p:cNvPr id="135" name="Forma libre 134">
                  <a:extLst>
                    <a:ext uri="{FF2B5EF4-FFF2-40B4-BE49-F238E27FC236}">
                      <a16:creationId xmlns:a16="http://schemas.microsoft.com/office/drawing/2014/main" id="{1B3035B6-A44C-E549-8DA1-76F80ED2CCA7}"/>
                    </a:ext>
                  </a:extLst>
                </p:cNvPr>
                <p:cNvSpPr/>
                <p:nvPr/>
              </p:nvSpPr>
              <p:spPr>
                <a:xfrm>
                  <a:off x="5803664" y="3367808"/>
                  <a:ext cx="286306" cy="289148"/>
                </a:xfrm>
                <a:custGeom>
                  <a:avLst/>
                  <a:gdLst>
                    <a:gd name="connsiteX0" fmla="*/ 235410 w 286306"/>
                    <a:gd name="connsiteY0" fmla="*/ 283816 h 289148"/>
                    <a:gd name="connsiteX1" fmla="*/ 237469 w 286306"/>
                    <a:gd name="connsiteY1" fmla="*/ 255523 h 289148"/>
                    <a:gd name="connsiteX2" fmla="*/ 234749 w 286306"/>
                    <a:gd name="connsiteY2" fmla="*/ 248552 h 289148"/>
                    <a:gd name="connsiteX3" fmla="*/ 242230 w 286306"/>
                    <a:gd name="connsiteY3" fmla="*/ 248300 h 289148"/>
                    <a:gd name="connsiteX4" fmla="*/ 265879 w 286306"/>
                    <a:gd name="connsiteY4" fmla="*/ 232938 h 289148"/>
                    <a:gd name="connsiteX5" fmla="*/ 282826 w 286306"/>
                    <a:gd name="connsiteY5" fmla="*/ 208175 h 289148"/>
                    <a:gd name="connsiteX6" fmla="*/ 286306 w 286306"/>
                    <a:gd name="connsiteY6" fmla="*/ 202831 h 289148"/>
                    <a:gd name="connsiteX7" fmla="*/ 284712 w 286306"/>
                    <a:gd name="connsiteY7" fmla="*/ 201086 h 289148"/>
                    <a:gd name="connsiteX8" fmla="*/ 278273 w 286306"/>
                    <a:gd name="connsiteY8" fmla="*/ 196139 h 289148"/>
                    <a:gd name="connsiteX9" fmla="*/ 275794 w 286306"/>
                    <a:gd name="connsiteY9" fmla="*/ 196861 h 289148"/>
                    <a:gd name="connsiteX10" fmla="*/ 270851 w 286306"/>
                    <a:gd name="connsiteY10" fmla="*/ 198159 h 289148"/>
                    <a:gd name="connsiteX11" fmla="*/ 256314 w 286306"/>
                    <a:gd name="connsiteY11" fmla="*/ 192052 h 289148"/>
                    <a:gd name="connsiteX12" fmla="*/ 250695 w 286306"/>
                    <a:gd name="connsiteY12" fmla="*/ 188256 h 289148"/>
                    <a:gd name="connsiteX13" fmla="*/ 246523 w 286306"/>
                    <a:gd name="connsiteY13" fmla="*/ 187451 h 289148"/>
                    <a:gd name="connsiteX14" fmla="*/ 238223 w 286306"/>
                    <a:gd name="connsiteY14" fmla="*/ 185247 h 289148"/>
                    <a:gd name="connsiteX15" fmla="*/ 227700 w 286306"/>
                    <a:gd name="connsiteY15" fmla="*/ 167062 h 289148"/>
                    <a:gd name="connsiteX16" fmla="*/ 227187 w 286306"/>
                    <a:gd name="connsiteY16" fmla="*/ 164851 h 289148"/>
                    <a:gd name="connsiteX17" fmla="*/ 222498 w 286306"/>
                    <a:gd name="connsiteY17" fmla="*/ 157004 h 289148"/>
                    <a:gd name="connsiteX18" fmla="*/ 222024 w 286306"/>
                    <a:gd name="connsiteY18" fmla="*/ 156814 h 289148"/>
                    <a:gd name="connsiteX19" fmla="*/ 221095 w 286306"/>
                    <a:gd name="connsiteY19" fmla="*/ 157967 h 289148"/>
                    <a:gd name="connsiteX20" fmla="*/ 187231 w 286306"/>
                    <a:gd name="connsiteY20" fmla="*/ 191472 h 289148"/>
                    <a:gd name="connsiteX21" fmla="*/ 179634 w 286306"/>
                    <a:gd name="connsiteY21" fmla="*/ 199235 h 289148"/>
                    <a:gd name="connsiteX22" fmla="*/ 179749 w 286306"/>
                    <a:gd name="connsiteY22" fmla="*/ 218700 h 289148"/>
                    <a:gd name="connsiteX23" fmla="*/ 180818 w 286306"/>
                    <a:gd name="connsiteY23" fmla="*/ 241458 h 289148"/>
                    <a:gd name="connsiteX24" fmla="*/ 170620 w 286306"/>
                    <a:gd name="connsiteY24" fmla="*/ 238618 h 289148"/>
                    <a:gd name="connsiteX25" fmla="*/ 169397 w 286306"/>
                    <a:gd name="connsiteY25" fmla="*/ 220919 h 289148"/>
                    <a:gd name="connsiteX26" fmla="*/ 170389 w 286306"/>
                    <a:gd name="connsiteY26" fmla="*/ 194072 h 289148"/>
                    <a:gd name="connsiteX27" fmla="*/ 180003 w 286306"/>
                    <a:gd name="connsiteY27" fmla="*/ 183699 h 289148"/>
                    <a:gd name="connsiteX28" fmla="*/ 213037 w 286306"/>
                    <a:gd name="connsiteY28" fmla="*/ 151099 h 289148"/>
                    <a:gd name="connsiteX29" fmla="*/ 223954 w 286306"/>
                    <a:gd name="connsiteY29" fmla="*/ 131707 h 289148"/>
                    <a:gd name="connsiteX30" fmla="*/ 214735 w 286306"/>
                    <a:gd name="connsiteY30" fmla="*/ 104542 h 289148"/>
                    <a:gd name="connsiteX31" fmla="*/ 203733 w 286306"/>
                    <a:gd name="connsiteY31" fmla="*/ 78041 h 289148"/>
                    <a:gd name="connsiteX32" fmla="*/ 206669 w 286306"/>
                    <a:gd name="connsiteY32" fmla="*/ 52876 h 289148"/>
                    <a:gd name="connsiteX33" fmla="*/ 209142 w 286306"/>
                    <a:gd name="connsiteY33" fmla="*/ 40979 h 289148"/>
                    <a:gd name="connsiteX34" fmla="*/ 208942 w 286306"/>
                    <a:gd name="connsiteY34" fmla="*/ 42246 h 289148"/>
                    <a:gd name="connsiteX35" fmla="*/ 180758 w 286306"/>
                    <a:gd name="connsiteY35" fmla="*/ 29251 h 289148"/>
                    <a:gd name="connsiteX36" fmla="*/ 156278 w 286306"/>
                    <a:gd name="connsiteY36" fmla="*/ 17789 h 289148"/>
                    <a:gd name="connsiteX37" fmla="*/ 143463 w 286306"/>
                    <a:gd name="connsiteY37" fmla="*/ 17812 h 289148"/>
                    <a:gd name="connsiteX38" fmla="*/ 136066 w 286306"/>
                    <a:gd name="connsiteY38" fmla="*/ 18189 h 289148"/>
                    <a:gd name="connsiteX39" fmla="*/ 106021 w 286306"/>
                    <a:gd name="connsiteY39" fmla="*/ 14236 h 289148"/>
                    <a:gd name="connsiteX40" fmla="*/ 41882 w 286306"/>
                    <a:gd name="connsiteY40" fmla="*/ 825 h 289148"/>
                    <a:gd name="connsiteX41" fmla="*/ 33480 w 286306"/>
                    <a:gd name="connsiteY41" fmla="*/ 352 h 289148"/>
                    <a:gd name="connsiteX42" fmla="*/ 28504 w 286306"/>
                    <a:gd name="connsiteY42" fmla="*/ 3843 h 289148"/>
                    <a:gd name="connsiteX43" fmla="*/ 26038 w 286306"/>
                    <a:gd name="connsiteY43" fmla="*/ 5920 h 289148"/>
                    <a:gd name="connsiteX44" fmla="*/ 16092 w 286306"/>
                    <a:gd name="connsiteY44" fmla="*/ 12004 h 289148"/>
                    <a:gd name="connsiteX45" fmla="*/ 5749 w 286306"/>
                    <a:gd name="connsiteY45" fmla="*/ 18886 h 289148"/>
                    <a:gd name="connsiteX46" fmla="*/ 77 w 286306"/>
                    <a:gd name="connsiteY46" fmla="*/ 39512 h 289148"/>
                    <a:gd name="connsiteX47" fmla="*/ 30301 w 286306"/>
                    <a:gd name="connsiteY47" fmla="*/ 102709 h 289148"/>
                    <a:gd name="connsiteX48" fmla="*/ 62283 w 286306"/>
                    <a:gd name="connsiteY48" fmla="*/ 165664 h 289148"/>
                    <a:gd name="connsiteX49" fmla="*/ 62447 w 286306"/>
                    <a:gd name="connsiteY49" fmla="*/ 169802 h 289148"/>
                    <a:gd name="connsiteX50" fmla="*/ 91949 w 286306"/>
                    <a:gd name="connsiteY50" fmla="*/ 200836 h 289148"/>
                    <a:gd name="connsiteX51" fmla="*/ 157033 w 286306"/>
                    <a:gd name="connsiteY51" fmla="*/ 240958 h 289148"/>
                    <a:gd name="connsiteX52" fmla="*/ 192831 w 286306"/>
                    <a:gd name="connsiteY52" fmla="*/ 282037 h 289148"/>
                    <a:gd name="connsiteX53" fmla="*/ 239657 w 286306"/>
                    <a:gd name="connsiteY53" fmla="*/ 286239 h 289148"/>
                    <a:gd name="connsiteX54" fmla="*/ 235410 w 286306"/>
                    <a:gd name="connsiteY54" fmla="*/ 283816 h 2891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</a:cxnLst>
                  <a:rect l="l" t="t" r="r" b="b"/>
                  <a:pathLst>
                    <a:path w="286306" h="289148">
                      <a:moveTo>
                        <a:pt x="235410" y="283816"/>
                      </a:moveTo>
                      <a:cubicBezTo>
                        <a:pt x="240209" y="275394"/>
                        <a:pt x="240997" y="264548"/>
                        <a:pt x="237469" y="255523"/>
                      </a:cubicBezTo>
                      <a:lnTo>
                        <a:pt x="234749" y="248552"/>
                      </a:lnTo>
                      <a:lnTo>
                        <a:pt x="242230" y="248300"/>
                      </a:lnTo>
                      <a:cubicBezTo>
                        <a:pt x="249861" y="248046"/>
                        <a:pt x="257817" y="242876"/>
                        <a:pt x="265879" y="232938"/>
                      </a:cubicBezTo>
                      <a:cubicBezTo>
                        <a:pt x="272125" y="225238"/>
                        <a:pt x="277562" y="216562"/>
                        <a:pt x="282826" y="208175"/>
                      </a:cubicBezTo>
                      <a:cubicBezTo>
                        <a:pt x="283937" y="206403"/>
                        <a:pt x="285074" y="204601"/>
                        <a:pt x="286306" y="202831"/>
                      </a:cubicBezTo>
                      <a:cubicBezTo>
                        <a:pt x="285765" y="202246"/>
                        <a:pt x="285221" y="201659"/>
                        <a:pt x="284712" y="201086"/>
                      </a:cubicBezTo>
                      <a:cubicBezTo>
                        <a:pt x="281889" y="197933"/>
                        <a:pt x="279998" y="196065"/>
                        <a:pt x="278273" y="196139"/>
                      </a:cubicBezTo>
                      <a:cubicBezTo>
                        <a:pt x="277656" y="196184"/>
                        <a:pt x="276754" y="196513"/>
                        <a:pt x="275794" y="196861"/>
                      </a:cubicBezTo>
                      <a:cubicBezTo>
                        <a:pt x="274377" y="197377"/>
                        <a:pt x="272768" y="197959"/>
                        <a:pt x="270851" y="198159"/>
                      </a:cubicBezTo>
                      <a:cubicBezTo>
                        <a:pt x="264581" y="198775"/>
                        <a:pt x="259998" y="195043"/>
                        <a:pt x="256314" y="192052"/>
                      </a:cubicBezTo>
                      <a:cubicBezTo>
                        <a:pt x="254337" y="190442"/>
                        <a:pt x="252476" y="188927"/>
                        <a:pt x="250695" y="188256"/>
                      </a:cubicBezTo>
                      <a:cubicBezTo>
                        <a:pt x="249564" y="187840"/>
                        <a:pt x="248086" y="187646"/>
                        <a:pt x="246523" y="187451"/>
                      </a:cubicBezTo>
                      <a:cubicBezTo>
                        <a:pt x="243960" y="187118"/>
                        <a:pt x="241061" y="186746"/>
                        <a:pt x="238223" y="185247"/>
                      </a:cubicBezTo>
                      <a:cubicBezTo>
                        <a:pt x="230969" y="181434"/>
                        <a:pt x="229155" y="173463"/>
                        <a:pt x="227700" y="167062"/>
                      </a:cubicBezTo>
                      <a:lnTo>
                        <a:pt x="227187" y="164851"/>
                      </a:lnTo>
                      <a:cubicBezTo>
                        <a:pt x="226369" y="161463"/>
                        <a:pt x="224401" y="158170"/>
                        <a:pt x="222498" y="157004"/>
                      </a:cubicBezTo>
                      <a:cubicBezTo>
                        <a:pt x="222312" y="156890"/>
                        <a:pt x="222182" y="156877"/>
                        <a:pt x="222024" y="156814"/>
                      </a:cubicBezTo>
                      <a:cubicBezTo>
                        <a:pt x="221709" y="157192"/>
                        <a:pt x="221414" y="157594"/>
                        <a:pt x="221095" y="157967"/>
                      </a:cubicBezTo>
                      <a:cubicBezTo>
                        <a:pt x="210819" y="170031"/>
                        <a:pt x="199420" y="181307"/>
                        <a:pt x="187231" y="191472"/>
                      </a:cubicBezTo>
                      <a:cubicBezTo>
                        <a:pt x="183884" y="194250"/>
                        <a:pt x="181151" y="196523"/>
                        <a:pt x="179634" y="199235"/>
                      </a:cubicBezTo>
                      <a:cubicBezTo>
                        <a:pt x="176697" y="204491"/>
                        <a:pt x="178109" y="211080"/>
                        <a:pt x="179749" y="218700"/>
                      </a:cubicBezTo>
                      <a:cubicBezTo>
                        <a:pt x="181336" y="226084"/>
                        <a:pt x="182974" y="233725"/>
                        <a:pt x="180818" y="241458"/>
                      </a:cubicBezTo>
                      <a:lnTo>
                        <a:pt x="170620" y="238618"/>
                      </a:lnTo>
                      <a:cubicBezTo>
                        <a:pt x="172076" y="233393"/>
                        <a:pt x="170773" y="227341"/>
                        <a:pt x="169397" y="220919"/>
                      </a:cubicBezTo>
                      <a:cubicBezTo>
                        <a:pt x="167568" y="212432"/>
                        <a:pt x="165501" y="202808"/>
                        <a:pt x="170389" y="194072"/>
                      </a:cubicBezTo>
                      <a:cubicBezTo>
                        <a:pt x="172869" y="189639"/>
                        <a:pt x="176658" y="186485"/>
                        <a:pt x="180003" y="183699"/>
                      </a:cubicBezTo>
                      <a:cubicBezTo>
                        <a:pt x="192180" y="173554"/>
                        <a:pt x="203144" y="162705"/>
                        <a:pt x="213037" y="151099"/>
                      </a:cubicBezTo>
                      <a:cubicBezTo>
                        <a:pt x="217775" y="145540"/>
                        <a:pt x="222917" y="138995"/>
                        <a:pt x="223954" y="131707"/>
                      </a:cubicBezTo>
                      <a:cubicBezTo>
                        <a:pt x="225256" y="122563"/>
                        <a:pt x="220148" y="113812"/>
                        <a:pt x="214735" y="104542"/>
                      </a:cubicBezTo>
                      <a:cubicBezTo>
                        <a:pt x="209943" y="96324"/>
                        <a:pt x="204987" y="87837"/>
                        <a:pt x="203733" y="78041"/>
                      </a:cubicBezTo>
                      <a:cubicBezTo>
                        <a:pt x="202618" y="69281"/>
                        <a:pt x="204676" y="60938"/>
                        <a:pt x="206669" y="52876"/>
                      </a:cubicBezTo>
                      <a:cubicBezTo>
                        <a:pt x="207676" y="48793"/>
                        <a:pt x="208606" y="44844"/>
                        <a:pt x="209142" y="40979"/>
                      </a:cubicBezTo>
                      <a:lnTo>
                        <a:pt x="208942" y="42246"/>
                      </a:lnTo>
                      <a:cubicBezTo>
                        <a:pt x="198266" y="40580"/>
                        <a:pt x="189369" y="34823"/>
                        <a:pt x="180758" y="29251"/>
                      </a:cubicBezTo>
                      <a:cubicBezTo>
                        <a:pt x="172600" y="23974"/>
                        <a:pt x="164888" y="18984"/>
                        <a:pt x="156278" y="17789"/>
                      </a:cubicBezTo>
                      <a:cubicBezTo>
                        <a:pt x="152214" y="17218"/>
                        <a:pt x="147964" y="17520"/>
                        <a:pt x="143463" y="17812"/>
                      </a:cubicBezTo>
                      <a:cubicBezTo>
                        <a:pt x="140997" y="17985"/>
                        <a:pt x="138527" y="18150"/>
                        <a:pt x="136066" y="18189"/>
                      </a:cubicBezTo>
                      <a:cubicBezTo>
                        <a:pt x="125647" y="18361"/>
                        <a:pt x="115723" y="16262"/>
                        <a:pt x="106021" y="14236"/>
                      </a:cubicBezTo>
                      <a:lnTo>
                        <a:pt x="41882" y="825"/>
                      </a:lnTo>
                      <a:cubicBezTo>
                        <a:pt x="39019" y="238"/>
                        <a:pt x="35770" y="-422"/>
                        <a:pt x="33480" y="352"/>
                      </a:cubicBezTo>
                      <a:cubicBezTo>
                        <a:pt x="31874" y="901"/>
                        <a:pt x="30240" y="2330"/>
                        <a:pt x="28504" y="3843"/>
                      </a:cubicBezTo>
                      <a:cubicBezTo>
                        <a:pt x="27692" y="4554"/>
                        <a:pt x="26876" y="5261"/>
                        <a:pt x="26038" y="5920"/>
                      </a:cubicBezTo>
                      <a:cubicBezTo>
                        <a:pt x="22865" y="8426"/>
                        <a:pt x="19419" y="10241"/>
                        <a:pt x="16092" y="12004"/>
                      </a:cubicBezTo>
                      <a:cubicBezTo>
                        <a:pt x="12141" y="14092"/>
                        <a:pt x="8407" y="16064"/>
                        <a:pt x="5749" y="18886"/>
                      </a:cubicBezTo>
                      <a:cubicBezTo>
                        <a:pt x="420" y="24543"/>
                        <a:pt x="-276" y="33225"/>
                        <a:pt x="77" y="39512"/>
                      </a:cubicBezTo>
                      <a:cubicBezTo>
                        <a:pt x="1372" y="62753"/>
                        <a:pt x="15425" y="82155"/>
                        <a:pt x="30301" y="102709"/>
                      </a:cubicBezTo>
                      <a:cubicBezTo>
                        <a:pt x="44233" y="121946"/>
                        <a:pt x="58635" y="141841"/>
                        <a:pt x="62283" y="165664"/>
                      </a:cubicBezTo>
                      <a:cubicBezTo>
                        <a:pt x="62511" y="167143"/>
                        <a:pt x="62478" y="168475"/>
                        <a:pt x="62447" y="169802"/>
                      </a:cubicBezTo>
                      <a:cubicBezTo>
                        <a:pt x="78329" y="173912"/>
                        <a:pt x="94439" y="185193"/>
                        <a:pt x="91949" y="200836"/>
                      </a:cubicBezTo>
                      <a:cubicBezTo>
                        <a:pt x="109915" y="221202"/>
                        <a:pt x="131627" y="231356"/>
                        <a:pt x="157033" y="240958"/>
                      </a:cubicBezTo>
                      <a:cubicBezTo>
                        <a:pt x="176532" y="248331"/>
                        <a:pt x="203044" y="263864"/>
                        <a:pt x="192831" y="282037"/>
                      </a:cubicBezTo>
                      <a:cubicBezTo>
                        <a:pt x="206986" y="289772"/>
                        <a:pt x="224335" y="291236"/>
                        <a:pt x="239657" y="286239"/>
                      </a:cubicBezTo>
                      <a:lnTo>
                        <a:pt x="235410" y="283816"/>
                      </a:lnTo>
                      <a:close/>
                    </a:path>
                  </a:pathLst>
                </a:custGeom>
                <a:grpFill/>
                <a:ln w="164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s-ES_tradnl" sz="2400"/>
                </a:p>
              </p:txBody>
            </p:sp>
            <p:sp>
              <p:nvSpPr>
                <p:cNvPr id="136" name="Forma libre 135">
                  <a:extLst>
                    <a:ext uri="{FF2B5EF4-FFF2-40B4-BE49-F238E27FC236}">
                      <a16:creationId xmlns:a16="http://schemas.microsoft.com/office/drawing/2014/main" id="{EEDB854B-619E-D34C-825B-4150F3076BE8}"/>
                    </a:ext>
                  </a:extLst>
                </p:cNvPr>
                <p:cNvSpPr/>
                <p:nvPr/>
              </p:nvSpPr>
              <p:spPr>
                <a:xfrm>
                  <a:off x="5665160" y="3250710"/>
                  <a:ext cx="347850" cy="284946"/>
                </a:xfrm>
                <a:custGeom>
                  <a:avLst/>
                  <a:gdLst>
                    <a:gd name="connsiteX0" fmla="*/ 190323 w 347850"/>
                    <a:gd name="connsiteY0" fmla="*/ 284371 h 284946"/>
                    <a:gd name="connsiteX1" fmla="*/ 160227 w 347850"/>
                    <a:gd name="connsiteY1" fmla="*/ 226014 h 284946"/>
                    <a:gd name="connsiteX2" fmla="*/ 128004 w 347850"/>
                    <a:gd name="connsiteY2" fmla="*/ 157206 h 284946"/>
                    <a:gd name="connsiteX3" fmla="*/ 136548 w 347850"/>
                    <a:gd name="connsiteY3" fmla="*/ 128721 h 284946"/>
                    <a:gd name="connsiteX4" fmla="*/ 149651 w 347850"/>
                    <a:gd name="connsiteY4" fmla="*/ 119738 h 284946"/>
                    <a:gd name="connsiteX5" fmla="*/ 157987 w 347850"/>
                    <a:gd name="connsiteY5" fmla="*/ 114710 h 284946"/>
                    <a:gd name="connsiteX6" fmla="*/ 160052 w 347850"/>
                    <a:gd name="connsiteY6" fmla="*/ 112958 h 284946"/>
                    <a:gd name="connsiteX7" fmla="*/ 168536 w 347850"/>
                    <a:gd name="connsiteY7" fmla="*/ 107443 h 284946"/>
                    <a:gd name="connsiteX8" fmla="*/ 182545 w 347850"/>
                    <a:gd name="connsiteY8" fmla="*/ 107555 h 284946"/>
                    <a:gd name="connsiteX9" fmla="*/ 246695 w 347850"/>
                    <a:gd name="connsiteY9" fmla="*/ 120976 h 284946"/>
                    <a:gd name="connsiteX10" fmla="*/ 274406 w 347850"/>
                    <a:gd name="connsiteY10" fmla="*/ 124699 h 284946"/>
                    <a:gd name="connsiteX11" fmla="*/ 281244 w 347850"/>
                    <a:gd name="connsiteY11" fmla="*/ 124348 h 284946"/>
                    <a:gd name="connsiteX12" fmla="*/ 296248 w 347850"/>
                    <a:gd name="connsiteY12" fmla="*/ 124390 h 284946"/>
                    <a:gd name="connsiteX13" fmla="*/ 325022 w 347850"/>
                    <a:gd name="connsiteY13" fmla="*/ 137465 h 284946"/>
                    <a:gd name="connsiteX14" fmla="*/ 347851 w 347850"/>
                    <a:gd name="connsiteY14" fmla="*/ 148568 h 284946"/>
                    <a:gd name="connsiteX15" fmla="*/ 340951 w 347850"/>
                    <a:gd name="connsiteY15" fmla="*/ 130033 h 284946"/>
                    <a:gd name="connsiteX16" fmla="*/ 334721 w 347850"/>
                    <a:gd name="connsiteY16" fmla="*/ 115765 h 284946"/>
                    <a:gd name="connsiteX17" fmla="*/ 338093 w 347850"/>
                    <a:gd name="connsiteY17" fmla="*/ 62710 h 284946"/>
                    <a:gd name="connsiteX18" fmla="*/ 330088 w 347850"/>
                    <a:gd name="connsiteY18" fmla="*/ 67209 h 284946"/>
                    <a:gd name="connsiteX19" fmla="*/ 322877 w 347850"/>
                    <a:gd name="connsiteY19" fmla="*/ 78206 h 284946"/>
                    <a:gd name="connsiteX20" fmla="*/ 305846 w 347850"/>
                    <a:gd name="connsiteY20" fmla="*/ 83506 h 284946"/>
                    <a:gd name="connsiteX21" fmla="*/ 297885 w 347850"/>
                    <a:gd name="connsiteY21" fmla="*/ 82510 h 284946"/>
                    <a:gd name="connsiteX22" fmla="*/ 282465 w 347850"/>
                    <a:gd name="connsiteY22" fmla="*/ 76027 h 284946"/>
                    <a:gd name="connsiteX23" fmla="*/ 267284 w 347850"/>
                    <a:gd name="connsiteY23" fmla="*/ 69904 h 284946"/>
                    <a:gd name="connsiteX24" fmla="*/ 258893 w 347850"/>
                    <a:gd name="connsiteY24" fmla="*/ 68892 h 284946"/>
                    <a:gd name="connsiteX25" fmla="*/ 236588 w 347850"/>
                    <a:gd name="connsiteY25" fmla="*/ 61343 h 284946"/>
                    <a:gd name="connsiteX26" fmla="*/ 230477 w 347850"/>
                    <a:gd name="connsiteY26" fmla="*/ 51831 h 284946"/>
                    <a:gd name="connsiteX27" fmla="*/ 215125 w 347850"/>
                    <a:gd name="connsiteY27" fmla="*/ 20203 h 284946"/>
                    <a:gd name="connsiteX28" fmla="*/ 204263 w 347850"/>
                    <a:gd name="connsiteY28" fmla="*/ 3569 h 284946"/>
                    <a:gd name="connsiteX29" fmla="*/ 197557 w 347850"/>
                    <a:gd name="connsiteY29" fmla="*/ 0 h 284946"/>
                    <a:gd name="connsiteX30" fmla="*/ 201437 w 347850"/>
                    <a:gd name="connsiteY30" fmla="*/ 10666 h 284946"/>
                    <a:gd name="connsiteX31" fmla="*/ 191746 w 347850"/>
                    <a:gd name="connsiteY31" fmla="*/ 6019 h 284946"/>
                    <a:gd name="connsiteX32" fmla="*/ 180028 w 347850"/>
                    <a:gd name="connsiteY32" fmla="*/ 22195 h 284946"/>
                    <a:gd name="connsiteX33" fmla="*/ 171645 w 347850"/>
                    <a:gd name="connsiteY33" fmla="*/ 24511 h 284946"/>
                    <a:gd name="connsiteX34" fmla="*/ 167307 w 347850"/>
                    <a:gd name="connsiteY34" fmla="*/ 25434 h 284946"/>
                    <a:gd name="connsiteX35" fmla="*/ 152599 w 347850"/>
                    <a:gd name="connsiteY35" fmla="*/ 44564 h 284946"/>
                    <a:gd name="connsiteX36" fmla="*/ 147020 w 347850"/>
                    <a:gd name="connsiteY36" fmla="*/ 55870 h 284946"/>
                    <a:gd name="connsiteX37" fmla="*/ 131600 w 347850"/>
                    <a:gd name="connsiteY37" fmla="*/ 74053 h 284946"/>
                    <a:gd name="connsiteX38" fmla="*/ 107277 w 347850"/>
                    <a:gd name="connsiteY38" fmla="*/ 91198 h 284946"/>
                    <a:gd name="connsiteX39" fmla="*/ 82621 w 347850"/>
                    <a:gd name="connsiteY39" fmla="*/ 92613 h 284946"/>
                    <a:gd name="connsiteX40" fmla="*/ 57462 w 347850"/>
                    <a:gd name="connsiteY40" fmla="*/ 96307 h 284946"/>
                    <a:gd name="connsiteX41" fmla="*/ 48845 w 347850"/>
                    <a:gd name="connsiteY41" fmla="*/ 100333 h 284946"/>
                    <a:gd name="connsiteX42" fmla="*/ 48265 w 347850"/>
                    <a:gd name="connsiteY42" fmla="*/ 100315 h 284946"/>
                    <a:gd name="connsiteX43" fmla="*/ 40368 w 347850"/>
                    <a:gd name="connsiteY43" fmla="*/ 96269 h 284946"/>
                    <a:gd name="connsiteX44" fmla="*/ 17618 w 347850"/>
                    <a:gd name="connsiteY44" fmla="*/ 84276 h 284946"/>
                    <a:gd name="connsiteX45" fmla="*/ 9263 w 347850"/>
                    <a:gd name="connsiteY45" fmla="*/ 100071 h 284946"/>
                    <a:gd name="connsiteX46" fmla="*/ 8854 w 347850"/>
                    <a:gd name="connsiteY46" fmla="*/ 146244 h 284946"/>
                    <a:gd name="connsiteX47" fmla="*/ 37849 w 347850"/>
                    <a:gd name="connsiteY47" fmla="*/ 138795 h 284946"/>
                    <a:gd name="connsiteX48" fmla="*/ 49605 w 347850"/>
                    <a:gd name="connsiteY48" fmla="*/ 108690 h 284946"/>
                    <a:gd name="connsiteX49" fmla="*/ 86505 w 347850"/>
                    <a:gd name="connsiteY49" fmla="*/ 144043 h 284946"/>
                    <a:gd name="connsiteX50" fmla="*/ 95565 w 347850"/>
                    <a:gd name="connsiteY50" fmla="*/ 201515 h 284946"/>
                    <a:gd name="connsiteX51" fmla="*/ 129348 w 347850"/>
                    <a:gd name="connsiteY51" fmla="*/ 233728 h 284946"/>
                    <a:gd name="connsiteX52" fmla="*/ 147223 w 347850"/>
                    <a:gd name="connsiteY52" fmla="*/ 270050 h 284946"/>
                    <a:gd name="connsiteX53" fmla="*/ 190354 w 347850"/>
                    <a:gd name="connsiteY53" fmla="*/ 284947 h 284946"/>
                    <a:gd name="connsiteX54" fmla="*/ 190323 w 347850"/>
                    <a:gd name="connsiteY54" fmla="*/ 284371 h 2849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</a:cxnLst>
                  <a:rect l="l" t="t" r="r" b="b"/>
                  <a:pathLst>
                    <a:path w="347850" h="284946">
                      <a:moveTo>
                        <a:pt x="190323" y="284371"/>
                      </a:moveTo>
                      <a:cubicBezTo>
                        <a:pt x="187060" y="263069"/>
                        <a:pt x="174027" y="245065"/>
                        <a:pt x="160227" y="226014"/>
                      </a:cubicBezTo>
                      <a:cubicBezTo>
                        <a:pt x="145110" y="205132"/>
                        <a:pt x="129474" y="183537"/>
                        <a:pt x="128004" y="157206"/>
                      </a:cubicBezTo>
                      <a:cubicBezTo>
                        <a:pt x="127539" y="148843"/>
                        <a:pt x="128640" y="137115"/>
                        <a:pt x="136548" y="128721"/>
                      </a:cubicBezTo>
                      <a:cubicBezTo>
                        <a:pt x="140411" y="124616"/>
                        <a:pt x="145108" y="122140"/>
                        <a:pt x="149651" y="119738"/>
                      </a:cubicBezTo>
                      <a:cubicBezTo>
                        <a:pt x="152696" y="118131"/>
                        <a:pt x="155570" y="116613"/>
                        <a:pt x="157987" y="114710"/>
                      </a:cubicBezTo>
                      <a:cubicBezTo>
                        <a:pt x="158685" y="114156"/>
                        <a:pt x="159369" y="113553"/>
                        <a:pt x="160052" y="112958"/>
                      </a:cubicBezTo>
                      <a:cubicBezTo>
                        <a:pt x="162365" y="110945"/>
                        <a:pt x="164980" y="108662"/>
                        <a:pt x="168536" y="107443"/>
                      </a:cubicBezTo>
                      <a:cubicBezTo>
                        <a:pt x="173575" y="105709"/>
                        <a:pt x="178758" y="106777"/>
                        <a:pt x="182545" y="107555"/>
                      </a:cubicBezTo>
                      <a:lnTo>
                        <a:pt x="246695" y="120976"/>
                      </a:lnTo>
                      <a:cubicBezTo>
                        <a:pt x="255815" y="122882"/>
                        <a:pt x="265146" y="124613"/>
                        <a:pt x="274406" y="124699"/>
                      </a:cubicBezTo>
                      <a:cubicBezTo>
                        <a:pt x="276686" y="124661"/>
                        <a:pt x="278968" y="124509"/>
                        <a:pt x="281244" y="124348"/>
                      </a:cubicBezTo>
                      <a:cubicBezTo>
                        <a:pt x="286097" y="124033"/>
                        <a:pt x="291106" y="123685"/>
                        <a:pt x="296248" y="124390"/>
                      </a:cubicBezTo>
                      <a:cubicBezTo>
                        <a:pt x="307183" y="125922"/>
                        <a:pt x="316251" y="131789"/>
                        <a:pt x="325022" y="137465"/>
                      </a:cubicBezTo>
                      <a:cubicBezTo>
                        <a:pt x="332651" y="142401"/>
                        <a:pt x="339898" y="146979"/>
                        <a:pt x="347851" y="148568"/>
                      </a:cubicBezTo>
                      <a:cubicBezTo>
                        <a:pt x="347030" y="142287"/>
                        <a:pt x="344087" y="136327"/>
                        <a:pt x="340951" y="130033"/>
                      </a:cubicBezTo>
                      <a:cubicBezTo>
                        <a:pt x="338688" y="125500"/>
                        <a:pt x="336352" y="120810"/>
                        <a:pt x="334721" y="115765"/>
                      </a:cubicBezTo>
                      <a:cubicBezTo>
                        <a:pt x="328955" y="97847"/>
                        <a:pt x="333283" y="78580"/>
                        <a:pt x="338093" y="62710"/>
                      </a:cubicBezTo>
                      <a:cubicBezTo>
                        <a:pt x="335409" y="64182"/>
                        <a:pt x="332674" y="65563"/>
                        <a:pt x="330088" y="67209"/>
                      </a:cubicBezTo>
                      <a:cubicBezTo>
                        <a:pt x="329225" y="71508"/>
                        <a:pt x="326734" y="75333"/>
                        <a:pt x="322877" y="78206"/>
                      </a:cubicBezTo>
                      <a:cubicBezTo>
                        <a:pt x="318325" y="81591"/>
                        <a:pt x="312072" y="83458"/>
                        <a:pt x="305846" y="83506"/>
                      </a:cubicBezTo>
                      <a:cubicBezTo>
                        <a:pt x="303135" y="83527"/>
                        <a:pt x="300440" y="83204"/>
                        <a:pt x="297885" y="82510"/>
                      </a:cubicBezTo>
                      <a:cubicBezTo>
                        <a:pt x="292331" y="81012"/>
                        <a:pt x="287316" y="78475"/>
                        <a:pt x="282465" y="76027"/>
                      </a:cubicBezTo>
                      <a:cubicBezTo>
                        <a:pt x="277301" y="73419"/>
                        <a:pt x="272421" y="70952"/>
                        <a:pt x="267284" y="69904"/>
                      </a:cubicBezTo>
                      <a:cubicBezTo>
                        <a:pt x="264584" y="69345"/>
                        <a:pt x="261735" y="69127"/>
                        <a:pt x="258893" y="68892"/>
                      </a:cubicBezTo>
                      <a:cubicBezTo>
                        <a:pt x="251359" y="68275"/>
                        <a:pt x="242820" y="67574"/>
                        <a:pt x="236588" y="61343"/>
                      </a:cubicBezTo>
                      <a:cubicBezTo>
                        <a:pt x="233676" y="58417"/>
                        <a:pt x="231974" y="54923"/>
                        <a:pt x="230477" y="51831"/>
                      </a:cubicBezTo>
                      <a:lnTo>
                        <a:pt x="215125" y="20203"/>
                      </a:lnTo>
                      <a:cubicBezTo>
                        <a:pt x="212168" y="14090"/>
                        <a:pt x="209112" y="7785"/>
                        <a:pt x="204263" y="3569"/>
                      </a:cubicBezTo>
                      <a:cubicBezTo>
                        <a:pt x="202427" y="1967"/>
                        <a:pt x="200031" y="679"/>
                        <a:pt x="197557" y="0"/>
                      </a:cubicBezTo>
                      <a:lnTo>
                        <a:pt x="201437" y="10666"/>
                      </a:lnTo>
                      <a:lnTo>
                        <a:pt x="191746" y="6019"/>
                      </a:lnTo>
                      <a:cubicBezTo>
                        <a:pt x="190044" y="12058"/>
                        <a:pt x="186846" y="18873"/>
                        <a:pt x="180028" y="22195"/>
                      </a:cubicBezTo>
                      <a:cubicBezTo>
                        <a:pt x="177174" y="23581"/>
                        <a:pt x="174238" y="24079"/>
                        <a:pt x="171645" y="24511"/>
                      </a:cubicBezTo>
                      <a:cubicBezTo>
                        <a:pt x="170184" y="24750"/>
                        <a:pt x="168712" y="24977"/>
                        <a:pt x="167307" y="25434"/>
                      </a:cubicBezTo>
                      <a:cubicBezTo>
                        <a:pt x="160123" y="27763"/>
                        <a:pt x="156470" y="35921"/>
                        <a:pt x="152599" y="44564"/>
                      </a:cubicBezTo>
                      <a:cubicBezTo>
                        <a:pt x="150906" y="48352"/>
                        <a:pt x="149150" y="52276"/>
                        <a:pt x="147020" y="55870"/>
                      </a:cubicBezTo>
                      <a:cubicBezTo>
                        <a:pt x="142811" y="62965"/>
                        <a:pt x="137107" y="68603"/>
                        <a:pt x="131600" y="74053"/>
                      </a:cubicBezTo>
                      <a:cubicBezTo>
                        <a:pt x="125295" y="80275"/>
                        <a:pt x="117458" y="88020"/>
                        <a:pt x="107277" y="91198"/>
                      </a:cubicBezTo>
                      <a:cubicBezTo>
                        <a:pt x="99197" y="93709"/>
                        <a:pt x="90758" y="93154"/>
                        <a:pt x="82621" y="92613"/>
                      </a:cubicBezTo>
                      <a:cubicBezTo>
                        <a:pt x="72980" y="91960"/>
                        <a:pt x="63885" y="91345"/>
                        <a:pt x="57462" y="96307"/>
                      </a:cubicBezTo>
                      <a:cubicBezTo>
                        <a:pt x="55087" y="98187"/>
                        <a:pt x="52439" y="100307"/>
                        <a:pt x="48845" y="100333"/>
                      </a:cubicBezTo>
                      <a:cubicBezTo>
                        <a:pt x="48652" y="100333"/>
                        <a:pt x="48463" y="100325"/>
                        <a:pt x="48265" y="100315"/>
                      </a:cubicBezTo>
                      <a:cubicBezTo>
                        <a:pt x="44488" y="100147"/>
                        <a:pt x="41813" y="97623"/>
                        <a:pt x="40368" y="96269"/>
                      </a:cubicBezTo>
                      <a:cubicBezTo>
                        <a:pt x="31085" y="87497"/>
                        <a:pt x="23604" y="83569"/>
                        <a:pt x="17618" y="84276"/>
                      </a:cubicBezTo>
                      <a:cubicBezTo>
                        <a:pt x="15244" y="89805"/>
                        <a:pt x="12234" y="95224"/>
                        <a:pt x="9263" y="100071"/>
                      </a:cubicBezTo>
                      <a:cubicBezTo>
                        <a:pt x="277" y="114736"/>
                        <a:pt x="-5877" y="137360"/>
                        <a:pt x="8854" y="146244"/>
                      </a:cubicBezTo>
                      <a:cubicBezTo>
                        <a:pt x="18172" y="151865"/>
                        <a:pt x="30932" y="147195"/>
                        <a:pt x="37849" y="138795"/>
                      </a:cubicBezTo>
                      <a:cubicBezTo>
                        <a:pt x="44768" y="130396"/>
                        <a:pt x="47292" y="119323"/>
                        <a:pt x="49605" y="108690"/>
                      </a:cubicBezTo>
                      <a:cubicBezTo>
                        <a:pt x="68125" y="102100"/>
                        <a:pt x="84431" y="124496"/>
                        <a:pt x="86505" y="144043"/>
                      </a:cubicBezTo>
                      <a:cubicBezTo>
                        <a:pt x="88579" y="163590"/>
                        <a:pt x="84617" y="185191"/>
                        <a:pt x="95565" y="201515"/>
                      </a:cubicBezTo>
                      <a:cubicBezTo>
                        <a:pt x="104272" y="214499"/>
                        <a:pt x="120557" y="220799"/>
                        <a:pt x="129348" y="233728"/>
                      </a:cubicBezTo>
                      <a:cubicBezTo>
                        <a:pt x="136977" y="244943"/>
                        <a:pt x="138128" y="259989"/>
                        <a:pt x="147223" y="270050"/>
                      </a:cubicBezTo>
                      <a:cubicBezTo>
                        <a:pt x="157678" y="281617"/>
                        <a:pt x="174582" y="282807"/>
                        <a:pt x="190354" y="284947"/>
                      </a:cubicBezTo>
                      <a:cubicBezTo>
                        <a:pt x="190328" y="284724"/>
                        <a:pt x="190359" y="284612"/>
                        <a:pt x="190323" y="284371"/>
                      </a:cubicBezTo>
                      <a:close/>
                    </a:path>
                  </a:pathLst>
                </a:custGeom>
                <a:grpFill/>
                <a:ln w="164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s-ES_tradnl" sz="2400"/>
                </a:p>
              </p:txBody>
            </p:sp>
            <p:sp>
              <p:nvSpPr>
                <p:cNvPr id="137" name="Forma libre 136">
                  <a:extLst>
                    <a:ext uri="{FF2B5EF4-FFF2-40B4-BE49-F238E27FC236}">
                      <a16:creationId xmlns:a16="http://schemas.microsoft.com/office/drawing/2014/main" id="{84431792-70F1-F34E-8F79-B0D059EA6C66}"/>
                    </a:ext>
                  </a:extLst>
                </p:cNvPr>
                <p:cNvSpPr/>
                <p:nvPr/>
              </p:nvSpPr>
              <p:spPr>
                <a:xfrm>
                  <a:off x="5069180" y="2753284"/>
                  <a:ext cx="189620" cy="184841"/>
                </a:xfrm>
                <a:custGeom>
                  <a:avLst/>
                  <a:gdLst>
                    <a:gd name="connsiteX0" fmla="*/ 11890 w 189620"/>
                    <a:gd name="connsiteY0" fmla="*/ 39092 h 184841"/>
                    <a:gd name="connsiteX1" fmla="*/ 17061 w 189620"/>
                    <a:gd name="connsiteY1" fmla="*/ 51175 h 184841"/>
                    <a:gd name="connsiteX2" fmla="*/ 29134 w 189620"/>
                    <a:gd name="connsiteY2" fmla="*/ 66144 h 184841"/>
                    <a:gd name="connsiteX3" fmla="*/ 30497 w 189620"/>
                    <a:gd name="connsiteY3" fmla="*/ 66574 h 184841"/>
                    <a:gd name="connsiteX4" fmla="*/ 36282 w 189620"/>
                    <a:gd name="connsiteY4" fmla="*/ 69230 h 184841"/>
                    <a:gd name="connsiteX5" fmla="*/ 41671 w 189620"/>
                    <a:gd name="connsiteY5" fmla="*/ 81440 h 184841"/>
                    <a:gd name="connsiteX6" fmla="*/ 43532 w 189620"/>
                    <a:gd name="connsiteY6" fmla="*/ 98600 h 184841"/>
                    <a:gd name="connsiteX7" fmla="*/ 44842 w 189620"/>
                    <a:gd name="connsiteY7" fmla="*/ 103684 h 184841"/>
                    <a:gd name="connsiteX8" fmla="*/ 48133 w 189620"/>
                    <a:gd name="connsiteY8" fmla="*/ 105175 h 184841"/>
                    <a:gd name="connsiteX9" fmla="*/ 71056 w 189620"/>
                    <a:gd name="connsiteY9" fmla="*/ 107118 h 184841"/>
                    <a:gd name="connsiteX10" fmla="*/ 73335 w 189620"/>
                    <a:gd name="connsiteY10" fmla="*/ 106827 h 184841"/>
                    <a:gd name="connsiteX11" fmla="*/ 90048 w 189620"/>
                    <a:gd name="connsiteY11" fmla="*/ 108078 h 184841"/>
                    <a:gd name="connsiteX12" fmla="*/ 104172 w 189620"/>
                    <a:gd name="connsiteY12" fmla="*/ 135919 h 184841"/>
                    <a:gd name="connsiteX13" fmla="*/ 108386 w 189620"/>
                    <a:gd name="connsiteY13" fmla="*/ 150817 h 184841"/>
                    <a:gd name="connsiteX14" fmla="*/ 144208 w 189620"/>
                    <a:gd name="connsiteY14" fmla="*/ 182235 h 184841"/>
                    <a:gd name="connsiteX15" fmla="*/ 162123 w 189620"/>
                    <a:gd name="connsiteY15" fmla="*/ 184841 h 184841"/>
                    <a:gd name="connsiteX16" fmla="*/ 173425 w 189620"/>
                    <a:gd name="connsiteY16" fmla="*/ 134552 h 184841"/>
                    <a:gd name="connsiteX17" fmla="*/ 177959 w 189620"/>
                    <a:gd name="connsiteY17" fmla="*/ 123988 h 184841"/>
                    <a:gd name="connsiteX18" fmla="*/ 187710 w 189620"/>
                    <a:gd name="connsiteY18" fmla="*/ 57477 h 184841"/>
                    <a:gd name="connsiteX19" fmla="*/ 188272 w 189620"/>
                    <a:gd name="connsiteY19" fmla="*/ 44111 h 184841"/>
                    <a:gd name="connsiteX20" fmla="*/ 189620 w 189620"/>
                    <a:gd name="connsiteY20" fmla="*/ 41552 h 184841"/>
                    <a:gd name="connsiteX21" fmla="*/ 186920 w 189620"/>
                    <a:gd name="connsiteY21" fmla="*/ 37848 h 184841"/>
                    <a:gd name="connsiteX22" fmla="*/ 177289 w 189620"/>
                    <a:gd name="connsiteY22" fmla="*/ 30126 h 184841"/>
                    <a:gd name="connsiteX23" fmla="*/ 109212 w 189620"/>
                    <a:gd name="connsiteY23" fmla="*/ 5968 h 184841"/>
                    <a:gd name="connsiteX24" fmla="*/ 109776 w 189620"/>
                    <a:gd name="connsiteY24" fmla="*/ 0 h 184841"/>
                    <a:gd name="connsiteX25" fmla="*/ 46064 w 189620"/>
                    <a:gd name="connsiteY25" fmla="*/ 2832 h 184841"/>
                    <a:gd name="connsiteX26" fmla="*/ 7399 w 189620"/>
                    <a:gd name="connsiteY26" fmla="*/ 13775 h 184841"/>
                    <a:gd name="connsiteX27" fmla="*/ 0 w 189620"/>
                    <a:gd name="connsiteY27" fmla="*/ 14977 h 184841"/>
                    <a:gd name="connsiteX28" fmla="*/ 11890 w 189620"/>
                    <a:gd name="connsiteY28" fmla="*/ 39092 h 18484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</a:cxnLst>
                  <a:rect l="l" t="t" r="r" b="b"/>
                  <a:pathLst>
                    <a:path w="189620" h="184841">
                      <a:moveTo>
                        <a:pt x="11890" y="39092"/>
                      </a:moveTo>
                      <a:cubicBezTo>
                        <a:pt x="13602" y="43314"/>
                        <a:pt x="15267" y="47439"/>
                        <a:pt x="17061" y="51175"/>
                      </a:cubicBezTo>
                      <a:cubicBezTo>
                        <a:pt x="20185" y="57683"/>
                        <a:pt x="23690" y="64198"/>
                        <a:pt x="29134" y="66144"/>
                      </a:cubicBezTo>
                      <a:lnTo>
                        <a:pt x="30497" y="66574"/>
                      </a:lnTo>
                      <a:cubicBezTo>
                        <a:pt x="32201" y="67080"/>
                        <a:pt x="34321" y="67708"/>
                        <a:pt x="36282" y="69230"/>
                      </a:cubicBezTo>
                      <a:cubicBezTo>
                        <a:pt x="40725" y="72693"/>
                        <a:pt x="41341" y="78382"/>
                        <a:pt x="41671" y="81440"/>
                      </a:cubicBezTo>
                      <a:lnTo>
                        <a:pt x="43532" y="98600"/>
                      </a:lnTo>
                      <a:cubicBezTo>
                        <a:pt x="43708" y="100264"/>
                        <a:pt x="43977" y="102765"/>
                        <a:pt x="44842" y="103684"/>
                      </a:cubicBezTo>
                      <a:cubicBezTo>
                        <a:pt x="45525" y="104408"/>
                        <a:pt x="47350" y="104944"/>
                        <a:pt x="48133" y="105175"/>
                      </a:cubicBezTo>
                      <a:cubicBezTo>
                        <a:pt x="55502" y="107352"/>
                        <a:pt x="63430" y="108027"/>
                        <a:pt x="71056" y="107118"/>
                      </a:cubicBezTo>
                      <a:lnTo>
                        <a:pt x="73335" y="106827"/>
                      </a:lnTo>
                      <a:cubicBezTo>
                        <a:pt x="78552" y="106131"/>
                        <a:pt x="84431" y="105348"/>
                        <a:pt x="90048" y="108078"/>
                      </a:cubicBezTo>
                      <a:cubicBezTo>
                        <a:pt x="99682" y="112758"/>
                        <a:pt x="102071" y="125065"/>
                        <a:pt x="104172" y="135919"/>
                      </a:cubicBezTo>
                      <a:cubicBezTo>
                        <a:pt x="105275" y="141610"/>
                        <a:pt x="106414" y="147492"/>
                        <a:pt x="108386" y="150817"/>
                      </a:cubicBezTo>
                      <a:cubicBezTo>
                        <a:pt x="115633" y="163067"/>
                        <a:pt x="130267" y="177787"/>
                        <a:pt x="144208" y="182235"/>
                      </a:cubicBezTo>
                      <a:cubicBezTo>
                        <a:pt x="149613" y="183956"/>
                        <a:pt x="155848" y="184520"/>
                        <a:pt x="162123" y="184841"/>
                      </a:cubicBezTo>
                      <a:cubicBezTo>
                        <a:pt x="158877" y="167805"/>
                        <a:pt x="166498" y="150283"/>
                        <a:pt x="173425" y="134552"/>
                      </a:cubicBezTo>
                      <a:cubicBezTo>
                        <a:pt x="174991" y="130993"/>
                        <a:pt x="176547" y="127463"/>
                        <a:pt x="177959" y="123988"/>
                      </a:cubicBezTo>
                      <a:cubicBezTo>
                        <a:pt x="186469" y="103005"/>
                        <a:pt x="189845" y="80010"/>
                        <a:pt x="187710" y="57477"/>
                      </a:cubicBezTo>
                      <a:cubicBezTo>
                        <a:pt x="187261" y="52851"/>
                        <a:pt x="186841" y="48502"/>
                        <a:pt x="188272" y="44111"/>
                      </a:cubicBezTo>
                      <a:cubicBezTo>
                        <a:pt x="188590" y="43130"/>
                        <a:pt x="189182" y="42418"/>
                        <a:pt x="189620" y="41552"/>
                      </a:cubicBezTo>
                      <a:cubicBezTo>
                        <a:pt x="188717" y="40320"/>
                        <a:pt x="187954" y="38942"/>
                        <a:pt x="186920" y="37848"/>
                      </a:cubicBezTo>
                      <a:cubicBezTo>
                        <a:pt x="183990" y="34740"/>
                        <a:pt x="180410" y="32201"/>
                        <a:pt x="177289" y="30126"/>
                      </a:cubicBezTo>
                      <a:cubicBezTo>
                        <a:pt x="157020" y="16609"/>
                        <a:pt x="133480" y="8258"/>
                        <a:pt x="109212" y="5968"/>
                      </a:cubicBezTo>
                      <a:lnTo>
                        <a:pt x="109776" y="0"/>
                      </a:lnTo>
                      <a:cubicBezTo>
                        <a:pt x="91294" y="12524"/>
                        <a:pt x="65515" y="14033"/>
                        <a:pt x="46064" y="2832"/>
                      </a:cubicBezTo>
                      <a:cubicBezTo>
                        <a:pt x="45802" y="2681"/>
                        <a:pt x="11464" y="13149"/>
                        <a:pt x="7399" y="13775"/>
                      </a:cubicBezTo>
                      <a:cubicBezTo>
                        <a:pt x="4858" y="14164"/>
                        <a:pt x="2410" y="14565"/>
                        <a:pt x="0" y="14977"/>
                      </a:cubicBezTo>
                      <a:cubicBezTo>
                        <a:pt x="4899" y="22137"/>
                        <a:pt x="8487" y="30695"/>
                        <a:pt x="11890" y="39092"/>
                      </a:cubicBezTo>
                      <a:close/>
                    </a:path>
                  </a:pathLst>
                </a:custGeom>
                <a:grpFill/>
                <a:ln w="164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s-ES_tradnl" sz="2400"/>
                </a:p>
              </p:txBody>
            </p:sp>
            <p:sp>
              <p:nvSpPr>
                <p:cNvPr id="138" name="Forma libre 137">
                  <a:extLst>
                    <a:ext uri="{FF2B5EF4-FFF2-40B4-BE49-F238E27FC236}">
                      <a16:creationId xmlns:a16="http://schemas.microsoft.com/office/drawing/2014/main" id="{648D9049-548A-7242-BCEE-3B79DF5686EC}"/>
                    </a:ext>
                  </a:extLst>
                </p:cNvPr>
                <p:cNvSpPr/>
                <p:nvPr/>
              </p:nvSpPr>
              <p:spPr>
                <a:xfrm>
                  <a:off x="5183318" y="2619125"/>
                  <a:ext cx="198001" cy="167492"/>
                </a:xfrm>
                <a:custGeom>
                  <a:avLst/>
                  <a:gdLst>
                    <a:gd name="connsiteX0" fmla="*/ 664 w 198001"/>
                    <a:gd name="connsiteY0" fmla="*/ 130157 h 167492"/>
                    <a:gd name="connsiteX1" fmla="*/ 69025 w 198001"/>
                    <a:gd name="connsiteY1" fmla="*/ 155469 h 167492"/>
                    <a:gd name="connsiteX2" fmla="*/ 80486 w 198001"/>
                    <a:gd name="connsiteY2" fmla="*/ 164737 h 167492"/>
                    <a:gd name="connsiteX3" fmla="*/ 82758 w 198001"/>
                    <a:gd name="connsiteY3" fmla="*/ 167492 h 167492"/>
                    <a:gd name="connsiteX4" fmla="*/ 92176 w 198001"/>
                    <a:gd name="connsiteY4" fmla="*/ 162293 h 167492"/>
                    <a:gd name="connsiteX5" fmla="*/ 104728 w 198001"/>
                    <a:gd name="connsiteY5" fmla="*/ 153489 h 167492"/>
                    <a:gd name="connsiteX6" fmla="*/ 106619 w 198001"/>
                    <a:gd name="connsiteY6" fmla="*/ 148563 h 167492"/>
                    <a:gd name="connsiteX7" fmla="*/ 111823 w 198001"/>
                    <a:gd name="connsiteY7" fmla="*/ 138357 h 167492"/>
                    <a:gd name="connsiteX8" fmla="*/ 132636 w 198001"/>
                    <a:gd name="connsiteY8" fmla="*/ 133217 h 167492"/>
                    <a:gd name="connsiteX9" fmla="*/ 145261 w 198001"/>
                    <a:gd name="connsiteY9" fmla="*/ 131476 h 167492"/>
                    <a:gd name="connsiteX10" fmla="*/ 149308 w 198001"/>
                    <a:gd name="connsiteY10" fmla="*/ 124900 h 167492"/>
                    <a:gd name="connsiteX11" fmla="*/ 163207 w 198001"/>
                    <a:gd name="connsiteY11" fmla="*/ 112791 h 167492"/>
                    <a:gd name="connsiteX12" fmla="*/ 163234 w 198001"/>
                    <a:gd name="connsiteY12" fmla="*/ 112791 h 167492"/>
                    <a:gd name="connsiteX13" fmla="*/ 171991 w 198001"/>
                    <a:gd name="connsiteY13" fmla="*/ 115683 h 167492"/>
                    <a:gd name="connsiteX14" fmla="*/ 174861 w 198001"/>
                    <a:gd name="connsiteY14" fmla="*/ 117106 h 167492"/>
                    <a:gd name="connsiteX15" fmla="*/ 178999 w 198001"/>
                    <a:gd name="connsiteY15" fmla="*/ 116603 h 167492"/>
                    <a:gd name="connsiteX16" fmla="*/ 187969 w 198001"/>
                    <a:gd name="connsiteY16" fmla="*/ 98431 h 167492"/>
                    <a:gd name="connsiteX17" fmla="*/ 197576 w 198001"/>
                    <a:gd name="connsiteY17" fmla="*/ 38323 h 167492"/>
                    <a:gd name="connsiteX18" fmla="*/ 197896 w 198001"/>
                    <a:gd name="connsiteY18" fmla="*/ 33315 h 167492"/>
                    <a:gd name="connsiteX19" fmla="*/ 192008 w 198001"/>
                    <a:gd name="connsiteY19" fmla="*/ 25349 h 167492"/>
                    <a:gd name="connsiteX20" fmla="*/ 183709 w 198001"/>
                    <a:gd name="connsiteY20" fmla="*/ 9920 h 167492"/>
                    <a:gd name="connsiteX21" fmla="*/ 102715 w 198001"/>
                    <a:gd name="connsiteY21" fmla="*/ 8266 h 167492"/>
                    <a:gd name="connsiteX22" fmla="*/ 85880 w 198001"/>
                    <a:gd name="connsiteY22" fmla="*/ 76459 h 167492"/>
                    <a:gd name="connsiteX23" fmla="*/ 62491 w 198001"/>
                    <a:gd name="connsiteY23" fmla="*/ 68153 h 167492"/>
                    <a:gd name="connsiteX24" fmla="*/ 65278 w 198001"/>
                    <a:gd name="connsiteY24" fmla="*/ 25792 h 167492"/>
                    <a:gd name="connsiteX25" fmla="*/ 22515 w 198001"/>
                    <a:gd name="connsiteY25" fmla="*/ 73419 h 167492"/>
                    <a:gd name="connsiteX26" fmla="*/ 2686 w 198001"/>
                    <a:gd name="connsiteY26" fmla="*/ 128547 h 167492"/>
                    <a:gd name="connsiteX27" fmla="*/ 664 w 198001"/>
                    <a:gd name="connsiteY27" fmla="*/ 130157 h 1674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</a:cxnLst>
                  <a:rect l="l" t="t" r="r" b="b"/>
                  <a:pathLst>
                    <a:path w="198001" h="167492">
                      <a:moveTo>
                        <a:pt x="664" y="130157"/>
                      </a:moveTo>
                      <a:cubicBezTo>
                        <a:pt x="25035" y="133186"/>
                        <a:pt x="48586" y="141842"/>
                        <a:pt x="69025" y="155469"/>
                      </a:cubicBezTo>
                      <a:cubicBezTo>
                        <a:pt x="72635" y="157871"/>
                        <a:pt x="76826" y="160855"/>
                        <a:pt x="80486" y="164737"/>
                      </a:cubicBezTo>
                      <a:cubicBezTo>
                        <a:pt x="81310" y="165609"/>
                        <a:pt x="82014" y="166566"/>
                        <a:pt x="82758" y="167492"/>
                      </a:cubicBezTo>
                      <a:cubicBezTo>
                        <a:pt x="85745" y="165436"/>
                        <a:pt x="89030" y="163783"/>
                        <a:pt x="92176" y="162293"/>
                      </a:cubicBezTo>
                      <a:cubicBezTo>
                        <a:pt x="97484" y="159782"/>
                        <a:pt x="102497" y="157405"/>
                        <a:pt x="104728" y="153489"/>
                      </a:cubicBezTo>
                      <a:cubicBezTo>
                        <a:pt x="105500" y="152139"/>
                        <a:pt x="106044" y="150402"/>
                        <a:pt x="106619" y="148563"/>
                      </a:cubicBezTo>
                      <a:cubicBezTo>
                        <a:pt x="107659" y="145233"/>
                        <a:pt x="108848" y="141465"/>
                        <a:pt x="111823" y="138357"/>
                      </a:cubicBezTo>
                      <a:cubicBezTo>
                        <a:pt x="117605" y="132310"/>
                        <a:pt x="125595" y="132803"/>
                        <a:pt x="132636" y="133217"/>
                      </a:cubicBezTo>
                      <a:cubicBezTo>
                        <a:pt x="137780" y="133534"/>
                        <a:pt x="142652" y="133829"/>
                        <a:pt x="145261" y="131476"/>
                      </a:cubicBezTo>
                      <a:cubicBezTo>
                        <a:pt x="146793" y="130100"/>
                        <a:pt x="148070" y="127454"/>
                        <a:pt x="149308" y="124900"/>
                      </a:cubicBezTo>
                      <a:cubicBezTo>
                        <a:pt x="151773" y="119813"/>
                        <a:pt x="155144" y="112852"/>
                        <a:pt x="163207" y="112791"/>
                      </a:cubicBezTo>
                      <a:cubicBezTo>
                        <a:pt x="163212" y="112791"/>
                        <a:pt x="163222" y="112791"/>
                        <a:pt x="163234" y="112791"/>
                      </a:cubicBezTo>
                      <a:cubicBezTo>
                        <a:pt x="166864" y="112775"/>
                        <a:pt x="169704" y="114387"/>
                        <a:pt x="171991" y="115683"/>
                      </a:cubicBezTo>
                      <a:cubicBezTo>
                        <a:pt x="173039" y="116275"/>
                        <a:pt x="174030" y="116837"/>
                        <a:pt x="174861" y="117106"/>
                      </a:cubicBezTo>
                      <a:cubicBezTo>
                        <a:pt x="176348" y="117590"/>
                        <a:pt x="177636" y="117430"/>
                        <a:pt x="178999" y="116603"/>
                      </a:cubicBezTo>
                      <a:cubicBezTo>
                        <a:pt x="182901" y="114211"/>
                        <a:pt x="186674" y="106563"/>
                        <a:pt x="187969" y="98431"/>
                      </a:cubicBezTo>
                      <a:lnTo>
                        <a:pt x="197576" y="38323"/>
                      </a:lnTo>
                      <a:cubicBezTo>
                        <a:pt x="197880" y="36443"/>
                        <a:pt x="198160" y="34666"/>
                        <a:pt x="197896" y="33315"/>
                      </a:cubicBezTo>
                      <a:cubicBezTo>
                        <a:pt x="197400" y="30739"/>
                        <a:pt x="194660" y="28003"/>
                        <a:pt x="192008" y="25349"/>
                      </a:cubicBezTo>
                      <a:cubicBezTo>
                        <a:pt x="188069" y="21404"/>
                        <a:pt x="183302" y="16590"/>
                        <a:pt x="183709" y="9920"/>
                      </a:cubicBezTo>
                      <a:cubicBezTo>
                        <a:pt x="158740" y="-2586"/>
                        <a:pt x="128118" y="-3412"/>
                        <a:pt x="102715" y="8266"/>
                      </a:cubicBezTo>
                      <a:cubicBezTo>
                        <a:pt x="97103" y="30997"/>
                        <a:pt x="91492" y="53727"/>
                        <a:pt x="85880" y="76459"/>
                      </a:cubicBezTo>
                      <a:cubicBezTo>
                        <a:pt x="78084" y="73689"/>
                        <a:pt x="70287" y="70921"/>
                        <a:pt x="62491" y="68153"/>
                      </a:cubicBezTo>
                      <a:cubicBezTo>
                        <a:pt x="63419" y="54034"/>
                        <a:pt x="64348" y="39912"/>
                        <a:pt x="65278" y="25792"/>
                      </a:cubicBezTo>
                      <a:cubicBezTo>
                        <a:pt x="51025" y="41668"/>
                        <a:pt x="36768" y="57543"/>
                        <a:pt x="22515" y="73419"/>
                      </a:cubicBezTo>
                      <a:cubicBezTo>
                        <a:pt x="8635" y="88874"/>
                        <a:pt x="-6193" y="109768"/>
                        <a:pt x="2686" y="128547"/>
                      </a:cubicBezTo>
                      <a:cubicBezTo>
                        <a:pt x="2058" y="129143"/>
                        <a:pt x="1317" y="129595"/>
                        <a:pt x="664" y="130157"/>
                      </a:cubicBezTo>
                      <a:close/>
                    </a:path>
                  </a:pathLst>
                </a:custGeom>
                <a:grpFill/>
                <a:ln w="164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s-ES_tradnl" sz="2400"/>
                </a:p>
              </p:txBody>
            </p:sp>
            <p:sp>
              <p:nvSpPr>
                <p:cNvPr id="139" name="Forma libre 138">
                  <a:extLst>
                    <a:ext uri="{FF2B5EF4-FFF2-40B4-BE49-F238E27FC236}">
                      <a16:creationId xmlns:a16="http://schemas.microsoft.com/office/drawing/2014/main" id="{B209BD9E-9DFA-4B4C-AFB9-A5C64038FC1A}"/>
                    </a:ext>
                  </a:extLst>
                </p:cNvPr>
                <p:cNvSpPr/>
                <p:nvPr/>
              </p:nvSpPr>
              <p:spPr>
                <a:xfrm>
                  <a:off x="6272602" y="2398417"/>
                  <a:ext cx="478719" cy="397271"/>
                </a:xfrm>
                <a:custGeom>
                  <a:avLst/>
                  <a:gdLst>
                    <a:gd name="connsiteX0" fmla="*/ 19626 w 478719"/>
                    <a:gd name="connsiteY0" fmla="*/ 288130 h 397271"/>
                    <a:gd name="connsiteX1" fmla="*/ 15951 w 478719"/>
                    <a:gd name="connsiteY1" fmla="*/ 296111 h 397271"/>
                    <a:gd name="connsiteX2" fmla="*/ 13465 w 478719"/>
                    <a:gd name="connsiteY2" fmla="*/ 301182 h 397271"/>
                    <a:gd name="connsiteX3" fmla="*/ 15279 w 478719"/>
                    <a:gd name="connsiteY3" fmla="*/ 312649 h 397271"/>
                    <a:gd name="connsiteX4" fmla="*/ 16838 w 478719"/>
                    <a:gd name="connsiteY4" fmla="*/ 317782 h 397271"/>
                    <a:gd name="connsiteX5" fmla="*/ 4567 w 478719"/>
                    <a:gd name="connsiteY5" fmla="*/ 360058 h 397271"/>
                    <a:gd name="connsiteX6" fmla="*/ 24997 w 478719"/>
                    <a:gd name="connsiteY6" fmla="*/ 393720 h 397271"/>
                    <a:gd name="connsiteX7" fmla="*/ 36286 w 478719"/>
                    <a:gd name="connsiteY7" fmla="*/ 384163 h 397271"/>
                    <a:gd name="connsiteX8" fmla="*/ 39340 w 478719"/>
                    <a:gd name="connsiteY8" fmla="*/ 380251 h 397271"/>
                    <a:gd name="connsiteX9" fmla="*/ 53050 w 478719"/>
                    <a:gd name="connsiteY9" fmla="*/ 367328 h 397271"/>
                    <a:gd name="connsiteX10" fmla="*/ 70964 w 478719"/>
                    <a:gd name="connsiteY10" fmla="*/ 368911 h 397271"/>
                    <a:gd name="connsiteX11" fmla="*/ 73494 w 478719"/>
                    <a:gd name="connsiteY11" fmla="*/ 371127 h 397271"/>
                    <a:gd name="connsiteX12" fmla="*/ 128759 w 478719"/>
                    <a:gd name="connsiteY12" fmla="*/ 371591 h 397271"/>
                    <a:gd name="connsiteX13" fmla="*/ 142859 w 478719"/>
                    <a:gd name="connsiteY13" fmla="*/ 378581 h 397271"/>
                    <a:gd name="connsiteX14" fmla="*/ 181633 w 478719"/>
                    <a:gd name="connsiteY14" fmla="*/ 392042 h 397271"/>
                    <a:gd name="connsiteX15" fmla="*/ 204342 w 478719"/>
                    <a:gd name="connsiteY15" fmla="*/ 388809 h 397271"/>
                    <a:gd name="connsiteX16" fmla="*/ 241319 w 478719"/>
                    <a:gd name="connsiteY16" fmla="*/ 387469 h 397271"/>
                    <a:gd name="connsiteX17" fmla="*/ 251230 w 478719"/>
                    <a:gd name="connsiteY17" fmla="*/ 391867 h 397271"/>
                    <a:gd name="connsiteX18" fmla="*/ 260205 w 478719"/>
                    <a:gd name="connsiteY18" fmla="*/ 395824 h 397271"/>
                    <a:gd name="connsiteX19" fmla="*/ 277239 w 478719"/>
                    <a:gd name="connsiteY19" fmla="*/ 397222 h 397271"/>
                    <a:gd name="connsiteX20" fmla="*/ 315102 w 478719"/>
                    <a:gd name="connsiteY20" fmla="*/ 396580 h 397271"/>
                    <a:gd name="connsiteX21" fmla="*/ 385957 w 478719"/>
                    <a:gd name="connsiteY21" fmla="*/ 382117 h 397271"/>
                    <a:gd name="connsiteX22" fmla="*/ 382004 w 478719"/>
                    <a:gd name="connsiteY22" fmla="*/ 329542 h 397271"/>
                    <a:gd name="connsiteX23" fmla="*/ 380690 w 478719"/>
                    <a:gd name="connsiteY23" fmla="*/ 325326 h 397271"/>
                    <a:gd name="connsiteX24" fmla="*/ 384605 w 478719"/>
                    <a:gd name="connsiteY24" fmla="*/ 323281 h 397271"/>
                    <a:gd name="connsiteX25" fmla="*/ 409556 w 478719"/>
                    <a:gd name="connsiteY25" fmla="*/ 321093 h 397271"/>
                    <a:gd name="connsiteX26" fmla="*/ 412180 w 478719"/>
                    <a:gd name="connsiteY26" fmla="*/ 321925 h 397271"/>
                    <a:gd name="connsiteX27" fmla="*/ 413006 w 478719"/>
                    <a:gd name="connsiteY27" fmla="*/ 324547 h 397271"/>
                    <a:gd name="connsiteX28" fmla="*/ 423592 w 478719"/>
                    <a:gd name="connsiteY28" fmla="*/ 335984 h 397271"/>
                    <a:gd name="connsiteX29" fmla="*/ 439151 w 478719"/>
                    <a:gd name="connsiteY29" fmla="*/ 336792 h 397271"/>
                    <a:gd name="connsiteX30" fmla="*/ 449657 w 478719"/>
                    <a:gd name="connsiteY30" fmla="*/ 325310 h 397271"/>
                    <a:gd name="connsiteX31" fmla="*/ 449169 w 478719"/>
                    <a:gd name="connsiteY31" fmla="*/ 309744 h 397271"/>
                    <a:gd name="connsiteX32" fmla="*/ 445495 w 478719"/>
                    <a:gd name="connsiteY32" fmla="*/ 302552 h 397271"/>
                    <a:gd name="connsiteX33" fmla="*/ 457180 w 478719"/>
                    <a:gd name="connsiteY33" fmla="*/ 301826 h 397271"/>
                    <a:gd name="connsiteX34" fmla="*/ 453297 w 478719"/>
                    <a:gd name="connsiteY34" fmla="*/ 299144 h 397271"/>
                    <a:gd name="connsiteX35" fmla="*/ 437742 w 478719"/>
                    <a:gd name="connsiteY35" fmla="*/ 268675 h 397271"/>
                    <a:gd name="connsiteX36" fmla="*/ 448129 w 478719"/>
                    <a:gd name="connsiteY36" fmla="*/ 236088 h 397271"/>
                    <a:gd name="connsiteX37" fmla="*/ 456233 w 478719"/>
                    <a:gd name="connsiteY37" fmla="*/ 228576 h 397271"/>
                    <a:gd name="connsiteX38" fmla="*/ 462922 w 478719"/>
                    <a:gd name="connsiteY38" fmla="*/ 222486 h 397271"/>
                    <a:gd name="connsiteX39" fmla="*/ 478161 w 478719"/>
                    <a:gd name="connsiteY39" fmla="*/ 184236 h 397271"/>
                    <a:gd name="connsiteX40" fmla="*/ 478514 w 478719"/>
                    <a:gd name="connsiteY40" fmla="*/ 178959 h 397271"/>
                    <a:gd name="connsiteX41" fmla="*/ 473530 w 478719"/>
                    <a:gd name="connsiteY41" fmla="*/ 175074 h 397271"/>
                    <a:gd name="connsiteX42" fmla="*/ 421386 w 478719"/>
                    <a:gd name="connsiteY42" fmla="*/ 146710 h 397271"/>
                    <a:gd name="connsiteX43" fmla="*/ 405967 w 478719"/>
                    <a:gd name="connsiteY43" fmla="*/ 134710 h 397271"/>
                    <a:gd name="connsiteX44" fmla="*/ 401707 w 478719"/>
                    <a:gd name="connsiteY44" fmla="*/ 126622 h 397271"/>
                    <a:gd name="connsiteX45" fmla="*/ 395540 w 478719"/>
                    <a:gd name="connsiteY45" fmla="*/ 117981 h 397271"/>
                    <a:gd name="connsiteX46" fmla="*/ 390749 w 478719"/>
                    <a:gd name="connsiteY46" fmla="*/ 117691 h 397271"/>
                    <a:gd name="connsiteX47" fmla="*/ 385185 w 478719"/>
                    <a:gd name="connsiteY47" fmla="*/ 117552 h 397271"/>
                    <a:gd name="connsiteX48" fmla="*/ 362829 w 478719"/>
                    <a:gd name="connsiteY48" fmla="*/ 90920 h 397271"/>
                    <a:gd name="connsiteX49" fmla="*/ 346619 w 478719"/>
                    <a:gd name="connsiteY49" fmla="*/ 17254 h 397271"/>
                    <a:gd name="connsiteX50" fmla="*/ 334789 w 478719"/>
                    <a:gd name="connsiteY50" fmla="*/ 15053 h 397271"/>
                    <a:gd name="connsiteX51" fmla="*/ 324936 w 478719"/>
                    <a:gd name="connsiteY51" fmla="*/ 23782 h 397271"/>
                    <a:gd name="connsiteX52" fmla="*/ 323884 w 478719"/>
                    <a:gd name="connsiteY52" fmla="*/ 28357 h 397271"/>
                    <a:gd name="connsiteX53" fmla="*/ 319205 w 478719"/>
                    <a:gd name="connsiteY53" fmla="*/ 27854 h 397271"/>
                    <a:gd name="connsiteX54" fmla="*/ 263932 w 478719"/>
                    <a:gd name="connsiteY54" fmla="*/ 15463 h 397271"/>
                    <a:gd name="connsiteX55" fmla="*/ 226635 w 478719"/>
                    <a:gd name="connsiteY55" fmla="*/ 5895 h 397271"/>
                    <a:gd name="connsiteX56" fmla="*/ 213366 w 478719"/>
                    <a:gd name="connsiteY56" fmla="*/ 0 h 397271"/>
                    <a:gd name="connsiteX57" fmla="*/ 213083 w 478719"/>
                    <a:gd name="connsiteY57" fmla="*/ 44 h 397271"/>
                    <a:gd name="connsiteX58" fmla="*/ 205066 w 478719"/>
                    <a:gd name="connsiteY58" fmla="*/ 12293 h 397271"/>
                    <a:gd name="connsiteX59" fmla="*/ 204751 w 478719"/>
                    <a:gd name="connsiteY59" fmla="*/ 18216 h 397271"/>
                    <a:gd name="connsiteX60" fmla="*/ 194742 w 478719"/>
                    <a:gd name="connsiteY60" fmla="*/ 44992 h 397271"/>
                    <a:gd name="connsiteX61" fmla="*/ 176544 w 478719"/>
                    <a:gd name="connsiteY61" fmla="*/ 48423 h 397271"/>
                    <a:gd name="connsiteX62" fmla="*/ 169356 w 478719"/>
                    <a:gd name="connsiteY62" fmla="*/ 48507 h 397271"/>
                    <a:gd name="connsiteX63" fmla="*/ 155467 w 478719"/>
                    <a:gd name="connsiteY63" fmla="*/ 52899 h 397271"/>
                    <a:gd name="connsiteX64" fmla="*/ 141326 w 478719"/>
                    <a:gd name="connsiteY64" fmla="*/ 57525 h 397271"/>
                    <a:gd name="connsiteX65" fmla="*/ 140345 w 478719"/>
                    <a:gd name="connsiteY65" fmla="*/ 58237 h 397271"/>
                    <a:gd name="connsiteX66" fmla="*/ 138652 w 478719"/>
                    <a:gd name="connsiteY66" fmla="*/ 68240 h 397271"/>
                    <a:gd name="connsiteX67" fmla="*/ 135574 w 478719"/>
                    <a:gd name="connsiteY67" fmla="*/ 71640 h 397271"/>
                    <a:gd name="connsiteX68" fmla="*/ 133340 w 478719"/>
                    <a:gd name="connsiteY68" fmla="*/ 74310 h 397271"/>
                    <a:gd name="connsiteX69" fmla="*/ 144285 w 478719"/>
                    <a:gd name="connsiteY69" fmla="*/ 78618 h 397271"/>
                    <a:gd name="connsiteX70" fmla="*/ 164120 w 478719"/>
                    <a:gd name="connsiteY70" fmla="*/ 85224 h 397271"/>
                    <a:gd name="connsiteX71" fmla="*/ 167004 w 478719"/>
                    <a:gd name="connsiteY71" fmla="*/ 94754 h 397271"/>
                    <a:gd name="connsiteX72" fmla="*/ 166643 w 478719"/>
                    <a:gd name="connsiteY72" fmla="*/ 97395 h 397271"/>
                    <a:gd name="connsiteX73" fmla="*/ 128714 w 478719"/>
                    <a:gd name="connsiteY73" fmla="*/ 118262 h 397271"/>
                    <a:gd name="connsiteX74" fmla="*/ 117417 w 478719"/>
                    <a:gd name="connsiteY74" fmla="*/ 120793 h 397271"/>
                    <a:gd name="connsiteX75" fmla="*/ 111561 w 478719"/>
                    <a:gd name="connsiteY75" fmla="*/ 117750 h 397271"/>
                    <a:gd name="connsiteX76" fmla="*/ 110094 w 478719"/>
                    <a:gd name="connsiteY76" fmla="*/ 116731 h 397271"/>
                    <a:gd name="connsiteX77" fmla="*/ 105005 w 478719"/>
                    <a:gd name="connsiteY77" fmla="*/ 116609 h 397271"/>
                    <a:gd name="connsiteX78" fmla="*/ 97771 w 478719"/>
                    <a:gd name="connsiteY78" fmla="*/ 124425 h 397271"/>
                    <a:gd name="connsiteX79" fmla="*/ 98246 w 478719"/>
                    <a:gd name="connsiteY79" fmla="*/ 143696 h 397271"/>
                    <a:gd name="connsiteX80" fmla="*/ 98940 w 478719"/>
                    <a:gd name="connsiteY80" fmla="*/ 147937 h 397271"/>
                    <a:gd name="connsiteX81" fmla="*/ 92985 w 478719"/>
                    <a:gd name="connsiteY81" fmla="*/ 177154 h 397271"/>
                    <a:gd name="connsiteX82" fmla="*/ 68112 w 478719"/>
                    <a:gd name="connsiteY82" fmla="*/ 186979 h 397271"/>
                    <a:gd name="connsiteX83" fmla="*/ 49341 w 478719"/>
                    <a:gd name="connsiteY83" fmla="*/ 194355 h 397271"/>
                    <a:gd name="connsiteX84" fmla="*/ 41957 w 478719"/>
                    <a:gd name="connsiteY84" fmla="*/ 205323 h 397271"/>
                    <a:gd name="connsiteX85" fmla="*/ 39728 w 478719"/>
                    <a:gd name="connsiteY85" fmla="*/ 192293 h 397271"/>
                    <a:gd name="connsiteX86" fmla="*/ 35693 w 478719"/>
                    <a:gd name="connsiteY86" fmla="*/ 186604 h 397271"/>
                    <a:gd name="connsiteX87" fmla="*/ 34582 w 478719"/>
                    <a:gd name="connsiteY87" fmla="*/ 185974 h 397271"/>
                    <a:gd name="connsiteX88" fmla="*/ 21937 w 478719"/>
                    <a:gd name="connsiteY88" fmla="*/ 211696 h 397271"/>
                    <a:gd name="connsiteX89" fmla="*/ 6601 w 478719"/>
                    <a:gd name="connsiteY89" fmla="*/ 216014 h 397271"/>
                    <a:gd name="connsiteX90" fmla="*/ 0 w 478719"/>
                    <a:gd name="connsiteY90" fmla="*/ 215298 h 397271"/>
                    <a:gd name="connsiteX91" fmla="*/ 17857 w 478719"/>
                    <a:gd name="connsiteY91" fmla="*/ 271677 h 397271"/>
                    <a:gd name="connsiteX92" fmla="*/ 19626 w 478719"/>
                    <a:gd name="connsiteY92" fmla="*/ 288130 h 3972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  <a:cxn ang="0">
                      <a:pos x="connsiteX86" y="connsiteY86"/>
                    </a:cxn>
                    <a:cxn ang="0">
                      <a:pos x="connsiteX87" y="connsiteY87"/>
                    </a:cxn>
                    <a:cxn ang="0">
                      <a:pos x="connsiteX88" y="connsiteY88"/>
                    </a:cxn>
                    <a:cxn ang="0">
                      <a:pos x="connsiteX89" y="connsiteY89"/>
                    </a:cxn>
                    <a:cxn ang="0">
                      <a:pos x="connsiteX90" y="connsiteY90"/>
                    </a:cxn>
                    <a:cxn ang="0">
                      <a:pos x="connsiteX91" y="connsiteY91"/>
                    </a:cxn>
                    <a:cxn ang="0">
                      <a:pos x="connsiteX92" y="connsiteY92"/>
                    </a:cxn>
                  </a:cxnLst>
                  <a:rect l="l" t="t" r="r" b="b"/>
                  <a:pathLst>
                    <a:path w="478719" h="397271">
                      <a:moveTo>
                        <a:pt x="19626" y="288130"/>
                      </a:moveTo>
                      <a:cubicBezTo>
                        <a:pt x="18841" y="291234"/>
                        <a:pt x="17311" y="293826"/>
                        <a:pt x="15951" y="296111"/>
                      </a:cubicBezTo>
                      <a:cubicBezTo>
                        <a:pt x="14888" y="297903"/>
                        <a:pt x="13887" y="299596"/>
                        <a:pt x="13465" y="301182"/>
                      </a:cubicBezTo>
                      <a:cubicBezTo>
                        <a:pt x="12602" y="304461"/>
                        <a:pt x="13904" y="308438"/>
                        <a:pt x="15279" y="312649"/>
                      </a:cubicBezTo>
                      <a:cubicBezTo>
                        <a:pt x="15839" y="314362"/>
                        <a:pt x="16403" y="316075"/>
                        <a:pt x="16838" y="317782"/>
                      </a:cubicBezTo>
                      <a:cubicBezTo>
                        <a:pt x="20767" y="332791"/>
                        <a:pt x="15668" y="349430"/>
                        <a:pt x="4567" y="360058"/>
                      </a:cubicBezTo>
                      <a:cubicBezTo>
                        <a:pt x="15364" y="368068"/>
                        <a:pt x="22892" y="380436"/>
                        <a:pt x="24997" y="393720"/>
                      </a:cubicBezTo>
                      <a:cubicBezTo>
                        <a:pt x="29198" y="391051"/>
                        <a:pt x="33125" y="387960"/>
                        <a:pt x="36286" y="384163"/>
                      </a:cubicBezTo>
                      <a:cubicBezTo>
                        <a:pt x="37332" y="382904"/>
                        <a:pt x="38334" y="381578"/>
                        <a:pt x="39340" y="380251"/>
                      </a:cubicBezTo>
                      <a:cubicBezTo>
                        <a:pt x="42882" y="375566"/>
                        <a:pt x="46908" y="370261"/>
                        <a:pt x="53050" y="367328"/>
                      </a:cubicBezTo>
                      <a:cubicBezTo>
                        <a:pt x="58522" y="364723"/>
                        <a:pt x="65901" y="365366"/>
                        <a:pt x="70964" y="368911"/>
                      </a:cubicBezTo>
                      <a:cubicBezTo>
                        <a:pt x="71922" y="369570"/>
                        <a:pt x="72764" y="370316"/>
                        <a:pt x="73494" y="371127"/>
                      </a:cubicBezTo>
                      <a:cubicBezTo>
                        <a:pt x="89062" y="360279"/>
                        <a:pt x="111522" y="363804"/>
                        <a:pt x="128759" y="371591"/>
                      </a:cubicBezTo>
                      <a:cubicBezTo>
                        <a:pt x="133492" y="373735"/>
                        <a:pt x="138175" y="376155"/>
                        <a:pt x="142859" y="378581"/>
                      </a:cubicBezTo>
                      <a:cubicBezTo>
                        <a:pt x="155889" y="385337"/>
                        <a:pt x="168204" y="391712"/>
                        <a:pt x="181633" y="392042"/>
                      </a:cubicBezTo>
                      <a:cubicBezTo>
                        <a:pt x="188999" y="392182"/>
                        <a:pt x="196454" y="390560"/>
                        <a:pt x="204342" y="388809"/>
                      </a:cubicBezTo>
                      <a:cubicBezTo>
                        <a:pt x="216393" y="386138"/>
                        <a:pt x="228866" y="383361"/>
                        <a:pt x="241319" y="387469"/>
                      </a:cubicBezTo>
                      <a:cubicBezTo>
                        <a:pt x="244885" y="388636"/>
                        <a:pt x="248114" y="390276"/>
                        <a:pt x="251230" y="391867"/>
                      </a:cubicBezTo>
                      <a:cubicBezTo>
                        <a:pt x="254313" y="393436"/>
                        <a:pt x="257219" y="394920"/>
                        <a:pt x="260205" y="395824"/>
                      </a:cubicBezTo>
                      <a:cubicBezTo>
                        <a:pt x="265460" y="397423"/>
                        <a:pt x="271469" y="397325"/>
                        <a:pt x="277239" y="397222"/>
                      </a:cubicBezTo>
                      <a:lnTo>
                        <a:pt x="315102" y="396580"/>
                      </a:lnTo>
                      <a:cubicBezTo>
                        <a:pt x="342601" y="396120"/>
                        <a:pt x="366969" y="394688"/>
                        <a:pt x="385957" y="382117"/>
                      </a:cubicBezTo>
                      <a:cubicBezTo>
                        <a:pt x="388618" y="364592"/>
                        <a:pt x="387261" y="346461"/>
                        <a:pt x="382004" y="329542"/>
                      </a:cubicBezTo>
                      <a:lnTo>
                        <a:pt x="380690" y="325326"/>
                      </a:lnTo>
                      <a:lnTo>
                        <a:pt x="384605" y="323281"/>
                      </a:lnTo>
                      <a:cubicBezTo>
                        <a:pt x="392271" y="319288"/>
                        <a:pt x="401366" y="318496"/>
                        <a:pt x="409556" y="321093"/>
                      </a:cubicBezTo>
                      <a:lnTo>
                        <a:pt x="412180" y="321925"/>
                      </a:lnTo>
                      <a:lnTo>
                        <a:pt x="413006" y="324547"/>
                      </a:lnTo>
                      <a:cubicBezTo>
                        <a:pt x="414533" y="329382"/>
                        <a:pt x="418392" y="333553"/>
                        <a:pt x="423592" y="335984"/>
                      </a:cubicBezTo>
                      <a:cubicBezTo>
                        <a:pt x="428770" y="338418"/>
                        <a:pt x="434439" y="338721"/>
                        <a:pt x="439151" y="336792"/>
                      </a:cubicBezTo>
                      <a:cubicBezTo>
                        <a:pt x="443833" y="334876"/>
                        <a:pt x="447669" y="330694"/>
                        <a:pt x="449657" y="325310"/>
                      </a:cubicBezTo>
                      <a:cubicBezTo>
                        <a:pt x="451654" y="319932"/>
                        <a:pt x="451477" y="314256"/>
                        <a:pt x="449169" y="309744"/>
                      </a:cubicBezTo>
                      <a:lnTo>
                        <a:pt x="445495" y="302552"/>
                      </a:lnTo>
                      <a:lnTo>
                        <a:pt x="457180" y="301826"/>
                      </a:lnTo>
                      <a:cubicBezTo>
                        <a:pt x="455872" y="300942"/>
                        <a:pt x="454506" y="300108"/>
                        <a:pt x="453297" y="299144"/>
                      </a:cubicBezTo>
                      <a:cubicBezTo>
                        <a:pt x="444423" y="292078"/>
                        <a:pt x="438755" y="280975"/>
                        <a:pt x="437742" y="268675"/>
                      </a:cubicBezTo>
                      <a:cubicBezTo>
                        <a:pt x="436739" y="256380"/>
                        <a:pt x="440519" y="244504"/>
                        <a:pt x="448129" y="236088"/>
                      </a:cubicBezTo>
                      <a:cubicBezTo>
                        <a:pt x="450673" y="233263"/>
                        <a:pt x="453500" y="230879"/>
                        <a:pt x="456233" y="228576"/>
                      </a:cubicBezTo>
                      <a:cubicBezTo>
                        <a:pt x="458546" y="226629"/>
                        <a:pt x="460869" y="224688"/>
                        <a:pt x="462922" y="222486"/>
                      </a:cubicBezTo>
                      <a:cubicBezTo>
                        <a:pt x="472363" y="212382"/>
                        <a:pt x="475447" y="197431"/>
                        <a:pt x="478161" y="184236"/>
                      </a:cubicBezTo>
                      <a:cubicBezTo>
                        <a:pt x="478520" y="182530"/>
                        <a:pt x="478998" y="180199"/>
                        <a:pt x="478514" y="178959"/>
                      </a:cubicBezTo>
                      <a:cubicBezTo>
                        <a:pt x="477924" y="177465"/>
                        <a:pt x="475276" y="176021"/>
                        <a:pt x="473530" y="175074"/>
                      </a:cubicBezTo>
                      <a:lnTo>
                        <a:pt x="421386" y="146710"/>
                      </a:lnTo>
                      <a:cubicBezTo>
                        <a:pt x="416340" y="143965"/>
                        <a:pt x="410055" y="140554"/>
                        <a:pt x="405967" y="134710"/>
                      </a:cubicBezTo>
                      <a:cubicBezTo>
                        <a:pt x="404169" y="132137"/>
                        <a:pt x="402916" y="129333"/>
                        <a:pt x="401707" y="126622"/>
                      </a:cubicBezTo>
                      <a:cubicBezTo>
                        <a:pt x="399561" y="121818"/>
                        <a:pt x="398080" y="118841"/>
                        <a:pt x="395540" y="117981"/>
                      </a:cubicBezTo>
                      <a:cubicBezTo>
                        <a:pt x="394326" y="117560"/>
                        <a:pt x="392673" y="117634"/>
                        <a:pt x="390749" y="117691"/>
                      </a:cubicBezTo>
                      <a:cubicBezTo>
                        <a:pt x="388910" y="117756"/>
                        <a:pt x="387005" y="117796"/>
                        <a:pt x="385185" y="117552"/>
                      </a:cubicBezTo>
                      <a:cubicBezTo>
                        <a:pt x="369798" y="115475"/>
                        <a:pt x="364550" y="96994"/>
                        <a:pt x="362829" y="90920"/>
                      </a:cubicBezTo>
                      <a:cubicBezTo>
                        <a:pt x="355998" y="66785"/>
                        <a:pt x="350548" y="42012"/>
                        <a:pt x="346619" y="17254"/>
                      </a:cubicBezTo>
                      <a:cubicBezTo>
                        <a:pt x="343287" y="14331"/>
                        <a:pt x="338445" y="14161"/>
                        <a:pt x="334789" y="15053"/>
                      </a:cubicBezTo>
                      <a:cubicBezTo>
                        <a:pt x="330773" y="16039"/>
                        <a:pt x="326078" y="18851"/>
                        <a:pt x="324936" y="23782"/>
                      </a:cubicBezTo>
                      <a:lnTo>
                        <a:pt x="323884" y="28357"/>
                      </a:lnTo>
                      <a:lnTo>
                        <a:pt x="319205" y="27854"/>
                      </a:lnTo>
                      <a:cubicBezTo>
                        <a:pt x="300397" y="25833"/>
                        <a:pt x="281789" y="21659"/>
                        <a:pt x="263932" y="15463"/>
                      </a:cubicBezTo>
                      <a:cubicBezTo>
                        <a:pt x="251857" y="13417"/>
                        <a:pt x="239028" y="10127"/>
                        <a:pt x="226635" y="5895"/>
                      </a:cubicBezTo>
                      <a:cubicBezTo>
                        <a:pt x="222327" y="4426"/>
                        <a:pt x="217662" y="2544"/>
                        <a:pt x="213366" y="0"/>
                      </a:cubicBezTo>
                      <a:cubicBezTo>
                        <a:pt x="213259" y="36"/>
                        <a:pt x="213198" y="-3"/>
                        <a:pt x="213083" y="44"/>
                      </a:cubicBezTo>
                      <a:cubicBezTo>
                        <a:pt x="209670" y="1398"/>
                        <a:pt x="205512" y="6927"/>
                        <a:pt x="205066" y="12293"/>
                      </a:cubicBezTo>
                      <a:cubicBezTo>
                        <a:pt x="204906" y="14209"/>
                        <a:pt x="204826" y="16205"/>
                        <a:pt x="204751" y="18216"/>
                      </a:cubicBezTo>
                      <a:cubicBezTo>
                        <a:pt x="204405" y="27424"/>
                        <a:pt x="203963" y="38876"/>
                        <a:pt x="194742" y="44992"/>
                      </a:cubicBezTo>
                      <a:cubicBezTo>
                        <a:pt x="188957" y="48815"/>
                        <a:pt x="182339" y="48613"/>
                        <a:pt x="176544" y="48423"/>
                      </a:cubicBezTo>
                      <a:cubicBezTo>
                        <a:pt x="174134" y="48342"/>
                        <a:pt x="171682" y="48252"/>
                        <a:pt x="169356" y="48507"/>
                      </a:cubicBezTo>
                      <a:cubicBezTo>
                        <a:pt x="164913" y="48995"/>
                        <a:pt x="160324" y="50891"/>
                        <a:pt x="155467" y="52899"/>
                      </a:cubicBezTo>
                      <a:cubicBezTo>
                        <a:pt x="151018" y="54740"/>
                        <a:pt x="146253" y="56684"/>
                        <a:pt x="141326" y="57525"/>
                      </a:cubicBezTo>
                      <a:lnTo>
                        <a:pt x="140345" y="58237"/>
                      </a:lnTo>
                      <a:cubicBezTo>
                        <a:pt x="141321" y="61514"/>
                        <a:pt x="140698" y="65418"/>
                        <a:pt x="138652" y="68240"/>
                      </a:cubicBezTo>
                      <a:cubicBezTo>
                        <a:pt x="137760" y="69464"/>
                        <a:pt x="136674" y="70562"/>
                        <a:pt x="135574" y="71640"/>
                      </a:cubicBezTo>
                      <a:cubicBezTo>
                        <a:pt x="134578" y="72614"/>
                        <a:pt x="133551" y="73626"/>
                        <a:pt x="133340" y="74310"/>
                      </a:cubicBezTo>
                      <a:cubicBezTo>
                        <a:pt x="134755" y="76859"/>
                        <a:pt x="139723" y="78555"/>
                        <a:pt x="144285" y="78618"/>
                      </a:cubicBezTo>
                      <a:cubicBezTo>
                        <a:pt x="150905" y="78672"/>
                        <a:pt x="159644" y="80184"/>
                        <a:pt x="164120" y="85224"/>
                      </a:cubicBezTo>
                      <a:cubicBezTo>
                        <a:pt x="166489" y="87901"/>
                        <a:pt x="167485" y="91191"/>
                        <a:pt x="167004" y="94754"/>
                      </a:cubicBezTo>
                      <a:lnTo>
                        <a:pt x="166643" y="97395"/>
                      </a:lnTo>
                      <a:lnTo>
                        <a:pt x="128714" y="118262"/>
                      </a:lnTo>
                      <a:cubicBezTo>
                        <a:pt x="126253" y="119621"/>
                        <a:pt x="122155" y="121848"/>
                        <a:pt x="117417" y="120793"/>
                      </a:cubicBezTo>
                      <a:cubicBezTo>
                        <a:pt x="114879" y="120201"/>
                        <a:pt x="113038" y="118839"/>
                        <a:pt x="111561" y="117750"/>
                      </a:cubicBezTo>
                      <a:cubicBezTo>
                        <a:pt x="111083" y="117395"/>
                        <a:pt x="110603" y="117028"/>
                        <a:pt x="110094" y="116731"/>
                      </a:cubicBezTo>
                      <a:cubicBezTo>
                        <a:pt x="108661" y="115893"/>
                        <a:pt x="106965" y="115844"/>
                        <a:pt x="105005" y="116609"/>
                      </a:cubicBezTo>
                      <a:cubicBezTo>
                        <a:pt x="101777" y="117865"/>
                        <a:pt x="98811" y="121078"/>
                        <a:pt x="97771" y="124425"/>
                      </a:cubicBezTo>
                      <a:cubicBezTo>
                        <a:pt x="95984" y="130215"/>
                        <a:pt x="97077" y="136764"/>
                        <a:pt x="98246" y="143696"/>
                      </a:cubicBezTo>
                      <a:lnTo>
                        <a:pt x="98940" y="147937"/>
                      </a:lnTo>
                      <a:cubicBezTo>
                        <a:pt x="100943" y="161089"/>
                        <a:pt x="98996" y="170644"/>
                        <a:pt x="92985" y="177154"/>
                      </a:cubicBezTo>
                      <a:cubicBezTo>
                        <a:pt x="86419" y="184271"/>
                        <a:pt x="76686" y="185710"/>
                        <a:pt x="68112" y="186979"/>
                      </a:cubicBezTo>
                      <a:cubicBezTo>
                        <a:pt x="59889" y="188193"/>
                        <a:pt x="52778" y="189246"/>
                        <a:pt x="49341" y="194355"/>
                      </a:cubicBezTo>
                      <a:lnTo>
                        <a:pt x="41957" y="205323"/>
                      </a:lnTo>
                      <a:lnTo>
                        <a:pt x="39728" y="192293"/>
                      </a:lnTo>
                      <a:cubicBezTo>
                        <a:pt x="39349" y="190097"/>
                        <a:pt x="37875" y="188023"/>
                        <a:pt x="35693" y="186604"/>
                      </a:cubicBezTo>
                      <a:cubicBezTo>
                        <a:pt x="35328" y="186368"/>
                        <a:pt x="34966" y="186157"/>
                        <a:pt x="34582" y="185974"/>
                      </a:cubicBezTo>
                      <a:cubicBezTo>
                        <a:pt x="35512" y="195773"/>
                        <a:pt x="30741" y="206178"/>
                        <a:pt x="21937" y="211696"/>
                      </a:cubicBezTo>
                      <a:cubicBezTo>
                        <a:pt x="17369" y="214547"/>
                        <a:pt x="12020" y="215974"/>
                        <a:pt x="6601" y="216014"/>
                      </a:cubicBezTo>
                      <a:cubicBezTo>
                        <a:pt x="4393" y="216032"/>
                        <a:pt x="2187" y="215737"/>
                        <a:pt x="0" y="215298"/>
                      </a:cubicBezTo>
                      <a:lnTo>
                        <a:pt x="17857" y="271677"/>
                      </a:lnTo>
                      <a:cubicBezTo>
                        <a:pt x="19245" y="276071"/>
                        <a:pt x="21143" y="282083"/>
                        <a:pt x="19626" y="288130"/>
                      </a:cubicBezTo>
                      <a:close/>
                    </a:path>
                  </a:pathLst>
                </a:custGeom>
                <a:grpFill/>
                <a:ln w="164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s-ES_tradnl" sz="2400"/>
                </a:p>
              </p:txBody>
            </p:sp>
            <p:sp>
              <p:nvSpPr>
                <p:cNvPr id="140" name="Forma libre 139">
                  <a:extLst>
                    <a:ext uri="{FF2B5EF4-FFF2-40B4-BE49-F238E27FC236}">
                      <a16:creationId xmlns:a16="http://schemas.microsoft.com/office/drawing/2014/main" id="{30AED8D7-24B7-6E47-8C88-258331EA7DA9}"/>
                    </a:ext>
                  </a:extLst>
                </p:cNvPr>
                <p:cNvSpPr/>
                <p:nvPr/>
              </p:nvSpPr>
              <p:spPr>
                <a:xfrm>
                  <a:off x="6207506" y="2695651"/>
                  <a:ext cx="1043427" cy="546345"/>
                </a:xfrm>
                <a:custGeom>
                  <a:avLst/>
                  <a:gdLst>
                    <a:gd name="connsiteX0" fmla="*/ 1039214 w 1043427"/>
                    <a:gd name="connsiteY0" fmla="*/ 239270 h 546345"/>
                    <a:gd name="connsiteX1" fmla="*/ 1030999 w 1043427"/>
                    <a:gd name="connsiteY1" fmla="*/ 224873 h 546345"/>
                    <a:gd name="connsiteX2" fmla="*/ 1023183 w 1043427"/>
                    <a:gd name="connsiteY2" fmla="*/ 211558 h 546345"/>
                    <a:gd name="connsiteX3" fmla="*/ 1022448 w 1043427"/>
                    <a:gd name="connsiteY3" fmla="*/ 175534 h 546345"/>
                    <a:gd name="connsiteX4" fmla="*/ 1027794 w 1043427"/>
                    <a:gd name="connsiteY4" fmla="*/ 168460 h 546345"/>
                    <a:gd name="connsiteX5" fmla="*/ 1033754 w 1043427"/>
                    <a:gd name="connsiteY5" fmla="*/ 156315 h 546345"/>
                    <a:gd name="connsiteX6" fmla="*/ 1029776 w 1043427"/>
                    <a:gd name="connsiteY6" fmla="*/ 154193 h 546345"/>
                    <a:gd name="connsiteX7" fmla="*/ 914976 w 1043427"/>
                    <a:gd name="connsiteY7" fmla="*/ 144055 h 546345"/>
                    <a:gd name="connsiteX8" fmla="*/ 896503 w 1043427"/>
                    <a:gd name="connsiteY8" fmla="*/ 148336 h 546345"/>
                    <a:gd name="connsiteX9" fmla="*/ 910077 w 1043427"/>
                    <a:gd name="connsiteY9" fmla="*/ 135105 h 546345"/>
                    <a:gd name="connsiteX10" fmla="*/ 902062 w 1043427"/>
                    <a:gd name="connsiteY10" fmla="*/ 132464 h 546345"/>
                    <a:gd name="connsiteX11" fmla="*/ 896319 w 1043427"/>
                    <a:gd name="connsiteY11" fmla="*/ 134570 h 546345"/>
                    <a:gd name="connsiteX12" fmla="*/ 875178 w 1043427"/>
                    <a:gd name="connsiteY12" fmla="*/ 136110 h 546345"/>
                    <a:gd name="connsiteX13" fmla="*/ 866231 w 1043427"/>
                    <a:gd name="connsiteY13" fmla="*/ 126321 h 546345"/>
                    <a:gd name="connsiteX14" fmla="*/ 860830 w 1043427"/>
                    <a:gd name="connsiteY14" fmla="*/ 120508 h 546345"/>
                    <a:gd name="connsiteX15" fmla="*/ 857854 w 1043427"/>
                    <a:gd name="connsiteY15" fmla="*/ 120902 h 546345"/>
                    <a:gd name="connsiteX16" fmla="*/ 848584 w 1043427"/>
                    <a:gd name="connsiteY16" fmla="*/ 120604 h 546345"/>
                    <a:gd name="connsiteX17" fmla="*/ 841440 w 1043427"/>
                    <a:gd name="connsiteY17" fmla="*/ 112595 h 546345"/>
                    <a:gd name="connsiteX18" fmla="*/ 839982 w 1043427"/>
                    <a:gd name="connsiteY18" fmla="*/ 109974 h 546345"/>
                    <a:gd name="connsiteX19" fmla="*/ 836336 w 1043427"/>
                    <a:gd name="connsiteY19" fmla="*/ 107948 h 546345"/>
                    <a:gd name="connsiteX20" fmla="*/ 823357 w 1043427"/>
                    <a:gd name="connsiteY20" fmla="*/ 112254 h 546345"/>
                    <a:gd name="connsiteX21" fmla="*/ 819061 w 1043427"/>
                    <a:gd name="connsiteY21" fmla="*/ 115729 h 546345"/>
                    <a:gd name="connsiteX22" fmla="*/ 797461 w 1043427"/>
                    <a:gd name="connsiteY22" fmla="*/ 126555 h 546345"/>
                    <a:gd name="connsiteX23" fmla="*/ 794751 w 1043427"/>
                    <a:gd name="connsiteY23" fmla="*/ 126633 h 546345"/>
                    <a:gd name="connsiteX24" fmla="*/ 793103 w 1043427"/>
                    <a:gd name="connsiteY24" fmla="*/ 124476 h 546345"/>
                    <a:gd name="connsiteX25" fmla="*/ 752653 w 1043427"/>
                    <a:gd name="connsiteY25" fmla="*/ 115310 h 546345"/>
                    <a:gd name="connsiteX26" fmla="*/ 747330 w 1043427"/>
                    <a:gd name="connsiteY26" fmla="*/ 115785 h 546345"/>
                    <a:gd name="connsiteX27" fmla="*/ 746897 w 1043427"/>
                    <a:gd name="connsiteY27" fmla="*/ 110455 h 546345"/>
                    <a:gd name="connsiteX28" fmla="*/ 728316 w 1043427"/>
                    <a:gd name="connsiteY28" fmla="*/ 74049 h 546345"/>
                    <a:gd name="connsiteX29" fmla="*/ 713322 w 1043427"/>
                    <a:gd name="connsiteY29" fmla="*/ 75852 h 546345"/>
                    <a:gd name="connsiteX30" fmla="*/ 708882 w 1043427"/>
                    <a:gd name="connsiteY30" fmla="*/ 76957 h 546345"/>
                    <a:gd name="connsiteX31" fmla="*/ 676744 w 1043427"/>
                    <a:gd name="connsiteY31" fmla="*/ 77916 h 546345"/>
                    <a:gd name="connsiteX32" fmla="*/ 654754 w 1043427"/>
                    <a:gd name="connsiteY32" fmla="*/ 64055 h 546345"/>
                    <a:gd name="connsiteX33" fmla="*/ 652959 w 1043427"/>
                    <a:gd name="connsiteY33" fmla="*/ 49446 h 546345"/>
                    <a:gd name="connsiteX34" fmla="*/ 655089 w 1043427"/>
                    <a:gd name="connsiteY34" fmla="*/ 5274 h 546345"/>
                    <a:gd name="connsiteX35" fmla="*/ 610287 w 1043427"/>
                    <a:gd name="connsiteY35" fmla="*/ 274 h 546345"/>
                    <a:gd name="connsiteX36" fmla="*/ 594868 w 1043427"/>
                    <a:gd name="connsiteY36" fmla="*/ 2069 h 546345"/>
                    <a:gd name="connsiteX37" fmla="*/ 546871 w 1043427"/>
                    <a:gd name="connsiteY37" fmla="*/ 12912 h 546345"/>
                    <a:gd name="connsiteX38" fmla="*/ 547410 w 1043427"/>
                    <a:gd name="connsiteY38" fmla="*/ 13835 h 546345"/>
                    <a:gd name="connsiteX39" fmla="*/ 537655 w 1043427"/>
                    <a:gd name="connsiteY39" fmla="*/ 17940 h 546345"/>
                    <a:gd name="connsiteX40" fmla="*/ 535317 w 1043427"/>
                    <a:gd name="connsiteY40" fmla="*/ 14389 h 546345"/>
                    <a:gd name="connsiteX41" fmla="*/ 526184 w 1043427"/>
                    <a:gd name="connsiteY41" fmla="*/ 14961 h 546345"/>
                    <a:gd name="connsiteX42" fmla="*/ 524686 w 1043427"/>
                    <a:gd name="connsiteY42" fmla="*/ 31765 h 546345"/>
                    <a:gd name="connsiteX43" fmla="*/ 508248 w 1043427"/>
                    <a:gd name="connsiteY43" fmla="*/ 49366 h 546345"/>
                    <a:gd name="connsiteX44" fmla="*/ 484181 w 1043427"/>
                    <a:gd name="connsiteY44" fmla="*/ 48343 h 546345"/>
                    <a:gd name="connsiteX45" fmla="*/ 469082 w 1043427"/>
                    <a:gd name="connsiteY45" fmla="*/ 33361 h 546345"/>
                    <a:gd name="connsiteX46" fmla="*/ 458567 w 1043427"/>
                    <a:gd name="connsiteY46" fmla="*/ 33852 h 546345"/>
                    <a:gd name="connsiteX47" fmla="*/ 461131 w 1043427"/>
                    <a:gd name="connsiteY47" fmla="*/ 88864 h 546345"/>
                    <a:gd name="connsiteX48" fmla="*/ 460765 w 1043427"/>
                    <a:gd name="connsiteY48" fmla="*/ 91012 h 546345"/>
                    <a:gd name="connsiteX49" fmla="*/ 458986 w 1043427"/>
                    <a:gd name="connsiteY49" fmla="*/ 92278 h 546345"/>
                    <a:gd name="connsiteX50" fmla="*/ 380376 w 1043427"/>
                    <a:gd name="connsiteY50" fmla="*/ 109939 h 546345"/>
                    <a:gd name="connsiteX51" fmla="*/ 342514 w 1043427"/>
                    <a:gd name="connsiteY51" fmla="*/ 110581 h 546345"/>
                    <a:gd name="connsiteX52" fmla="*/ 322228 w 1043427"/>
                    <a:gd name="connsiteY52" fmla="*/ 108729 h 546345"/>
                    <a:gd name="connsiteX53" fmla="*/ 311508 w 1043427"/>
                    <a:gd name="connsiteY53" fmla="*/ 104074 h 546345"/>
                    <a:gd name="connsiteX54" fmla="*/ 303101 w 1043427"/>
                    <a:gd name="connsiteY54" fmla="*/ 100295 h 546345"/>
                    <a:gd name="connsiteX55" fmla="*/ 271735 w 1043427"/>
                    <a:gd name="connsiteY55" fmla="*/ 101919 h 546345"/>
                    <a:gd name="connsiteX56" fmla="*/ 246470 w 1043427"/>
                    <a:gd name="connsiteY56" fmla="*/ 105393 h 546345"/>
                    <a:gd name="connsiteX57" fmla="*/ 203077 w 1043427"/>
                    <a:gd name="connsiteY57" fmla="*/ 90757 h 546345"/>
                    <a:gd name="connsiteX58" fmla="*/ 189486 w 1043427"/>
                    <a:gd name="connsiteY58" fmla="*/ 84011 h 546345"/>
                    <a:gd name="connsiteX59" fmla="*/ 140427 w 1043427"/>
                    <a:gd name="connsiteY59" fmla="*/ 86317 h 546345"/>
                    <a:gd name="connsiteX60" fmla="*/ 129769 w 1043427"/>
                    <a:gd name="connsiteY60" fmla="*/ 98230 h 546345"/>
                    <a:gd name="connsiteX61" fmla="*/ 131200 w 1043427"/>
                    <a:gd name="connsiteY61" fmla="*/ 82313 h 546345"/>
                    <a:gd name="connsiteX62" fmla="*/ 130006 w 1043427"/>
                    <a:gd name="connsiteY62" fmla="*/ 80366 h 546345"/>
                    <a:gd name="connsiteX63" fmla="*/ 122690 w 1043427"/>
                    <a:gd name="connsiteY63" fmla="*/ 79660 h 546345"/>
                    <a:gd name="connsiteX64" fmla="*/ 112875 w 1043427"/>
                    <a:gd name="connsiteY64" fmla="*/ 89410 h 546345"/>
                    <a:gd name="connsiteX65" fmla="*/ 109515 w 1043427"/>
                    <a:gd name="connsiteY65" fmla="*/ 93703 h 546345"/>
                    <a:gd name="connsiteX66" fmla="*/ 75396 w 1043427"/>
                    <a:gd name="connsiteY66" fmla="*/ 113851 h 546345"/>
                    <a:gd name="connsiteX67" fmla="*/ 75136 w 1043427"/>
                    <a:gd name="connsiteY67" fmla="*/ 115739 h 546345"/>
                    <a:gd name="connsiteX68" fmla="*/ 83402 w 1043427"/>
                    <a:gd name="connsiteY68" fmla="*/ 135474 h 546345"/>
                    <a:gd name="connsiteX69" fmla="*/ 97396 w 1043427"/>
                    <a:gd name="connsiteY69" fmla="*/ 219590 h 546345"/>
                    <a:gd name="connsiteX70" fmla="*/ 72936 w 1043427"/>
                    <a:gd name="connsiteY70" fmla="*/ 242162 h 546345"/>
                    <a:gd name="connsiteX71" fmla="*/ 52356 w 1043427"/>
                    <a:gd name="connsiteY71" fmla="*/ 260131 h 546345"/>
                    <a:gd name="connsiteX72" fmla="*/ 43932 w 1043427"/>
                    <a:gd name="connsiteY72" fmla="*/ 277280 h 546345"/>
                    <a:gd name="connsiteX73" fmla="*/ 34905 w 1043427"/>
                    <a:gd name="connsiteY73" fmla="*/ 299895 h 546345"/>
                    <a:gd name="connsiteX74" fmla="*/ 1534 w 1043427"/>
                    <a:gd name="connsiteY74" fmla="*/ 388888 h 546345"/>
                    <a:gd name="connsiteX75" fmla="*/ 212 w 1043427"/>
                    <a:gd name="connsiteY75" fmla="*/ 397512 h 546345"/>
                    <a:gd name="connsiteX76" fmla="*/ 11315 w 1043427"/>
                    <a:gd name="connsiteY76" fmla="*/ 405102 h 546345"/>
                    <a:gd name="connsiteX77" fmla="*/ 80314 w 1043427"/>
                    <a:gd name="connsiteY77" fmla="*/ 413615 h 546345"/>
                    <a:gd name="connsiteX78" fmla="*/ 207690 w 1043427"/>
                    <a:gd name="connsiteY78" fmla="*/ 398450 h 546345"/>
                    <a:gd name="connsiteX79" fmla="*/ 224724 w 1043427"/>
                    <a:gd name="connsiteY79" fmla="*/ 388920 h 546345"/>
                    <a:gd name="connsiteX80" fmla="*/ 226086 w 1043427"/>
                    <a:gd name="connsiteY80" fmla="*/ 384286 h 546345"/>
                    <a:gd name="connsiteX81" fmla="*/ 229236 w 1043427"/>
                    <a:gd name="connsiteY81" fmla="*/ 375596 h 546345"/>
                    <a:gd name="connsiteX82" fmla="*/ 253594 w 1043427"/>
                    <a:gd name="connsiteY82" fmla="*/ 365857 h 546345"/>
                    <a:gd name="connsiteX83" fmla="*/ 255992 w 1043427"/>
                    <a:gd name="connsiteY83" fmla="*/ 365705 h 546345"/>
                    <a:gd name="connsiteX84" fmla="*/ 292698 w 1043427"/>
                    <a:gd name="connsiteY84" fmla="*/ 355675 h 546345"/>
                    <a:gd name="connsiteX85" fmla="*/ 326877 w 1043427"/>
                    <a:gd name="connsiteY85" fmla="*/ 345551 h 546345"/>
                    <a:gd name="connsiteX86" fmla="*/ 374899 w 1043427"/>
                    <a:gd name="connsiteY86" fmla="*/ 362134 h 546345"/>
                    <a:gd name="connsiteX87" fmla="*/ 383449 w 1043427"/>
                    <a:gd name="connsiteY87" fmla="*/ 383552 h 546345"/>
                    <a:gd name="connsiteX88" fmla="*/ 409964 w 1043427"/>
                    <a:gd name="connsiteY88" fmla="*/ 387140 h 546345"/>
                    <a:gd name="connsiteX89" fmla="*/ 430080 w 1043427"/>
                    <a:gd name="connsiteY89" fmla="*/ 416032 h 546345"/>
                    <a:gd name="connsiteX90" fmla="*/ 428047 w 1043427"/>
                    <a:gd name="connsiteY90" fmla="*/ 424817 h 546345"/>
                    <a:gd name="connsiteX91" fmla="*/ 426658 w 1043427"/>
                    <a:gd name="connsiteY91" fmla="*/ 434054 h 546345"/>
                    <a:gd name="connsiteX92" fmla="*/ 432621 w 1043427"/>
                    <a:gd name="connsiteY92" fmla="*/ 441685 h 546345"/>
                    <a:gd name="connsiteX93" fmla="*/ 495562 w 1043427"/>
                    <a:gd name="connsiteY93" fmla="*/ 534766 h 546345"/>
                    <a:gd name="connsiteX94" fmla="*/ 492409 w 1043427"/>
                    <a:gd name="connsiteY94" fmla="*/ 536017 h 546345"/>
                    <a:gd name="connsiteX95" fmla="*/ 492679 w 1043427"/>
                    <a:gd name="connsiteY95" fmla="*/ 536131 h 546345"/>
                    <a:gd name="connsiteX96" fmla="*/ 513144 w 1043427"/>
                    <a:gd name="connsiteY96" fmla="*/ 546334 h 546345"/>
                    <a:gd name="connsiteX97" fmla="*/ 517462 w 1043427"/>
                    <a:gd name="connsiteY97" fmla="*/ 504550 h 546345"/>
                    <a:gd name="connsiteX98" fmla="*/ 581296 w 1043427"/>
                    <a:gd name="connsiteY98" fmla="*/ 479770 h 546345"/>
                    <a:gd name="connsiteX99" fmla="*/ 598803 w 1043427"/>
                    <a:gd name="connsiteY99" fmla="*/ 442435 h 546345"/>
                    <a:gd name="connsiteX100" fmla="*/ 598353 w 1043427"/>
                    <a:gd name="connsiteY100" fmla="*/ 520158 h 546345"/>
                    <a:gd name="connsiteX101" fmla="*/ 631611 w 1043427"/>
                    <a:gd name="connsiteY101" fmla="*/ 521362 h 546345"/>
                    <a:gd name="connsiteX102" fmla="*/ 666871 w 1043427"/>
                    <a:gd name="connsiteY102" fmla="*/ 509082 h 546345"/>
                    <a:gd name="connsiteX103" fmla="*/ 677042 w 1043427"/>
                    <a:gd name="connsiteY103" fmla="*/ 522031 h 546345"/>
                    <a:gd name="connsiteX104" fmla="*/ 706177 w 1043427"/>
                    <a:gd name="connsiteY104" fmla="*/ 525709 h 546345"/>
                    <a:gd name="connsiteX105" fmla="*/ 712841 w 1043427"/>
                    <a:gd name="connsiteY105" fmla="*/ 497106 h 546345"/>
                    <a:gd name="connsiteX106" fmla="*/ 763046 w 1043427"/>
                    <a:gd name="connsiteY106" fmla="*/ 504738 h 546345"/>
                    <a:gd name="connsiteX107" fmla="*/ 791638 w 1043427"/>
                    <a:gd name="connsiteY107" fmla="*/ 453181 h 546345"/>
                    <a:gd name="connsiteX108" fmla="*/ 815989 w 1043427"/>
                    <a:gd name="connsiteY108" fmla="*/ 476658 h 546345"/>
                    <a:gd name="connsiteX109" fmla="*/ 875229 w 1043427"/>
                    <a:gd name="connsiteY109" fmla="*/ 431196 h 546345"/>
                    <a:gd name="connsiteX110" fmla="*/ 892690 w 1043427"/>
                    <a:gd name="connsiteY110" fmla="*/ 432796 h 546345"/>
                    <a:gd name="connsiteX111" fmla="*/ 921570 w 1043427"/>
                    <a:gd name="connsiteY111" fmla="*/ 403097 h 546345"/>
                    <a:gd name="connsiteX112" fmla="*/ 957320 w 1043427"/>
                    <a:gd name="connsiteY112" fmla="*/ 374925 h 546345"/>
                    <a:gd name="connsiteX113" fmla="*/ 950675 w 1043427"/>
                    <a:gd name="connsiteY113" fmla="*/ 329807 h 546345"/>
                    <a:gd name="connsiteX114" fmla="*/ 951326 w 1043427"/>
                    <a:gd name="connsiteY114" fmla="*/ 326815 h 546345"/>
                    <a:gd name="connsiteX115" fmla="*/ 954246 w 1043427"/>
                    <a:gd name="connsiteY115" fmla="*/ 325884 h 546345"/>
                    <a:gd name="connsiteX116" fmla="*/ 1020170 w 1043427"/>
                    <a:gd name="connsiteY116" fmla="*/ 284100 h 546345"/>
                    <a:gd name="connsiteX117" fmla="*/ 1024530 w 1043427"/>
                    <a:gd name="connsiteY117" fmla="*/ 279413 h 546345"/>
                    <a:gd name="connsiteX118" fmla="*/ 1028314 w 1043427"/>
                    <a:gd name="connsiteY118" fmla="*/ 284586 h 546345"/>
                    <a:gd name="connsiteX119" fmla="*/ 1030637 w 1043427"/>
                    <a:gd name="connsiteY119" fmla="*/ 285491 h 546345"/>
                    <a:gd name="connsiteX120" fmla="*/ 1041006 w 1043427"/>
                    <a:gd name="connsiteY120" fmla="*/ 275194 h 546345"/>
                    <a:gd name="connsiteX121" fmla="*/ 1039214 w 1043427"/>
                    <a:gd name="connsiteY121" fmla="*/ 239270 h 54634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  <a:cxn ang="0">
                      <a:pos x="connsiteX86" y="connsiteY86"/>
                    </a:cxn>
                    <a:cxn ang="0">
                      <a:pos x="connsiteX87" y="connsiteY87"/>
                    </a:cxn>
                    <a:cxn ang="0">
                      <a:pos x="connsiteX88" y="connsiteY88"/>
                    </a:cxn>
                    <a:cxn ang="0">
                      <a:pos x="connsiteX89" y="connsiteY89"/>
                    </a:cxn>
                    <a:cxn ang="0">
                      <a:pos x="connsiteX90" y="connsiteY90"/>
                    </a:cxn>
                    <a:cxn ang="0">
                      <a:pos x="connsiteX91" y="connsiteY91"/>
                    </a:cxn>
                    <a:cxn ang="0">
                      <a:pos x="connsiteX92" y="connsiteY92"/>
                    </a:cxn>
                    <a:cxn ang="0">
                      <a:pos x="connsiteX93" y="connsiteY93"/>
                    </a:cxn>
                    <a:cxn ang="0">
                      <a:pos x="connsiteX94" y="connsiteY94"/>
                    </a:cxn>
                    <a:cxn ang="0">
                      <a:pos x="connsiteX95" y="connsiteY95"/>
                    </a:cxn>
                    <a:cxn ang="0">
                      <a:pos x="connsiteX96" y="connsiteY96"/>
                    </a:cxn>
                    <a:cxn ang="0">
                      <a:pos x="connsiteX97" y="connsiteY97"/>
                    </a:cxn>
                    <a:cxn ang="0">
                      <a:pos x="connsiteX98" y="connsiteY98"/>
                    </a:cxn>
                    <a:cxn ang="0">
                      <a:pos x="connsiteX99" y="connsiteY99"/>
                    </a:cxn>
                    <a:cxn ang="0">
                      <a:pos x="connsiteX100" y="connsiteY100"/>
                    </a:cxn>
                    <a:cxn ang="0">
                      <a:pos x="connsiteX101" y="connsiteY101"/>
                    </a:cxn>
                    <a:cxn ang="0">
                      <a:pos x="connsiteX102" y="connsiteY102"/>
                    </a:cxn>
                    <a:cxn ang="0">
                      <a:pos x="connsiteX103" y="connsiteY103"/>
                    </a:cxn>
                    <a:cxn ang="0">
                      <a:pos x="connsiteX104" y="connsiteY104"/>
                    </a:cxn>
                    <a:cxn ang="0">
                      <a:pos x="connsiteX105" y="connsiteY105"/>
                    </a:cxn>
                    <a:cxn ang="0">
                      <a:pos x="connsiteX106" y="connsiteY106"/>
                    </a:cxn>
                    <a:cxn ang="0">
                      <a:pos x="connsiteX107" y="connsiteY107"/>
                    </a:cxn>
                    <a:cxn ang="0">
                      <a:pos x="connsiteX108" y="connsiteY108"/>
                    </a:cxn>
                    <a:cxn ang="0">
                      <a:pos x="connsiteX109" y="connsiteY109"/>
                    </a:cxn>
                    <a:cxn ang="0">
                      <a:pos x="connsiteX110" y="connsiteY110"/>
                    </a:cxn>
                    <a:cxn ang="0">
                      <a:pos x="connsiteX111" y="connsiteY111"/>
                    </a:cxn>
                    <a:cxn ang="0">
                      <a:pos x="connsiteX112" y="connsiteY112"/>
                    </a:cxn>
                    <a:cxn ang="0">
                      <a:pos x="connsiteX113" y="connsiteY113"/>
                    </a:cxn>
                    <a:cxn ang="0">
                      <a:pos x="connsiteX114" y="connsiteY114"/>
                    </a:cxn>
                    <a:cxn ang="0">
                      <a:pos x="connsiteX115" y="connsiteY115"/>
                    </a:cxn>
                    <a:cxn ang="0">
                      <a:pos x="connsiteX116" y="connsiteY116"/>
                    </a:cxn>
                    <a:cxn ang="0">
                      <a:pos x="connsiteX117" y="connsiteY117"/>
                    </a:cxn>
                    <a:cxn ang="0">
                      <a:pos x="connsiteX118" y="connsiteY118"/>
                    </a:cxn>
                    <a:cxn ang="0">
                      <a:pos x="connsiteX119" y="connsiteY119"/>
                    </a:cxn>
                    <a:cxn ang="0">
                      <a:pos x="connsiteX120" y="connsiteY120"/>
                    </a:cxn>
                    <a:cxn ang="0">
                      <a:pos x="connsiteX121" y="connsiteY121"/>
                    </a:cxn>
                  </a:cxnLst>
                  <a:rect l="l" t="t" r="r" b="b"/>
                  <a:pathLst>
                    <a:path w="1043427" h="546345">
                      <a:moveTo>
                        <a:pt x="1039214" y="239270"/>
                      </a:moveTo>
                      <a:cubicBezTo>
                        <a:pt x="1037048" y="234328"/>
                        <a:pt x="1034107" y="229737"/>
                        <a:pt x="1030999" y="224873"/>
                      </a:cubicBezTo>
                      <a:cubicBezTo>
                        <a:pt x="1028287" y="220643"/>
                        <a:pt x="1025493" y="216268"/>
                        <a:pt x="1023183" y="211558"/>
                      </a:cubicBezTo>
                      <a:cubicBezTo>
                        <a:pt x="1016619" y="198174"/>
                        <a:pt x="1016345" y="185039"/>
                        <a:pt x="1022448" y="175534"/>
                      </a:cubicBezTo>
                      <a:cubicBezTo>
                        <a:pt x="1023930" y="173223"/>
                        <a:pt x="1025857" y="170842"/>
                        <a:pt x="1027794" y="168460"/>
                      </a:cubicBezTo>
                      <a:cubicBezTo>
                        <a:pt x="1033329" y="161681"/>
                        <a:pt x="1035497" y="158318"/>
                        <a:pt x="1033754" y="156315"/>
                      </a:cubicBezTo>
                      <a:cubicBezTo>
                        <a:pt x="1033032" y="155492"/>
                        <a:pt x="1031467" y="154841"/>
                        <a:pt x="1029776" y="154193"/>
                      </a:cubicBezTo>
                      <a:cubicBezTo>
                        <a:pt x="990733" y="139205"/>
                        <a:pt x="951021" y="135706"/>
                        <a:pt x="914976" y="144055"/>
                      </a:cubicBezTo>
                      <a:lnTo>
                        <a:pt x="896503" y="148336"/>
                      </a:lnTo>
                      <a:lnTo>
                        <a:pt x="910077" y="135105"/>
                      </a:lnTo>
                      <a:cubicBezTo>
                        <a:pt x="909680" y="134368"/>
                        <a:pt x="905231" y="131552"/>
                        <a:pt x="902062" y="132464"/>
                      </a:cubicBezTo>
                      <a:cubicBezTo>
                        <a:pt x="900165" y="133006"/>
                        <a:pt x="898246" y="133792"/>
                        <a:pt x="896319" y="134570"/>
                      </a:cubicBezTo>
                      <a:cubicBezTo>
                        <a:pt x="890183" y="137047"/>
                        <a:pt x="882512" y="140134"/>
                        <a:pt x="875178" y="136110"/>
                      </a:cubicBezTo>
                      <a:cubicBezTo>
                        <a:pt x="870933" y="133773"/>
                        <a:pt x="868428" y="129816"/>
                        <a:pt x="866231" y="126321"/>
                      </a:cubicBezTo>
                      <a:cubicBezTo>
                        <a:pt x="864022" y="122821"/>
                        <a:pt x="862548" y="120680"/>
                        <a:pt x="860830" y="120508"/>
                      </a:cubicBezTo>
                      <a:cubicBezTo>
                        <a:pt x="860199" y="120462"/>
                        <a:pt x="859020" y="120657"/>
                        <a:pt x="857854" y="120902"/>
                      </a:cubicBezTo>
                      <a:cubicBezTo>
                        <a:pt x="855416" y="121412"/>
                        <a:pt x="852060" y="122089"/>
                        <a:pt x="848584" y="120604"/>
                      </a:cubicBezTo>
                      <a:cubicBezTo>
                        <a:pt x="844538" y="118865"/>
                        <a:pt x="842752" y="115244"/>
                        <a:pt x="841440" y="112595"/>
                      </a:cubicBezTo>
                      <a:cubicBezTo>
                        <a:pt x="840988" y="111688"/>
                        <a:pt x="840568" y="110762"/>
                        <a:pt x="839982" y="109974"/>
                      </a:cubicBezTo>
                      <a:cubicBezTo>
                        <a:pt x="839448" y="109254"/>
                        <a:pt x="838491" y="108258"/>
                        <a:pt x="836336" y="107948"/>
                      </a:cubicBezTo>
                      <a:cubicBezTo>
                        <a:pt x="832732" y="107447"/>
                        <a:pt x="827377" y="109194"/>
                        <a:pt x="823357" y="112254"/>
                      </a:cubicBezTo>
                      <a:cubicBezTo>
                        <a:pt x="821917" y="113350"/>
                        <a:pt x="820488" y="114536"/>
                        <a:pt x="819061" y="115729"/>
                      </a:cubicBezTo>
                      <a:cubicBezTo>
                        <a:pt x="813109" y="120682"/>
                        <a:pt x="806367" y="126296"/>
                        <a:pt x="797461" y="126555"/>
                      </a:cubicBezTo>
                      <a:lnTo>
                        <a:pt x="794751" y="126633"/>
                      </a:lnTo>
                      <a:lnTo>
                        <a:pt x="793103" y="124476"/>
                      </a:lnTo>
                      <a:cubicBezTo>
                        <a:pt x="785028" y="113926"/>
                        <a:pt x="768095" y="113893"/>
                        <a:pt x="752653" y="115310"/>
                      </a:cubicBezTo>
                      <a:lnTo>
                        <a:pt x="747330" y="115785"/>
                      </a:lnTo>
                      <a:lnTo>
                        <a:pt x="746897" y="110455"/>
                      </a:lnTo>
                      <a:cubicBezTo>
                        <a:pt x="745677" y="95256"/>
                        <a:pt x="741461" y="76604"/>
                        <a:pt x="728316" y="74049"/>
                      </a:cubicBezTo>
                      <a:cubicBezTo>
                        <a:pt x="723739" y="73157"/>
                        <a:pt x="718680" y="74457"/>
                        <a:pt x="713322" y="75852"/>
                      </a:cubicBezTo>
                      <a:cubicBezTo>
                        <a:pt x="711845" y="76236"/>
                        <a:pt x="710358" y="76620"/>
                        <a:pt x="708882" y="76957"/>
                      </a:cubicBezTo>
                      <a:cubicBezTo>
                        <a:pt x="698454" y="79372"/>
                        <a:pt x="687318" y="79703"/>
                        <a:pt x="676744" y="77916"/>
                      </a:cubicBezTo>
                      <a:cubicBezTo>
                        <a:pt x="665590" y="76025"/>
                        <a:pt x="657983" y="71230"/>
                        <a:pt x="654754" y="64055"/>
                      </a:cubicBezTo>
                      <a:cubicBezTo>
                        <a:pt x="652493" y="59077"/>
                        <a:pt x="652753" y="53732"/>
                        <a:pt x="652959" y="49446"/>
                      </a:cubicBezTo>
                      <a:lnTo>
                        <a:pt x="655089" y="5274"/>
                      </a:lnTo>
                      <a:cubicBezTo>
                        <a:pt x="640670" y="993"/>
                        <a:pt x="625299" y="-718"/>
                        <a:pt x="610287" y="274"/>
                      </a:cubicBezTo>
                      <a:cubicBezTo>
                        <a:pt x="605129" y="624"/>
                        <a:pt x="599982" y="1286"/>
                        <a:pt x="594868" y="2069"/>
                      </a:cubicBezTo>
                      <a:cubicBezTo>
                        <a:pt x="579644" y="4412"/>
                        <a:pt x="563836" y="8024"/>
                        <a:pt x="546871" y="12912"/>
                      </a:cubicBezTo>
                      <a:cubicBezTo>
                        <a:pt x="547029" y="13240"/>
                        <a:pt x="547265" y="13494"/>
                        <a:pt x="547410" y="13835"/>
                      </a:cubicBezTo>
                      <a:lnTo>
                        <a:pt x="537655" y="17940"/>
                      </a:lnTo>
                      <a:cubicBezTo>
                        <a:pt x="537109" y="16646"/>
                        <a:pt x="536279" y="15487"/>
                        <a:pt x="535317" y="14389"/>
                      </a:cubicBezTo>
                      <a:lnTo>
                        <a:pt x="526184" y="14961"/>
                      </a:lnTo>
                      <a:cubicBezTo>
                        <a:pt x="527228" y="20373"/>
                        <a:pt x="526743" y="26209"/>
                        <a:pt x="524686" y="31765"/>
                      </a:cubicBezTo>
                      <a:cubicBezTo>
                        <a:pt x="521664" y="39910"/>
                        <a:pt x="515672" y="46327"/>
                        <a:pt x="508248" y="49366"/>
                      </a:cubicBezTo>
                      <a:cubicBezTo>
                        <a:pt x="500835" y="52401"/>
                        <a:pt x="492040" y="52032"/>
                        <a:pt x="484181" y="48343"/>
                      </a:cubicBezTo>
                      <a:cubicBezTo>
                        <a:pt x="477310" y="45126"/>
                        <a:pt x="471944" y="39762"/>
                        <a:pt x="469082" y="33361"/>
                      </a:cubicBezTo>
                      <a:cubicBezTo>
                        <a:pt x="465633" y="32693"/>
                        <a:pt x="461973" y="32876"/>
                        <a:pt x="458567" y="33852"/>
                      </a:cubicBezTo>
                      <a:cubicBezTo>
                        <a:pt x="463366" y="51711"/>
                        <a:pt x="464263" y="70628"/>
                        <a:pt x="461131" y="88864"/>
                      </a:cubicBezTo>
                      <a:lnTo>
                        <a:pt x="460765" y="91012"/>
                      </a:lnTo>
                      <a:lnTo>
                        <a:pt x="458986" y="92278"/>
                      </a:lnTo>
                      <a:cubicBezTo>
                        <a:pt x="435507" y="109013"/>
                        <a:pt x="404938" y="109527"/>
                        <a:pt x="380376" y="109939"/>
                      </a:cubicBezTo>
                      <a:lnTo>
                        <a:pt x="342514" y="110581"/>
                      </a:lnTo>
                      <a:cubicBezTo>
                        <a:pt x="336206" y="110668"/>
                        <a:pt x="329081" y="110800"/>
                        <a:pt x="322228" y="108729"/>
                      </a:cubicBezTo>
                      <a:cubicBezTo>
                        <a:pt x="318341" y="107554"/>
                        <a:pt x="314871" y="105787"/>
                        <a:pt x="311508" y="104074"/>
                      </a:cubicBezTo>
                      <a:cubicBezTo>
                        <a:pt x="308621" y="102602"/>
                        <a:pt x="305891" y="101215"/>
                        <a:pt x="303101" y="100295"/>
                      </a:cubicBezTo>
                      <a:cubicBezTo>
                        <a:pt x="293428" y="97119"/>
                        <a:pt x="282874" y="99443"/>
                        <a:pt x="271735" y="101919"/>
                      </a:cubicBezTo>
                      <a:cubicBezTo>
                        <a:pt x="263545" y="103726"/>
                        <a:pt x="255015" y="105630"/>
                        <a:pt x="246470" y="105393"/>
                      </a:cubicBezTo>
                      <a:cubicBezTo>
                        <a:pt x="230591" y="105012"/>
                        <a:pt x="216605" y="97767"/>
                        <a:pt x="203077" y="90757"/>
                      </a:cubicBezTo>
                      <a:cubicBezTo>
                        <a:pt x="198560" y="88416"/>
                        <a:pt x="194053" y="86076"/>
                        <a:pt x="189486" y="84011"/>
                      </a:cubicBezTo>
                      <a:cubicBezTo>
                        <a:pt x="174066" y="77026"/>
                        <a:pt x="151936" y="73444"/>
                        <a:pt x="140427" y="86317"/>
                      </a:cubicBezTo>
                      <a:lnTo>
                        <a:pt x="129769" y="98230"/>
                      </a:lnTo>
                      <a:lnTo>
                        <a:pt x="131200" y="82313"/>
                      </a:lnTo>
                      <a:cubicBezTo>
                        <a:pt x="131231" y="82028"/>
                        <a:pt x="131297" y="81273"/>
                        <a:pt x="130006" y="80366"/>
                      </a:cubicBezTo>
                      <a:cubicBezTo>
                        <a:pt x="127990" y="78970"/>
                        <a:pt x="124792" y="78678"/>
                        <a:pt x="122690" y="79660"/>
                      </a:cubicBezTo>
                      <a:cubicBezTo>
                        <a:pt x="118877" y="81479"/>
                        <a:pt x="115958" y="85331"/>
                        <a:pt x="112875" y="89410"/>
                      </a:cubicBezTo>
                      <a:cubicBezTo>
                        <a:pt x="111769" y="90867"/>
                        <a:pt x="110662" y="92318"/>
                        <a:pt x="109515" y="93703"/>
                      </a:cubicBezTo>
                      <a:cubicBezTo>
                        <a:pt x="100807" y="104165"/>
                        <a:pt x="88646" y="111245"/>
                        <a:pt x="75396" y="113851"/>
                      </a:cubicBezTo>
                      <a:cubicBezTo>
                        <a:pt x="75263" y="114486"/>
                        <a:pt x="75141" y="115122"/>
                        <a:pt x="75136" y="115739"/>
                      </a:cubicBezTo>
                      <a:cubicBezTo>
                        <a:pt x="75072" y="122436"/>
                        <a:pt x="79310" y="129059"/>
                        <a:pt x="83402" y="135474"/>
                      </a:cubicBezTo>
                      <a:cubicBezTo>
                        <a:pt x="105799" y="170488"/>
                        <a:pt x="110510" y="198785"/>
                        <a:pt x="97396" y="219590"/>
                      </a:cubicBezTo>
                      <a:cubicBezTo>
                        <a:pt x="91232" y="229376"/>
                        <a:pt x="81931" y="235879"/>
                        <a:pt x="72936" y="242162"/>
                      </a:cubicBezTo>
                      <a:cubicBezTo>
                        <a:pt x="64994" y="247713"/>
                        <a:pt x="57494" y="252950"/>
                        <a:pt x="52356" y="260131"/>
                      </a:cubicBezTo>
                      <a:cubicBezTo>
                        <a:pt x="48764" y="265164"/>
                        <a:pt x="46306" y="271325"/>
                        <a:pt x="43932" y="277280"/>
                      </a:cubicBezTo>
                      <a:lnTo>
                        <a:pt x="34905" y="299895"/>
                      </a:lnTo>
                      <a:cubicBezTo>
                        <a:pt x="23373" y="328766"/>
                        <a:pt x="11454" y="358623"/>
                        <a:pt x="1534" y="388888"/>
                      </a:cubicBezTo>
                      <a:cubicBezTo>
                        <a:pt x="443" y="392247"/>
                        <a:pt x="-414" y="395222"/>
                        <a:pt x="212" y="397512"/>
                      </a:cubicBezTo>
                      <a:cubicBezTo>
                        <a:pt x="1053" y="400547"/>
                        <a:pt x="4680" y="403023"/>
                        <a:pt x="11315" y="405102"/>
                      </a:cubicBezTo>
                      <a:cubicBezTo>
                        <a:pt x="35335" y="412620"/>
                        <a:pt x="60807" y="413596"/>
                        <a:pt x="80314" y="413615"/>
                      </a:cubicBezTo>
                      <a:cubicBezTo>
                        <a:pt x="123434" y="413665"/>
                        <a:pt x="166051" y="408536"/>
                        <a:pt x="207690" y="398450"/>
                      </a:cubicBezTo>
                      <a:cubicBezTo>
                        <a:pt x="214731" y="396742"/>
                        <a:pt x="222251" y="394288"/>
                        <a:pt x="224724" y="388920"/>
                      </a:cubicBezTo>
                      <a:cubicBezTo>
                        <a:pt x="225313" y="387634"/>
                        <a:pt x="225685" y="386007"/>
                        <a:pt x="226086" y="384286"/>
                      </a:cubicBezTo>
                      <a:cubicBezTo>
                        <a:pt x="226706" y="381562"/>
                        <a:pt x="227418" y="378475"/>
                        <a:pt x="229236" y="375596"/>
                      </a:cubicBezTo>
                      <a:cubicBezTo>
                        <a:pt x="234704" y="366979"/>
                        <a:pt x="245179" y="366356"/>
                        <a:pt x="253594" y="365857"/>
                      </a:cubicBezTo>
                      <a:lnTo>
                        <a:pt x="255992" y="365705"/>
                      </a:lnTo>
                      <a:cubicBezTo>
                        <a:pt x="268449" y="364836"/>
                        <a:pt x="280226" y="360392"/>
                        <a:pt x="292698" y="355675"/>
                      </a:cubicBezTo>
                      <a:cubicBezTo>
                        <a:pt x="303619" y="351550"/>
                        <a:pt x="314923" y="347276"/>
                        <a:pt x="326877" y="345551"/>
                      </a:cubicBezTo>
                      <a:cubicBezTo>
                        <a:pt x="343986" y="343024"/>
                        <a:pt x="363854" y="349887"/>
                        <a:pt x="374899" y="362134"/>
                      </a:cubicBezTo>
                      <a:cubicBezTo>
                        <a:pt x="380635" y="368504"/>
                        <a:pt x="383556" y="375929"/>
                        <a:pt x="383449" y="383552"/>
                      </a:cubicBezTo>
                      <a:cubicBezTo>
                        <a:pt x="392010" y="383312"/>
                        <a:pt x="401272" y="383646"/>
                        <a:pt x="409964" y="387140"/>
                      </a:cubicBezTo>
                      <a:cubicBezTo>
                        <a:pt x="420556" y="391383"/>
                        <a:pt x="431373" y="402234"/>
                        <a:pt x="430080" y="416032"/>
                      </a:cubicBezTo>
                      <a:cubicBezTo>
                        <a:pt x="429793" y="419178"/>
                        <a:pt x="428905" y="422039"/>
                        <a:pt x="428047" y="424817"/>
                      </a:cubicBezTo>
                      <a:cubicBezTo>
                        <a:pt x="426935" y="428385"/>
                        <a:pt x="425975" y="431472"/>
                        <a:pt x="426658" y="434054"/>
                      </a:cubicBezTo>
                      <a:cubicBezTo>
                        <a:pt x="427361" y="436698"/>
                        <a:pt x="429914" y="439118"/>
                        <a:pt x="432621" y="441685"/>
                      </a:cubicBezTo>
                      <a:cubicBezTo>
                        <a:pt x="459955" y="467668"/>
                        <a:pt x="481690" y="499817"/>
                        <a:pt x="495562" y="534766"/>
                      </a:cubicBezTo>
                      <a:lnTo>
                        <a:pt x="492409" y="536017"/>
                      </a:lnTo>
                      <a:cubicBezTo>
                        <a:pt x="492494" y="536062"/>
                        <a:pt x="492595" y="536085"/>
                        <a:pt x="492679" y="536131"/>
                      </a:cubicBezTo>
                      <a:cubicBezTo>
                        <a:pt x="499430" y="539959"/>
                        <a:pt x="505389" y="546656"/>
                        <a:pt x="513144" y="546334"/>
                      </a:cubicBezTo>
                      <a:cubicBezTo>
                        <a:pt x="530243" y="545625"/>
                        <a:pt x="526649" y="518990"/>
                        <a:pt x="517462" y="504550"/>
                      </a:cubicBezTo>
                      <a:cubicBezTo>
                        <a:pt x="538738" y="496289"/>
                        <a:pt x="560018" y="488030"/>
                        <a:pt x="581296" y="479770"/>
                      </a:cubicBezTo>
                      <a:cubicBezTo>
                        <a:pt x="582237" y="465734"/>
                        <a:pt x="588615" y="452134"/>
                        <a:pt x="598803" y="442435"/>
                      </a:cubicBezTo>
                      <a:cubicBezTo>
                        <a:pt x="615479" y="464701"/>
                        <a:pt x="615286" y="498086"/>
                        <a:pt x="598353" y="520158"/>
                      </a:cubicBezTo>
                      <a:cubicBezTo>
                        <a:pt x="600780" y="533441"/>
                        <a:pt x="621304" y="530083"/>
                        <a:pt x="631611" y="521362"/>
                      </a:cubicBezTo>
                      <a:cubicBezTo>
                        <a:pt x="641920" y="512642"/>
                        <a:pt x="655867" y="501257"/>
                        <a:pt x="666871" y="509082"/>
                      </a:cubicBezTo>
                      <a:cubicBezTo>
                        <a:pt x="671366" y="512280"/>
                        <a:pt x="673437" y="517852"/>
                        <a:pt x="677042" y="522031"/>
                      </a:cubicBezTo>
                      <a:cubicBezTo>
                        <a:pt x="684045" y="530155"/>
                        <a:pt x="697374" y="531837"/>
                        <a:pt x="706177" y="525709"/>
                      </a:cubicBezTo>
                      <a:cubicBezTo>
                        <a:pt x="714980" y="519580"/>
                        <a:pt x="718029" y="506495"/>
                        <a:pt x="712841" y="497106"/>
                      </a:cubicBezTo>
                      <a:cubicBezTo>
                        <a:pt x="727412" y="484582"/>
                        <a:pt x="752855" y="488452"/>
                        <a:pt x="763046" y="504738"/>
                      </a:cubicBezTo>
                      <a:cubicBezTo>
                        <a:pt x="781563" y="495189"/>
                        <a:pt x="793345" y="473943"/>
                        <a:pt x="791638" y="453181"/>
                      </a:cubicBezTo>
                      <a:cubicBezTo>
                        <a:pt x="804418" y="451786"/>
                        <a:pt x="816916" y="463835"/>
                        <a:pt x="815989" y="476658"/>
                      </a:cubicBezTo>
                      <a:cubicBezTo>
                        <a:pt x="841877" y="480904"/>
                        <a:pt x="849022" y="432353"/>
                        <a:pt x="875229" y="431196"/>
                      </a:cubicBezTo>
                      <a:cubicBezTo>
                        <a:pt x="881084" y="430938"/>
                        <a:pt x="886854" y="433325"/>
                        <a:pt x="892690" y="432796"/>
                      </a:cubicBezTo>
                      <a:cubicBezTo>
                        <a:pt x="907004" y="431502"/>
                        <a:pt x="913607" y="415063"/>
                        <a:pt x="921570" y="403097"/>
                      </a:cubicBezTo>
                      <a:cubicBezTo>
                        <a:pt x="930340" y="389919"/>
                        <a:pt x="942966" y="381154"/>
                        <a:pt x="957320" y="374925"/>
                      </a:cubicBezTo>
                      <a:cubicBezTo>
                        <a:pt x="949940" y="361239"/>
                        <a:pt x="947407" y="344997"/>
                        <a:pt x="950675" y="329807"/>
                      </a:cubicBezTo>
                      <a:lnTo>
                        <a:pt x="951326" y="326815"/>
                      </a:lnTo>
                      <a:lnTo>
                        <a:pt x="954246" y="325884"/>
                      </a:lnTo>
                      <a:cubicBezTo>
                        <a:pt x="979393" y="317877"/>
                        <a:pt x="1002194" y="303421"/>
                        <a:pt x="1020170" y="284100"/>
                      </a:cubicBezTo>
                      <a:lnTo>
                        <a:pt x="1024530" y="279413"/>
                      </a:lnTo>
                      <a:lnTo>
                        <a:pt x="1028314" y="284586"/>
                      </a:lnTo>
                      <a:cubicBezTo>
                        <a:pt x="1028856" y="285318"/>
                        <a:pt x="1029399" y="285717"/>
                        <a:pt x="1030637" y="285491"/>
                      </a:cubicBezTo>
                      <a:cubicBezTo>
                        <a:pt x="1034065" y="284947"/>
                        <a:pt x="1039337" y="280326"/>
                        <a:pt x="1041006" y="275194"/>
                      </a:cubicBezTo>
                      <a:cubicBezTo>
                        <a:pt x="1044775" y="263560"/>
                        <a:pt x="1044118" y="250472"/>
                        <a:pt x="1039214" y="239270"/>
                      </a:cubicBezTo>
                      <a:close/>
                    </a:path>
                  </a:pathLst>
                </a:custGeom>
                <a:grpFill/>
                <a:ln w="164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s-ES_tradnl" sz="2400"/>
                </a:p>
              </p:txBody>
            </p:sp>
            <p:sp>
              <p:nvSpPr>
                <p:cNvPr id="141" name="Forma libre 140">
                  <a:extLst>
                    <a:ext uri="{FF2B5EF4-FFF2-40B4-BE49-F238E27FC236}">
                      <a16:creationId xmlns:a16="http://schemas.microsoft.com/office/drawing/2014/main" id="{3DDE7AC0-3EFB-8F49-AFDC-5B7921F821C7}"/>
                    </a:ext>
                  </a:extLst>
                </p:cNvPr>
                <p:cNvSpPr/>
                <p:nvPr/>
              </p:nvSpPr>
              <p:spPr>
                <a:xfrm>
                  <a:off x="4631049" y="2046597"/>
                  <a:ext cx="441193" cy="703396"/>
                </a:xfrm>
                <a:custGeom>
                  <a:avLst/>
                  <a:gdLst>
                    <a:gd name="connsiteX0" fmla="*/ 228739 w 441193"/>
                    <a:gd name="connsiteY0" fmla="*/ 47526 h 703396"/>
                    <a:gd name="connsiteX1" fmla="*/ 246298 w 441193"/>
                    <a:gd name="connsiteY1" fmla="*/ 66432 h 703396"/>
                    <a:gd name="connsiteX2" fmla="*/ 267604 w 441193"/>
                    <a:gd name="connsiteY2" fmla="*/ 51880 h 703396"/>
                    <a:gd name="connsiteX3" fmla="*/ 251517 w 441193"/>
                    <a:gd name="connsiteY3" fmla="*/ 36271 h 703396"/>
                    <a:gd name="connsiteX4" fmla="*/ 288075 w 441193"/>
                    <a:gd name="connsiteY4" fmla="*/ 37763 h 703396"/>
                    <a:gd name="connsiteX5" fmla="*/ 279338 w 441193"/>
                    <a:gd name="connsiteY5" fmla="*/ 0 h 703396"/>
                    <a:gd name="connsiteX6" fmla="*/ 332997 w 441193"/>
                    <a:gd name="connsiteY6" fmla="*/ 25737 h 703396"/>
                    <a:gd name="connsiteX7" fmla="*/ 365876 w 441193"/>
                    <a:gd name="connsiteY7" fmla="*/ 46021 h 703396"/>
                    <a:gd name="connsiteX8" fmla="*/ 290370 w 441193"/>
                    <a:gd name="connsiteY8" fmla="*/ 80845 h 703396"/>
                    <a:gd name="connsiteX9" fmla="*/ 281385 w 441193"/>
                    <a:gd name="connsiteY9" fmla="*/ 98486 h 703396"/>
                    <a:gd name="connsiteX10" fmla="*/ 315708 w 441193"/>
                    <a:gd name="connsiteY10" fmla="*/ 107417 h 703396"/>
                    <a:gd name="connsiteX11" fmla="*/ 372638 w 441193"/>
                    <a:gd name="connsiteY11" fmla="*/ 115437 h 703396"/>
                    <a:gd name="connsiteX12" fmla="*/ 387900 w 441193"/>
                    <a:gd name="connsiteY12" fmla="*/ 134291 h 703396"/>
                    <a:gd name="connsiteX13" fmla="*/ 384498 w 441193"/>
                    <a:gd name="connsiteY13" fmla="*/ 144361 h 703396"/>
                    <a:gd name="connsiteX14" fmla="*/ 354168 w 441193"/>
                    <a:gd name="connsiteY14" fmla="*/ 189179 h 703396"/>
                    <a:gd name="connsiteX15" fmla="*/ 303781 w 441193"/>
                    <a:gd name="connsiteY15" fmla="*/ 199596 h 703396"/>
                    <a:gd name="connsiteX16" fmla="*/ 298671 w 441193"/>
                    <a:gd name="connsiteY16" fmla="*/ 224448 h 703396"/>
                    <a:gd name="connsiteX17" fmla="*/ 278194 w 441193"/>
                    <a:gd name="connsiteY17" fmla="*/ 212766 h 703396"/>
                    <a:gd name="connsiteX18" fmla="*/ 261778 w 441193"/>
                    <a:gd name="connsiteY18" fmla="*/ 225661 h 703396"/>
                    <a:gd name="connsiteX19" fmla="*/ 295733 w 441193"/>
                    <a:gd name="connsiteY19" fmla="*/ 238014 h 703396"/>
                    <a:gd name="connsiteX20" fmla="*/ 324350 w 441193"/>
                    <a:gd name="connsiteY20" fmla="*/ 275893 h 703396"/>
                    <a:gd name="connsiteX21" fmla="*/ 317464 w 441193"/>
                    <a:gd name="connsiteY21" fmla="*/ 289691 h 703396"/>
                    <a:gd name="connsiteX22" fmla="*/ 351433 w 441193"/>
                    <a:gd name="connsiteY22" fmla="*/ 319016 h 703396"/>
                    <a:gd name="connsiteX23" fmla="*/ 370119 w 441193"/>
                    <a:gd name="connsiteY23" fmla="*/ 383178 h 703396"/>
                    <a:gd name="connsiteX24" fmla="*/ 374326 w 441193"/>
                    <a:gd name="connsiteY24" fmla="*/ 399264 h 703396"/>
                    <a:gd name="connsiteX25" fmla="*/ 367716 w 441193"/>
                    <a:gd name="connsiteY25" fmla="*/ 460272 h 703396"/>
                    <a:gd name="connsiteX26" fmla="*/ 347852 w 441193"/>
                    <a:gd name="connsiteY26" fmla="*/ 463281 h 703396"/>
                    <a:gd name="connsiteX27" fmla="*/ 377391 w 441193"/>
                    <a:gd name="connsiteY27" fmla="*/ 505467 h 703396"/>
                    <a:gd name="connsiteX28" fmla="*/ 373967 w 441193"/>
                    <a:gd name="connsiteY28" fmla="*/ 558876 h 703396"/>
                    <a:gd name="connsiteX29" fmla="*/ 420611 w 441193"/>
                    <a:gd name="connsiteY29" fmla="*/ 566227 h 703396"/>
                    <a:gd name="connsiteX30" fmla="*/ 439698 w 441193"/>
                    <a:gd name="connsiteY30" fmla="*/ 605464 h 703396"/>
                    <a:gd name="connsiteX31" fmla="*/ 359547 w 441193"/>
                    <a:gd name="connsiteY31" fmla="*/ 654645 h 703396"/>
                    <a:gd name="connsiteX32" fmla="*/ 389836 w 441193"/>
                    <a:gd name="connsiteY32" fmla="*/ 687125 h 703396"/>
                    <a:gd name="connsiteX33" fmla="*/ 313442 w 441193"/>
                    <a:gd name="connsiteY33" fmla="*/ 702999 h 703396"/>
                    <a:gd name="connsiteX34" fmla="*/ 256473 w 441193"/>
                    <a:gd name="connsiteY34" fmla="*/ 696085 h 703396"/>
                    <a:gd name="connsiteX35" fmla="*/ 187274 w 441193"/>
                    <a:gd name="connsiteY35" fmla="*/ 685467 h 703396"/>
                    <a:gd name="connsiteX36" fmla="*/ 167607 w 441193"/>
                    <a:gd name="connsiteY36" fmla="*/ 679339 h 703396"/>
                    <a:gd name="connsiteX37" fmla="*/ 141281 w 441193"/>
                    <a:gd name="connsiteY37" fmla="*/ 653449 h 703396"/>
                    <a:gd name="connsiteX38" fmla="*/ 77499 w 441193"/>
                    <a:gd name="connsiteY38" fmla="*/ 687757 h 703396"/>
                    <a:gd name="connsiteX39" fmla="*/ 39687 w 441193"/>
                    <a:gd name="connsiteY39" fmla="*/ 675163 h 703396"/>
                    <a:gd name="connsiteX40" fmla="*/ 0 w 441193"/>
                    <a:gd name="connsiteY40" fmla="*/ 665430 h 703396"/>
                    <a:gd name="connsiteX41" fmla="*/ 62950 w 441193"/>
                    <a:gd name="connsiteY41" fmla="*/ 642052 h 703396"/>
                    <a:gd name="connsiteX42" fmla="*/ 130114 w 441193"/>
                    <a:gd name="connsiteY42" fmla="*/ 627703 h 703396"/>
                    <a:gd name="connsiteX43" fmla="*/ 170988 w 441193"/>
                    <a:gd name="connsiteY43" fmla="*/ 628315 h 703396"/>
                    <a:gd name="connsiteX44" fmla="*/ 176279 w 441193"/>
                    <a:gd name="connsiteY44" fmla="*/ 596821 h 703396"/>
                    <a:gd name="connsiteX45" fmla="*/ 184279 w 441193"/>
                    <a:gd name="connsiteY45" fmla="*/ 579554 h 703396"/>
                    <a:gd name="connsiteX46" fmla="*/ 172792 w 441193"/>
                    <a:gd name="connsiteY46" fmla="*/ 596549 h 703396"/>
                    <a:gd name="connsiteX47" fmla="*/ 131560 w 441193"/>
                    <a:gd name="connsiteY47" fmla="*/ 584822 h 703396"/>
                    <a:gd name="connsiteX48" fmla="*/ 54147 w 441193"/>
                    <a:gd name="connsiteY48" fmla="*/ 540869 h 703396"/>
                    <a:gd name="connsiteX49" fmla="*/ 113843 w 441193"/>
                    <a:gd name="connsiteY49" fmla="*/ 543272 h 703396"/>
                    <a:gd name="connsiteX50" fmla="*/ 158044 w 441193"/>
                    <a:gd name="connsiteY50" fmla="*/ 507065 h 703396"/>
                    <a:gd name="connsiteX51" fmla="*/ 127631 w 441193"/>
                    <a:gd name="connsiteY51" fmla="*/ 466980 h 703396"/>
                    <a:gd name="connsiteX52" fmla="*/ 204005 w 441193"/>
                    <a:gd name="connsiteY52" fmla="*/ 456861 h 703396"/>
                    <a:gd name="connsiteX53" fmla="*/ 216932 w 441193"/>
                    <a:gd name="connsiteY53" fmla="*/ 472165 h 703396"/>
                    <a:gd name="connsiteX54" fmla="*/ 226301 w 441193"/>
                    <a:gd name="connsiteY54" fmla="*/ 439659 h 703396"/>
                    <a:gd name="connsiteX55" fmla="*/ 255848 w 441193"/>
                    <a:gd name="connsiteY55" fmla="*/ 398995 h 703396"/>
                    <a:gd name="connsiteX56" fmla="*/ 222798 w 441193"/>
                    <a:gd name="connsiteY56" fmla="*/ 359697 h 703396"/>
                    <a:gd name="connsiteX57" fmla="*/ 251395 w 441193"/>
                    <a:gd name="connsiteY57" fmla="*/ 327756 h 703396"/>
                    <a:gd name="connsiteX58" fmla="*/ 238704 w 441193"/>
                    <a:gd name="connsiteY58" fmla="*/ 307931 h 703396"/>
                    <a:gd name="connsiteX59" fmla="*/ 213323 w 441193"/>
                    <a:gd name="connsiteY59" fmla="*/ 306585 h 703396"/>
                    <a:gd name="connsiteX60" fmla="*/ 162736 w 441193"/>
                    <a:gd name="connsiteY60" fmla="*/ 311930 h 703396"/>
                    <a:gd name="connsiteX61" fmla="*/ 152930 w 441193"/>
                    <a:gd name="connsiteY61" fmla="*/ 311243 h 703396"/>
                    <a:gd name="connsiteX62" fmla="*/ 150114 w 441193"/>
                    <a:gd name="connsiteY62" fmla="*/ 291051 h 703396"/>
                    <a:gd name="connsiteX63" fmla="*/ 168685 w 441193"/>
                    <a:gd name="connsiteY63" fmla="*/ 277164 h 703396"/>
                    <a:gd name="connsiteX64" fmla="*/ 210084 w 441193"/>
                    <a:gd name="connsiteY64" fmla="*/ 207440 h 703396"/>
                    <a:gd name="connsiteX65" fmla="*/ 218518 w 441193"/>
                    <a:gd name="connsiteY65" fmla="*/ 124585 h 703396"/>
                    <a:gd name="connsiteX66" fmla="*/ 191305 w 441193"/>
                    <a:gd name="connsiteY66" fmla="*/ 109889 h 703396"/>
                    <a:gd name="connsiteX67" fmla="*/ 218112 w 441193"/>
                    <a:gd name="connsiteY67" fmla="*/ 85733 h 703396"/>
                    <a:gd name="connsiteX68" fmla="*/ 228739 w 441193"/>
                    <a:gd name="connsiteY68" fmla="*/ 47526 h 70339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</a:cxnLst>
                  <a:rect l="l" t="t" r="r" b="b"/>
                  <a:pathLst>
                    <a:path w="441193" h="703396">
                      <a:moveTo>
                        <a:pt x="228739" y="47526"/>
                      </a:moveTo>
                      <a:cubicBezTo>
                        <a:pt x="229093" y="56888"/>
                        <a:pt x="236987" y="65388"/>
                        <a:pt x="246298" y="66432"/>
                      </a:cubicBezTo>
                      <a:cubicBezTo>
                        <a:pt x="255607" y="67474"/>
                        <a:pt x="265187" y="60932"/>
                        <a:pt x="267604" y="51880"/>
                      </a:cubicBezTo>
                      <a:cubicBezTo>
                        <a:pt x="260772" y="48553"/>
                        <a:pt x="255048" y="42999"/>
                        <a:pt x="251517" y="36271"/>
                      </a:cubicBezTo>
                      <a:cubicBezTo>
                        <a:pt x="263705" y="36769"/>
                        <a:pt x="275889" y="37267"/>
                        <a:pt x="288075" y="37763"/>
                      </a:cubicBezTo>
                      <a:cubicBezTo>
                        <a:pt x="285162" y="25177"/>
                        <a:pt x="282251" y="12588"/>
                        <a:pt x="279338" y="0"/>
                      </a:cubicBezTo>
                      <a:cubicBezTo>
                        <a:pt x="293354" y="14646"/>
                        <a:pt x="312802" y="23973"/>
                        <a:pt x="332997" y="25737"/>
                      </a:cubicBezTo>
                      <a:cubicBezTo>
                        <a:pt x="347743" y="27025"/>
                        <a:pt x="369361" y="31631"/>
                        <a:pt x="365876" y="46021"/>
                      </a:cubicBezTo>
                      <a:cubicBezTo>
                        <a:pt x="337928" y="49483"/>
                        <a:pt x="311149" y="61834"/>
                        <a:pt x="290370" y="80845"/>
                      </a:cubicBezTo>
                      <a:cubicBezTo>
                        <a:pt x="285278" y="85502"/>
                        <a:pt x="280162" y="91694"/>
                        <a:pt x="281385" y="98486"/>
                      </a:cubicBezTo>
                      <a:cubicBezTo>
                        <a:pt x="283740" y="111553"/>
                        <a:pt x="302652" y="109820"/>
                        <a:pt x="315708" y="107417"/>
                      </a:cubicBezTo>
                      <a:cubicBezTo>
                        <a:pt x="334886" y="103886"/>
                        <a:pt x="355183" y="106746"/>
                        <a:pt x="372638" y="115437"/>
                      </a:cubicBezTo>
                      <a:cubicBezTo>
                        <a:pt x="380307" y="119257"/>
                        <a:pt x="388281" y="125731"/>
                        <a:pt x="387900" y="134291"/>
                      </a:cubicBezTo>
                      <a:cubicBezTo>
                        <a:pt x="387739" y="137859"/>
                        <a:pt x="386102" y="141171"/>
                        <a:pt x="384498" y="144361"/>
                      </a:cubicBezTo>
                      <a:cubicBezTo>
                        <a:pt x="376336" y="160581"/>
                        <a:pt x="367844" y="177233"/>
                        <a:pt x="354168" y="189179"/>
                      </a:cubicBezTo>
                      <a:cubicBezTo>
                        <a:pt x="340491" y="201124"/>
                        <a:pt x="320194" y="207366"/>
                        <a:pt x="303781" y="199596"/>
                      </a:cubicBezTo>
                      <a:cubicBezTo>
                        <a:pt x="302078" y="207880"/>
                        <a:pt x="300375" y="216164"/>
                        <a:pt x="298671" y="224448"/>
                      </a:cubicBezTo>
                      <a:cubicBezTo>
                        <a:pt x="292648" y="219207"/>
                        <a:pt x="286119" y="213732"/>
                        <a:pt x="278194" y="212766"/>
                      </a:cubicBezTo>
                      <a:cubicBezTo>
                        <a:pt x="270271" y="211798"/>
                        <a:pt x="261046" y="217712"/>
                        <a:pt x="261778" y="225661"/>
                      </a:cubicBezTo>
                      <a:cubicBezTo>
                        <a:pt x="262994" y="238876"/>
                        <a:pt x="282545" y="236547"/>
                        <a:pt x="295733" y="238014"/>
                      </a:cubicBezTo>
                      <a:cubicBezTo>
                        <a:pt x="313338" y="239972"/>
                        <a:pt x="327278" y="258425"/>
                        <a:pt x="324350" y="275893"/>
                      </a:cubicBezTo>
                      <a:cubicBezTo>
                        <a:pt x="326606" y="281272"/>
                        <a:pt x="323121" y="288259"/>
                        <a:pt x="317464" y="289691"/>
                      </a:cubicBezTo>
                      <a:cubicBezTo>
                        <a:pt x="333348" y="284858"/>
                        <a:pt x="345918" y="303356"/>
                        <a:pt x="351433" y="319016"/>
                      </a:cubicBezTo>
                      <a:cubicBezTo>
                        <a:pt x="358835" y="340033"/>
                        <a:pt x="364483" y="361619"/>
                        <a:pt x="370119" y="383178"/>
                      </a:cubicBezTo>
                      <a:cubicBezTo>
                        <a:pt x="371522" y="388539"/>
                        <a:pt x="372923" y="393901"/>
                        <a:pt x="374326" y="399264"/>
                      </a:cubicBezTo>
                      <a:cubicBezTo>
                        <a:pt x="379791" y="420161"/>
                        <a:pt x="383903" y="445969"/>
                        <a:pt x="367716" y="460272"/>
                      </a:cubicBezTo>
                      <a:cubicBezTo>
                        <a:pt x="361095" y="461275"/>
                        <a:pt x="354475" y="462279"/>
                        <a:pt x="347852" y="463281"/>
                      </a:cubicBezTo>
                      <a:cubicBezTo>
                        <a:pt x="364395" y="470192"/>
                        <a:pt x="374513" y="487770"/>
                        <a:pt x="377391" y="505467"/>
                      </a:cubicBezTo>
                      <a:cubicBezTo>
                        <a:pt x="380271" y="523163"/>
                        <a:pt x="377116" y="541223"/>
                        <a:pt x="373967" y="558876"/>
                      </a:cubicBezTo>
                      <a:cubicBezTo>
                        <a:pt x="389871" y="558810"/>
                        <a:pt x="406491" y="558911"/>
                        <a:pt x="420611" y="566227"/>
                      </a:cubicBezTo>
                      <a:cubicBezTo>
                        <a:pt x="434733" y="573543"/>
                        <a:pt x="445209" y="590545"/>
                        <a:pt x="439698" y="605464"/>
                      </a:cubicBezTo>
                      <a:cubicBezTo>
                        <a:pt x="428348" y="636190"/>
                        <a:pt x="371051" y="623976"/>
                        <a:pt x="359547" y="654645"/>
                      </a:cubicBezTo>
                      <a:cubicBezTo>
                        <a:pt x="353108" y="671817"/>
                        <a:pt x="372256" y="692353"/>
                        <a:pt x="389836" y="687125"/>
                      </a:cubicBezTo>
                      <a:cubicBezTo>
                        <a:pt x="367984" y="702113"/>
                        <a:pt x="339895" y="704533"/>
                        <a:pt x="313442" y="702999"/>
                      </a:cubicBezTo>
                      <a:cubicBezTo>
                        <a:pt x="294338" y="701893"/>
                        <a:pt x="275388" y="698985"/>
                        <a:pt x="256473" y="696085"/>
                      </a:cubicBezTo>
                      <a:cubicBezTo>
                        <a:pt x="233408" y="692546"/>
                        <a:pt x="210341" y="689006"/>
                        <a:pt x="187274" y="685467"/>
                      </a:cubicBezTo>
                      <a:cubicBezTo>
                        <a:pt x="180426" y="684417"/>
                        <a:pt x="173316" y="683266"/>
                        <a:pt x="167607" y="679339"/>
                      </a:cubicBezTo>
                      <a:cubicBezTo>
                        <a:pt x="157327" y="672270"/>
                        <a:pt x="153149" y="657300"/>
                        <a:pt x="141281" y="653449"/>
                      </a:cubicBezTo>
                      <a:cubicBezTo>
                        <a:pt x="117062" y="645588"/>
                        <a:pt x="102687" y="691494"/>
                        <a:pt x="77499" y="687757"/>
                      </a:cubicBezTo>
                      <a:cubicBezTo>
                        <a:pt x="76722" y="672415"/>
                        <a:pt x="54476" y="671013"/>
                        <a:pt x="39687" y="675163"/>
                      </a:cubicBezTo>
                      <a:cubicBezTo>
                        <a:pt x="24898" y="679314"/>
                        <a:pt x="3333" y="680424"/>
                        <a:pt x="0" y="665430"/>
                      </a:cubicBezTo>
                      <a:cubicBezTo>
                        <a:pt x="20984" y="657636"/>
                        <a:pt x="41965" y="649845"/>
                        <a:pt x="62950" y="642052"/>
                      </a:cubicBezTo>
                      <a:cubicBezTo>
                        <a:pt x="84594" y="634014"/>
                        <a:pt x="107100" y="625849"/>
                        <a:pt x="130114" y="627703"/>
                      </a:cubicBezTo>
                      <a:cubicBezTo>
                        <a:pt x="143851" y="628809"/>
                        <a:pt x="158177" y="633401"/>
                        <a:pt x="170988" y="628315"/>
                      </a:cubicBezTo>
                      <a:cubicBezTo>
                        <a:pt x="183799" y="623227"/>
                        <a:pt x="189238" y="601514"/>
                        <a:pt x="176279" y="596821"/>
                      </a:cubicBezTo>
                      <a:cubicBezTo>
                        <a:pt x="178944" y="591066"/>
                        <a:pt x="181610" y="585310"/>
                        <a:pt x="184279" y="579554"/>
                      </a:cubicBezTo>
                      <a:cubicBezTo>
                        <a:pt x="176130" y="579288"/>
                        <a:pt x="169506" y="589087"/>
                        <a:pt x="172792" y="596549"/>
                      </a:cubicBezTo>
                      <a:cubicBezTo>
                        <a:pt x="161766" y="608019"/>
                        <a:pt x="143541" y="595289"/>
                        <a:pt x="131560" y="584822"/>
                      </a:cubicBezTo>
                      <a:cubicBezTo>
                        <a:pt x="109124" y="565218"/>
                        <a:pt x="81404" y="552900"/>
                        <a:pt x="54147" y="540869"/>
                      </a:cubicBezTo>
                      <a:cubicBezTo>
                        <a:pt x="73919" y="544087"/>
                        <a:pt x="94220" y="547300"/>
                        <a:pt x="113843" y="543272"/>
                      </a:cubicBezTo>
                      <a:cubicBezTo>
                        <a:pt x="133466" y="539245"/>
                        <a:pt x="152567" y="526335"/>
                        <a:pt x="158044" y="507065"/>
                      </a:cubicBezTo>
                      <a:cubicBezTo>
                        <a:pt x="163565" y="487637"/>
                        <a:pt x="147341" y="462567"/>
                        <a:pt x="127631" y="466980"/>
                      </a:cubicBezTo>
                      <a:cubicBezTo>
                        <a:pt x="153090" y="463607"/>
                        <a:pt x="178549" y="460234"/>
                        <a:pt x="204005" y="456861"/>
                      </a:cubicBezTo>
                      <a:cubicBezTo>
                        <a:pt x="208315" y="461964"/>
                        <a:pt x="212624" y="467064"/>
                        <a:pt x="216932" y="472165"/>
                      </a:cubicBezTo>
                      <a:cubicBezTo>
                        <a:pt x="229438" y="470662"/>
                        <a:pt x="226869" y="452241"/>
                        <a:pt x="226301" y="439659"/>
                      </a:cubicBezTo>
                      <a:cubicBezTo>
                        <a:pt x="225483" y="421586"/>
                        <a:pt x="238406" y="403801"/>
                        <a:pt x="255848" y="398995"/>
                      </a:cubicBezTo>
                      <a:cubicBezTo>
                        <a:pt x="241725" y="388636"/>
                        <a:pt x="226594" y="376796"/>
                        <a:pt x="222798" y="359697"/>
                      </a:cubicBezTo>
                      <a:cubicBezTo>
                        <a:pt x="218999" y="342598"/>
                        <a:pt x="235060" y="321437"/>
                        <a:pt x="251395" y="327756"/>
                      </a:cubicBezTo>
                      <a:cubicBezTo>
                        <a:pt x="253312" y="319415"/>
                        <a:pt x="246685" y="311028"/>
                        <a:pt x="238704" y="307931"/>
                      </a:cubicBezTo>
                      <a:cubicBezTo>
                        <a:pt x="230727" y="304835"/>
                        <a:pt x="221835" y="305687"/>
                        <a:pt x="213323" y="306585"/>
                      </a:cubicBezTo>
                      <a:cubicBezTo>
                        <a:pt x="196460" y="308368"/>
                        <a:pt x="179599" y="310148"/>
                        <a:pt x="162736" y="311930"/>
                      </a:cubicBezTo>
                      <a:cubicBezTo>
                        <a:pt x="159437" y="312278"/>
                        <a:pt x="155955" y="312601"/>
                        <a:pt x="152930" y="311243"/>
                      </a:cubicBezTo>
                      <a:cubicBezTo>
                        <a:pt x="145826" y="308053"/>
                        <a:pt x="145559" y="297365"/>
                        <a:pt x="150114" y="291051"/>
                      </a:cubicBezTo>
                      <a:cubicBezTo>
                        <a:pt x="154671" y="284737"/>
                        <a:pt x="162142" y="281382"/>
                        <a:pt x="168685" y="277164"/>
                      </a:cubicBezTo>
                      <a:cubicBezTo>
                        <a:pt x="192032" y="262114"/>
                        <a:pt x="204650" y="234679"/>
                        <a:pt x="210084" y="207440"/>
                      </a:cubicBezTo>
                      <a:cubicBezTo>
                        <a:pt x="215518" y="180201"/>
                        <a:pt x="214969" y="152134"/>
                        <a:pt x="218518" y="124585"/>
                      </a:cubicBezTo>
                      <a:cubicBezTo>
                        <a:pt x="207609" y="129047"/>
                        <a:pt x="193551" y="121457"/>
                        <a:pt x="191305" y="109889"/>
                      </a:cubicBezTo>
                      <a:cubicBezTo>
                        <a:pt x="208104" y="110465"/>
                        <a:pt x="213381" y="98276"/>
                        <a:pt x="218112" y="85733"/>
                      </a:cubicBezTo>
                      <a:cubicBezTo>
                        <a:pt x="219032" y="83295"/>
                        <a:pt x="228780" y="48603"/>
                        <a:pt x="228739" y="47526"/>
                      </a:cubicBezTo>
                      <a:close/>
                    </a:path>
                  </a:pathLst>
                </a:custGeom>
                <a:grpFill/>
                <a:ln w="164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s-ES_tradnl" sz="2400"/>
                </a:p>
              </p:txBody>
            </p:sp>
            <p:grpSp>
              <p:nvGrpSpPr>
                <p:cNvPr id="142" name="Gráfico 16">
                  <a:extLst>
                    <a:ext uri="{FF2B5EF4-FFF2-40B4-BE49-F238E27FC236}">
                      <a16:creationId xmlns:a16="http://schemas.microsoft.com/office/drawing/2014/main" id="{E6849DC2-A35C-4345-BFDC-4AB822F486A3}"/>
                    </a:ext>
                  </a:extLst>
                </p:cNvPr>
                <p:cNvGrpSpPr/>
                <p:nvPr/>
              </p:nvGrpSpPr>
              <p:grpSpPr>
                <a:xfrm>
                  <a:off x="5392482" y="1122392"/>
                  <a:ext cx="999048" cy="1387973"/>
                  <a:chOff x="5392482" y="1122392"/>
                  <a:chExt cx="999048" cy="1387973"/>
                </a:xfrm>
                <a:grpFill/>
              </p:grpSpPr>
              <p:sp>
                <p:nvSpPr>
                  <p:cNvPr id="233" name="Forma libre 232">
                    <a:extLst>
                      <a:ext uri="{FF2B5EF4-FFF2-40B4-BE49-F238E27FC236}">
                        <a16:creationId xmlns:a16="http://schemas.microsoft.com/office/drawing/2014/main" id="{59429DDE-6C88-3C40-A953-5320FA1EBA6A}"/>
                      </a:ext>
                    </a:extLst>
                  </p:cNvPr>
                  <p:cNvSpPr/>
                  <p:nvPr/>
                </p:nvSpPr>
                <p:spPr>
                  <a:xfrm>
                    <a:off x="5392482" y="1122392"/>
                    <a:ext cx="999048" cy="1114474"/>
                  </a:xfrm>
                  <a:custGeom>
                    <a:avLst/>
                    <a:gdLst>
                      <a:gd name="connsiteX0" fmla="*/ 991889 w 999048"/>
                      <a:gd name="connsiteY0" fmla="*/ 58064 h 1114474"/>
                      <a:gd name="connsiteX1" fmla="*/ 987733 w 999048"/>
                      <a:gd name="connsiteY1" fmla="*/ 44063 h 1114474"/>
                      <a:gd name="connsiteX2" fmla="*/ 945414 w 999048"/>
                      <a:gd name="connsiteY2" fmla="*/ 30113 h 1114474"/>
                      <a:gd name="connsiteX3" fmla="*/ 913615 w 999048"/>
                      <a:gd name="connsiteY3" fmla="*/ 60878 h 1114474"/>
                      <a:gd name="connsiteX4" fmla="*/ 883671 w 999048"/>
                      <a:gd name="connsiteY4" fmla="*/ 55822 h 1114474"/>
                      <a:gd name="connsiteX5" fmla="*/ 909159 w 999048"/>
                      <a:gd name="connsiteY5" fmla="*/ 0 h 1114474"/>
                      <a:gd name="connsiteX6" fmla="*/ 867399 w 999048"/>
                      <a:gd name="connsiteY6" fmla="*/ 68587 h 1114474"/>
                      <a:gd name="connsiteX7" fmla="*/ 849775 w 999048"/>
                      <a:gd name="connsiteY7" fmla="*/ 37127 h 1114474"/>
                      <a:gd name="connsiteX8" fmla="*/ 826807 w 999048"/>
                      <a:gd name="connsiteY8" fmla="*/ 64562 h 1114474"/>
                      <a:gd name="connsiteX9" fmla="*/ 842068 w 999048"/>
                      <a:gd name="connsiteY9" fmla="*/ 16377 h 1114474"/>
                      <a:gd name="connsiteX10" fmla="*/ 796101 w 999048"/>
                      <a:gd name="connsiteY10" fmla="*/ 39224 h 1114474"/>
                      <a:gd name="connsiteX11" fmla="*/ 760926 w 999048"/>
                      <a:gd name="connsiteY11" fmla="*/ 80834 h 1114474"/>
                      <a:gd name="connsiteX12" fmla="*/ 707188 w 999048"/>
                      <a:gd name="connsiteY12" fmla="*/ 94967 h 1114474"/>
                      <a:gd name="connsiteX13" fmla="*/ 700387 w 999048"/>
                      <a:gd name="connsiteY13" fmla="*/ 137350 h 1114474"/>
                      <a:gd name="connsiteX14" fmla="*/ 631108 w 999048"/>
                      <a:gd name="connsiteY14" fmla="*/ 150713 h 1114474"/>
                      <a:gd name="connsiteX15" fmla="*/ 654447 w 999048"/>
                      <a:gd name="connsiteY15" fmla="*/ 182771 h 1114474"/>
                      <a:gd name="connsiteX16" fmla="*/ 587882 w 999048"/>
                      <a:gd name="connsiteY16" fmla="*/ 198887 h 1114474"/>
                      <a:gd name="connsiteX17" fmla="*/ 573354 w 999048"/>
                      <a:gd name="connsiteY17" fmla="*/ 227702 h 1114474"/>
                      <a:gd name="connsiteX18" fmla="*/ 551374 w 999048"/>
                      <a:gd name="connsiteY18" fmla="*/ 282968 h 1114474"/>
                      <a:gd name="connsiteX19" fmla="*/ 509565 w 999048"/>
                      <a:gd name="connsiteY19" fmla="*/ 338495 h 1114474"/>
                      <a:gd name="connsiteX20" fmla="*/ 484065 w 999048"/>
                      <a:gd name="connsiteY20" fmla="*/ 326596 h 1114474"/>
                      <a:gd name="connsiteX21" fmla="*/ 422722 w 999048"/>
                      <a:gd name="connsiteY21" fmla="*/ 403184 h 1114474"/>
                      <a:gd name="connsiteX22" fmla="*/ 424231 w 999048"/>
                      <a:gd name="connsiteY22" fmla="*/ 429957 h 1114474"/>
                      <a:gd name="connsiteX23" fmla="*/ 398787 w 999048"/>
                      <a:gd name="connsiteY23" fmla="*/ 454235 h 1114474"/>
                      <a:gd name="connsiteX24" fmla="*/ 343532 w 999048"/>
                      <a:gd name="connsiteY24" fmla="*/ 584326 h 1114474"/>
                      <a:gd name="connsiteX25" fmla="*/ 317932 w 999048"/>
                      <a:gd name="connsiteY25" fmla="*/ 570589 h 1114474"/>
                      <a:gd name="connsiteX26" fmla="*/ 285536 w 999048"/>
                      <a:gd name="connsiteY26" fmla="*/ 605217 h 1114474"/>
                      <a:gd name="connsiteX27" fmla="*/ 143223 w 999048"/>
                      <a:gd name="connsiteY27" fmla="*/ 721988 h 1114474"/>
                      <a:gd name="connsiteX28" fmla="*/ 69046 w 999048"/>
                      <a:gd name="connsiteY28" fmla="*/ 740451 h 1114474"/>
                      <a:gd name="connsiteX29" fmla="*/ 28824 w 999048"/>
                      <a:gd name="connsiteY29" fmla="*/ 823829 h 1114474"/>
                      <a:gd name="connsiteX30" fmla="*/ 35597 w 999048"/>
                      <a:gd name="connsiteY30" fmla="*/ 856734 h 1114474"/>
                      <a:gd name="connsiteX31" fmla="*/ 15614 w 999048"/>
                      <a:gd name="connsiteY31" fmla="*/ 908075 h 1114474"/>
                      <a:gd name="connsiteX32" fmla="*/ 39739 w 999048"/>
                      <a:gd name="connsiteY32" fmla="*/ 909669 h 1114474"/>
                      <a:gd name="connsiteX33" fmla="*/ 4099 w 999048"/>
                      <a:gd name="connsiteY33" fmla="*/ 963211 h 1114474"/>
                      <a:gd name="connsiteX34" fmla="*/ 27034 w 999048"/>
                      <a:gd name="connsiteY34" fmla="*/ 984041 h 1114474"/>
                      <a:gd name="connsiteX35" fmla="*/ 1 w 999048"/>
                      <a:gd name="connsiteY35" fmla="*/ 1041163 h 1114474"/>
                      <a:gd name="connsiteX36" fmla="*/ 19394 w 999048"/>
                      <a:gd name="connsiteY36" fmla="*/ 1075033 h 1114474"/>
                      <a:gd name="connsiteX37" fmla="*/ 66182 w 999048"/>
                      <a:gd name="connsiteY37" fmla="*/ 1110043 h 1114474"/>
                      <a:gd name="connsiteX38" fmla="*/ 121312 w 999048"/>
                      <a:gd name="connsiteY38" fmla="*/ 1102536 h 1114474"/>
                      <a:gd name="connsiteX39" fmla="*/ 151576 w 999048"/>
                      <a:gd name="connsiteY39" fmla="*/ 1062601 h 1114474"/>
                      <a:gd name="connsiteX40" fmla="*/ 182554 w 999048"/>
                      <a:gd name="connsiteY40" fmla="*/ 1053232 h 1114474"/>
                      <a:gd name="connsiteX41" fmla="*/ 232772 w 999048"/>
                      <a:gd name="connsiteY41" fmla="*/ 981085 h 1114474"/>
                      <a:gd name="connsiteX42" fmla="*/ 263319 w 999048"/>
                      <a:gd name="connsiteY42" fmla="*/ 953290 h 1114474"/>
                      <a:gd name="connsiteX43" fmla="*/ 269408 w 999048"/>
                      <a:gd name="connsiteY43" fmla="*/ 973587 h 1114474"/>
                      <a:gd name="connsiteX44" fmla="*/ 268373 w 999048"/>
                      <a:gd name="connsiteY44" fmla="*/ 1042269 h 1114474"/>
                      <a:gd name="connsiteX45" fmla="*/ 268610 w 999048"/>
                      <a:gd name="connsiteY45" fmla="*/ 1053577 h 1114474"/>
                      <a:gd name="connsiteX46" fmla="*/ 294590 w 999048"/>
                      <a:gd name="connsiteY46" fmla="*/ 985391 h 1114474"/>
                      <a:gd name="connsiteX47" fmla="*/ 308430 w 999048"/>
                      <a:gd name="connsiteY47" fmla="*/ 962156 h 1114474"/>
                      <a:gd name="connsiteX48" fmla="*/ 330898 w 999048"/>
                      <a:gd name="connsiteY48" fmla="*/ 956971 h 1114474"/>
                      <a:gd name="connsiteX49" fmla="*/ 355400 w 999048"/>
                      <a:gd name="connsiteY49" fmla="*/ 838334 h 1114474"/>
                      <a:gd name="connsiteX50" fmla="*/ 329358 w 999048"/>
                      <a:gd name="connsiteY50" fmla="*/ 803163 h 1114474"/>
                      <a:gd name="connsiteX51" fmla="*/ 332919 w 999048"/>
                      <a:gd name="connsiteY51" fmla="*/ 790599 h 1114474"/>
                      <a:gd name="connsiteX52" fmla="*/ 335682 w 999048"/>
                      <a:gd name="connsiteY52" fmla="*/ 781850 h 1114474"/>
                      <a:gd name="connsiteX53" fmla="*/ 328366 w 999048"/>
                      <a:gd name="connsiteY53" fmla="*/ 759243 h 1114474"/>
                      <a:gd name="connsiteX54" fmla="*/ 322628 w 999048"/>
                      <a:gd name="connsiteY54" fmla="*/ 747852 h 1114474"/>
                      <a:gd name="connsiteX55" fmla="*/ 326077 w 999048"/>
                      <a:gd name="connsiteY55" fmla="*/ 717350 h 1114474"/>
                      <a:gd name="connsiteX56" fmla="*/ 334317 w 999048"/>
                      <a:gd name="connsiteY56" fmla="*/ 711440 h 1114474"/>
                      <a:gd name="connsiteX57" fmla="*/ 341788 w 999048"/>
                      <a:gd name="connsiteY57" fmla="*/ 653287 h 1114474"/>
                      <a:gd name="connsiteX58" fmla="*/ 373421 w 999048"/>
                      <a:gd name="connsiteY58" fmla="*/ 627400 h 1114474"/>
                      <a:gd name="connsiteX59" fmla="*/ 412524 w 999048"/>
                      <a:gd name="connsiteY59" fmla="*/ 624324 h 1114474"/>
                      <a:gd name="connsiteX60" fmla="*/ 434783 w 999048"/>
                      <a:gd name="connsiteY60" fmla="*/ 608265 h 1114474"/>
                      <a:gd name="connsiteX61" fmla="*/ 401314 w 999048"/>
                      <a:gd name="connsiteY61" fmla="*/ 571308 h 1114474"/>
                      <a:gd name="connsiteX62" fmla="*/ 408233 w 999048"/>
                      <a:gd name="connsiteY62" fmla="*/ 568423 h 1114474"/>
                      <a:gd name="connsiteX63" fmla="*/ 443165 w 999048"/>
                      <a:gd name="connsiteY63" fmla="*/ 525511 h 1114474"/>
                      <a:gd name="connsiteX64" fmla="*/ 444915 w 999048"/>
                      <a:gd name="connsiteY64" fmla="*/ 505143 h 1114474"/>
                      <a:gd name="connsiteX65" fmla="*/ 454818 w 999048"/>
                      <a:gd name="connsiteY65" fmla="*/ 464328 h 1114474"/>
                      <a:gd name="connsiteX66" fmla="*/ 477408 w 999048"/>
                      <a:gd name="connsiteY66" fmla="*/ 445872 h 1114474"/>
                      <a:gd name="connsiteX67" fmla="*/ 499285 w 999048"/>
                      <a:gd name="connsiteY67" fmla="*/ 423167 h 1114474"/>
                      <a:gd name="connsiteX68" fmla="*/ 499728 w 999048"/>
                      <a:gd name="connsiteY68" fmla="*/ 418622 h 1114474"/>
                      <a:gd name="connsiteX69" fmla="*/ 501367 w 999048"/>
                      <a:gd name="connsiteY69" fmla="*/ 408959 h 1114474"/>
                      <a:gd name="connsiteX70" fmla="*/ 523657 w 999048"/>
                      <a:gd name="connsiteY70" fmla="*/ 391391 h 1114474"/>
                      <a:gd name="connsiteX71" fmla="*/ 538939 w 999048"/>
                      <a:gd name="connsiteY71" fmla="*/ 379439 h 1114474"/>
                      <a:gd name="connsiteX72" fmla="*/ 536170 w 999048"/>
                      <a:gd name="connsiteY72" fmla="*/ 370166 h 1114474"/>
                      <a:gd name="connsiteX73" fmla="*/ 532518 w 999048"/>
                      <a:gd name="connsiteY73" fmla="*/ 359602 h 1114474"/>
                      <a:gd name="connsiteX74" fmla="*/ 559656 w 999048"/>
                      <a:gd name="connsiteY74" fmla="*/ 323706 h 1114474"/>
                      <a:gd name="connsiteX75" fmla="*/ 574911 w 999048"/>
                      <a:gd name="connsiteY75" fmla="*/ 304757 h 1114474"/>
                      <a:gd name="connsiteX76" fmla="*/ 573162 w 999048"/>
                      <a:gd name="connsiteY76" fmla="*/ 297860 h 1114474"/>
                      <a:gd name="connsiteX77" fmla="*/ 567896 w 999048"/>
                      <a:gd name="connsiteY77" fmla="*/ 291467 h 1114474"/>
                      <a:gd name="connsiteX78" fmla="*/ 575907 w 999048"/>
                      <a:gd name="connsiteY78" fmla="*/ 289370 h 1114474"/>
                      <a:gd name="connsiteX79" fmla="*/ 604146 w 999048"/>
                      <a:gd name="connsiteY79" fmla="*/ 292002 h 1114474"/>
                      <a:gd name="connsiteX80" fmla="*/ 624631 w 999048"/>
                      <a:gd name="connsiteY80" fmla="*/ 260990 h 1114474"/>
                      <a:gd name="connsiteX81" fmla="*/ 625982 w 999048"/>
                      <a:gd name="connsiteY81" fmla="*/ 252788 h 1114474"/>
                      <a:gd name="connsiteX82" fmla="*/ 632843 w 999048"/>
                      <a:gd name="connsiteY82" fmla="*/ 257478 h 1114474"/>
                      <a:gd name="connsiteX83" fmla="*/ 638365 w 999048"/>
                      <a:gd name="connsiteY83" fmla="*/ 258120 h 1114474"/>
                      <a:gd name="connsiteX84" fmla="*/ 648565 w 999048"/>
                      <a:gd name="connsiteY84" fmla="*/ 248518 h 1114474"/>
                      <a:gd name="connsiteX85" fmla="*/ 651977 w 999048"/>
                      <a:gd name="connsiteY85" fmla="*/ 236009 h 1114474"/>
                      <a:gd name="connsiteX86" fmla="*/ 656928 w 999048"/>
                      <a:gd name="connsiteY86" fmla="*/ 219537 h 1114474"/>
                      <a:gd name="connsiteX87" fmla="*/ 674631 w 999048"/>
                      <a:gd name="connsiteY87" fmla="*/ 205811 h 1114474"/>
                      <a:gd name="connsiteX88" fmla="*/ 676454 w 999048"/>
                      <a:gd name="connsiteY88" fmla="*/ 178727 h 1114474"/>
                      <a:gd name="connsiteX89" fmla="*/ 689474 w 999048"/>
                      <a:gd name="connsiteY89" fmla="*/ 174498 h 1114474"/>
                      <a:gd name="connsiteX90" fmla="*/ 714443 w 999048"/>
                      <a:gd name="connsiteY90" fmla="*/ 191315 h 1114474"/>
                      <a:gd name="connsiteX91" fmla="*/ 716072 w 999048"/>
                      <a:gd name="connsiteY91" fmla="*/ 193465 h 1114474"/>
                      <a:gd name="connsiteX92" fmla="*/ 735770 w 999048"/>
                      <a:gd name="connsiteY92" fmla="*/ 214888 h 1114474"/>
                      <a:gd name="connsiteX93" fmla="*/ 762225 w 999048"/>
                      <a:gd name="connsiteY93" fmla="*/ 219832 h 1114474"/>
                      <a:gd name="connsiteX94" fmla="*/ 765596 w 999048"/>
                      <a:gd name="connsiteY94" fmla="*/ 218414 h 1114474"/>
                      <a:gd name="connsiteX95" fmla="*/ 768117 w 999048"/>
                      <a:gd name="connsiteY95" fmla="*/ 221063 h 1114474"/>
                      <a:gd name="connsiteX96" fmla="*/ 787683 w 999048"/>
                      <a:gd name="connsiteY96" fmla="*/ 227567 h 1114474"/>
                      <a:gd name="connsiteX97" fmla="*/ 801647 w 999048"/>
                      <a:gd name="connsiteY97" fmla="*/ 222001 h 1114474"/>
                      <a:gd name="connsiteX98" fmla="*/ 834797 w 999048"/>
                      <a:gd name="connsiteY98" fmla="*/ 198828 h 1114474"/>
                      <a:gd name="connsiteX99" fmla="*/ 839707 w 999048"/>
                      <a:gd name="connsiteY99" fmla="*/ 165093 h 1114474"/>
                      <a:gd name="connsiteX100" fmla="*/ 838304 w 999048"/>
                      <a:gd name="connsiteY100" fmla="*/ 163019 h 1114474"/>
                      <a:gd name="connsiteX101" fmla="*/ 834287 w 999048"/>
                      <a:gd name="connsiteY101" fmla="*/ 155520 h 1114474"/>
                      <a:gd name="connsiteX102" fmla="*/ 835358 w 999048"/>
                      <a:gd name="connsiteY102" fmla="*/ 141260 h 1114474"/>
                      <a:gd name="connsiteX103" fmla="*/ 854920 w 999048"/>
                      <a:gd name="connsiteY103" fmla="*/ 103124 h 1114474"/>
                      <a:gd name="connsiteX104" fmla="*/ 860459 w 999048"/>
                      <a:gd name="connsiteY104" fmla="*/ 95733 h 1114474"/>
                      <a:gd name="connsiteX105" fmla="*/ 864040 w 999048"/>
                      <a:gd name="connsiteY105" fmla="*/ 104238 h 1114474"/>
                      <a:gd name="connsiteX106" fmla="*/ 875262 w 999048"/>
                      <a:gd name="connsiteY106" fmla="*/ 112346 h 1114474"/>
                      <a:gd name="connsiteX107" fmla="*/ 888575 w 999048"/>
                      <a:gd name="connsiteY107" fmla="*/ 108668 h 1114474"/>
                      <a:gd name="connsiteX108" fmla="*/ 891538 w 999048"/>
                      <a:gd name="connsiteY108" fmla="*/ 104865 h 1114474"/>
                      <a:gd name="connsiteX109" fmla="*/ 896170 w 999048"/>
                      <a:gd name="connsiteY109" fmla="*/ 99184 h 1114474"/>
                      <a:gd name="connsiteX110" fmla="*/ 921261 w 999048"/>
                      <a:gd name="connsiteY110" fmla="*/ 94874 h 1114474"/>
                      <a:gd name="connsiteX111" fmla="*/ 923815 w 999048"/>
                      <a:gd name="connsiteY111" fmla="*/ 96035 h 1114474"/>
                      <a:gd name="connsiteX112" fmla="*/ 926581 w 999048"/>
                      <a:gd name="connsiteY112" fmla="*/ 111843 h 1114474"/>
                      <a:gd name="connsiteX113" fmla="*/ 948916 w 999048"/>
                      <a:gd name="connsiteY113" fmla="*/ 124781 h 1114474"/>
                      <a:gd name="connsiteX114" fmla="*/ 953326 w 999048"/>
                      <a:gd name="connsiteY114" fmla="*/ 142266 h 1114474"/>
                      <a:gd name="connsiteX115" fmla="*/ 999048 w 999048"/>
                      <a:gd name="connsiteY115" fmla="*/ 120178 h 1114474"/>
                      <a:gd name="connsiteX116" fmla="*/ 991889 w 999048"/>
                      <a:gd name="connsiteY116" fmla="*/ 58064 h 111447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  <a:cxn ang="0">
                        <a:pos x="connsiteX25" y="connsiteY25"/>
                      </a:cxn>
                      <a:cxn ang="0">
                        <a:pos x="connsiteX26" y="connsiteY26"/>
                      </a:cxn>
                      <a:cxn ang="0">
                        <a:pos x="connsiteX27" y="connsiteY27"/>
                      </a:cxn>
                      <a:cxn ang="0">
                        <a:pos x="connsiteX28" y="connsiteY28"/>
                      </a:cxn>
                      <a:cxn ang="0">
                        <a:pos x="connsiteX29" y="connsiteY29"/>
                      </a:cxn>
                      <a:cxn ang="0">
                        <a:pos x="connsiteX30" y="connsiteY30"/>
                      </a:cxn>
                      <a:cxn ang="0">
                        <a:pos x="connsiteX31" y="connsiteY31"/>
                      </a:cxn>
                      <a:cxn ang="0">
                        <a:pos x="connsiteX32" y="connsiteY32"/>
                      </a:cxn>
                      <a:cxn ang="0">
                        <a:pos x="connsiteX33" y="connsiteY33"/>
                      </a:cxn>
                      <a:cxn ang="0">
                        <a:pos x="connsiteX34" y="connsiteY34"/>
                      </a:cxn>
                      <a:cxn ang="0">
                        <a:pos x="connsiteX35" y="connsiteY35"/>
                      </a:cxn>
                      <a:cxn ang="0">
                        <a:pos x="connsiteX36" y="connsiteY36"/>
                      </a:cxn>
                      <a:cxn ang="0">
                        <a:pos x="connsiteX37" y="connsiteY37"/>
                      </a:cxn>
                      <a:cxn ang="0">
                        <a:pos x="connsiteX38" y="connsiteY38"/>
                      </a:cxn>
                      <a:cxn ang="0">
                        <a:pos x="connsiteX39" y="connsiteY39"/>
                      </a:cxn>
                      <a:cxn ang="0">
                        <a:pos x="connsiteX40" y="connsiteY40"/>
                      </a:cxn>
                      <a:cxn ang="0">
                        <a:pos x="connsiteX41" y="connsiteY41"/>
                      </a:cxn>
                      <a:cxn ang="0">
                        <a:pos x="connsiteX42" y="connsiteY42"/>
                      </a:cxn>
                      <a:cxn ang="0">
                        <a:pos x="connsiteX43" y="connsiteY43"/>
                      </a:cxn>
                      <a:cxn ang="0">
                        <a:pos x="connsiteX44" y="connsiteY44"/>
                      </a:cxn>
                      <a:cxn ang="0">
                        <a:pos x="connsiteX45" y="connsiteY45"/>
                      </a:cxn>
                      <a:cxn ang="0">
                        <a:pos x="connsiteX46" y="connsiteY46"/>
                      </a:cxn>
                      <a:cxn ang="0">
                        <a:pos x="connsiteX47" y="connsiteY47"/>
                      </a:cxn>
                      <a:cxn ang="0">
                        <a:pos x="connsiteX48" y="connsiteY48"/>
                      </a:cxn>
                      <a:cxn ang="0">
                        <a:pos x="connsiteX49" y="connsiteY49"/>
                      </a:cxn>
                      <a:cxn ang="0">
                        <a:pos x="connsiteX50" y="connsiteY50"/>
                      </a:cxn>
                      <a:cxn ang="0">
                        <a:pos x="connsiteX51" y="connsiteY51"/>
                      </a:cxn>
                      <a:cxn ang="0">
                        <a:pos x="connsiteX52" y="connsiteY52"/>
                      </a:cxn>
                      <a:cxn ang="0">
                        <a:pos x="connsiteX53" y="connsiteY53"/>
                      </a:cxn>
                      <a:cxn ang="0">
                        <a:pos x="connsiteX54" y="connsiteY54"/>
                      </a:cxn>
                      <a:cxn ang="0">
                        <a:pos x="connsiteX55" y="connsiteY55"/>
                      </a:cxn>
                      <a:cxn ang="0">
                        <a:pos x="connsiteX56" y="connsiteY56"/>
                      </a:cxn>
                      <a:cxn ang="0">
                        <a:pos x="connsiteX57" y="connsiteY57"/>
                      </a:cxn>
                      <a:cxn ang="0">
                        <a:pos x="connsiteX58" y="connsiteY58"/>
                      </a:cxn>
                      <a:cxn ang="0">
                        <a:pos x="connsiteX59" y="connsiteY59"/>
                      </a:cxn>
                      <a:cxn ang="0">
                        <a:pos x="connsiteX60" y="connsiteY60"/>
                      </a:cxn>
                      <a:cxn ang="0">
                        <a:pos x="connsiteX61" y="connsiteY61"/>
                      </a:cxn>
                      <a:cxn ang="0">
                        <a:pos x="connsiteX62" y="connsiteY62"/>
                      </a:cxn>
                      <a:cxn ang="0">
                        <a:pos x="connsiteX63" y="connsiteY63"/>
                      </a:cxn>
                      <a:cxn ang="0">
                        <a:pos x="connsiteX64" y="connsiteY64"/>
                      </a:cxn>
                      <a:cxn ang="0">
                        <a:pos x="connsiteX65" y="connsiteY65"/>
                      </a:cxn>
                      <a:cxn ang="0">
                        <a:pos x="connsiteX66" y="connsiteY66"/>
                      </a:cxn>
                      <a:cxn ang="0">
                        <a:pos x="connsiteX67" y="connsiteY67"/>
                      </a:cxn>
                      <a:cxn ang="0">
                        <a:pos x="connsiteX68" y="connsiteY68"/>
                      </a:cxn>
                      <a:cxn ang="0">
                        <a:pos x="connsiteX69" y="connsiteY69"/>
                      </a:cxn>
                      <a:cxn ang="0">
                        <a:pos x="connsiteX70" y="connsiteY70"/>
                      </a:cxn>
                      <a:cxn ang="0">
                        <a:pos x="connsiteX71" y="connsiteY71"/>
                      </a:cxn>
                      <a:cxn ang="0">
                        <a:pos x="connsiteX72" y="connsiteY72"/>
                      </a:cxn>
                      <a:cxn ang="0">
                        <a:pos x="connsiteX73" y="connsiteY73"/>
                      </a:cxn>
                      <a:cxn ang="0">
                        <a:pos x="connsiteX74" y="connsiteY74"/>
                      </a:cxn>
                      <a:cxn ang="0">
                        <a:pos x="connsiteX75" y="connsiteY75"/>
                      </a:cxn>
                      <a:cxn ang="0">
                        <a:pos x="connsiteX76" y="connsiteY76"/>
                      </a:cxn>
                      <a:cxn ang="0">
                        <a:pos x="connsiteX77" y="connsiteY77"/>
                      </a:cxn>
                      <a:cxn ang="0">
                        <a:pos x="connsiteX78" y="connsiteY78"/>
                      </a:cxn>
                      <a:cxn ang="0">
                        <a:pos x="connsiteX79" y="connsiteY79"/>
                      </a:cxn>
                      <a:cxn ang="0">
                        <a:pos x="connsiteX80" y="connsiteY80"/>
                      </a:cxn>
                      <a:cxn ang="0">
                        <a:pos x="connsiteX81" y="connsiteY81"/>
                      </a:cxn>
                      <a:cxn ang="0">
                        <a:pos x="connsiteX82" y="connsiteY82"/>
                      </a:cxn>
                      <a:cxn ang="0">
                        <a:pos x="connsiteX83" y="connsiteY83"/>
                      </a:cxn>
                      <a:cxn ang="0">
                        <a:pos x="connsiteX84" y="connsiteY84"/>
                      </a:cxn>
                      <a:cxn ang="0">
                        <a:pos x="connsiteX85" y="connsiteY85"/>
                      </a:cxn>
                      <a:cxn ang="0">
                        <a:pos x="connsiteX86" y="connsiteY86"/>
                      </a:cxn>
                      <a:cxn ang="0">
                        <a:pos x="connsiteX87" y="connsiteY87"/>
                      </a:cxn>
                      <a:cxn ang="0">
                        <a:pos x="connsiteX88" y="connsiteY88"/>
                      </a:cxn>
                      <a:cxn ang="0">
                        <a:pos x="connsiteX89" y="connsiteY89"/>
                      </a:cxn>
                      <a:cxn ang="0">
                        <a:pos x="connsiteX90" y="connsiteY90"/>
                      </a:cxn>
                      <a:cxn ang="0">
                        <a:pos x="connsiteX91" y="connsiteY91"/>
                      </a:cxn>
                      <a:cxn ang="0">
                        <a:pos x="connsiteX92" y="connsiteY92"/>
                      </a:cxn>
                      <a:cxn ang="0">
                        <a:pos x="connsiteX93" y="connsiteY93"/>
                      </a:cxn>
                      <a:cxn ang="0">
                        <a:pos x="connsiteX94" y="connsiteY94"/>
                      </a:cxn>
                      <a:cxn ang="0">
                        <a:pos x="connsiteX95" y="connsiteY95"/>
                      </a:cxn>
                      <a:cxn ang="0">
                        <a:pos x="connsiteX96" y="connsiteY96"/>
                      </a:cxn>
                      <a:cxn ang="0">
                        <a:pos x="connsiteX97" y="connsiteY97"/>
                      </a:cxn>
                      <a:cxn ang="0">
                        <a:pos x="connsiteX98" y="connsiteY98"/>
                      </a:cxn>
                      <a:cxn ang="0">
                        <a:pos x="connsiteX99" y="connsiteY99"/>
                      </a:cxn>
                      <a:cxn ang="0">
                        <a:pos x="connsiteX100" y="connsiteY100"/>
                      </a:cxn>
                      <a:cxn ang="0">
                        <a:pos x="connsiteX101" y="connsiteY101"/>
                      </a:cxn>
                      <a:cxn ang="0">
                        <a:pos x="connsiteX102" y="connsiteY102"/>
                      </a:cxn>
                      <a:cxn ang="0">
                        <a:pos x="connsiteX103" y="connsiteY103"/>
                      </a:cxn>
                      <a:cxn ang="0">
                        <a:pos x="connsiteX104" y="connsiteY104"/>
                      </a:cxn>
                      <a:cxn ang="0">
                        <a:pos x="connsiteX105" y="connsiteY105"/>
                      </a:cxn>
                      <a:cxn ang="0">
                        <a:pos x="connsiteX106" y="connsiteY106"/>
                      </a:cxn>
                      <a:cxn ang="0">
                        <a:pos x="connsiteX107" y="connsiteY107"/>
                      </a:cxn>
                      <a:cxn ang="0">
                        <a:pos x="connsiteX108" y="connsiteY108"/>
                      </a:cxn>
                      <a:cxn ang="0">
                        <a:pos x="connsiteX109" y="connsiteY109"/>
                      </a:cxn>
                      <a:cxn ang="0">
                        <a:pos x="connsiteX110" y="connsiteY110"/>
                      </a:cxn>
                      <a:cxn ang="0">
                        <a:pos x="connsiteX111" y="connsiteY111"/>
                      </a:cxn>
                      <a:cxn ang="0">
                        <a:pos x="connsiteX112" y="connsiteY112"/>
                      </a:cxn>
                      <a:cxn ang="0">
                        <a:pos x="connsiteX113" y="connsiteY113"/>
                      </a:cxn>
                      <a:cxn ang="0">
                        <a:pos x="connsiteX114" y="connsiteY114"/>
                      </a:cxn>
                      <a:cxn ang="0">
                        <a:pos x="connsiteX115" y="connsiteY115"/>
                      </a:cxn>
                      <a:cxn ang="0">
                        <a:pos x="connsiteX116" y="connsiteY116"/>
                      </a:cxn>
                    </a:cxnLst>
                    <a:rect l="l" t="t" r="r" b="b"/>
                    <a:pathLst>
                      <a:path w="999048" h="1114474">
                        <a:moveTo>
                          <a:pt x="991889" y="58064"/>
                        </a:moveTo>
                        <a:cubicBezTo>
                          <a:pt x="993626" y="50683"/>
                          <a:pt x="989610" y="51409"/>
                          <a:pt x="987733" y="44063"/>
                        </a:cubicBezTo>
                        <a:cubicBezTo>
                          <a:pt x="974493" y="56424"/>
                          <a:pt x="948708" y="47925"/>
                          <a:pt x="945414" y="30113"/>
                        </a:cubicBezTo>
                        <a:cubicBezTo>
                          <a:pt x="928619" y="27927"/>
                          <a:pt x="911985" y="44021"/>
                          <a:pt x="913615" y="60878"/>
                        </a:cubicBezTo>
                        <a:cubicBezTo>
                          <a:pt x="903633" y="59193"/>
                          <a:pt x="893653" y="57507"/>
                          <a:pt x="883671" y="55822"/>
                        </a:cubicBezTo>
                        <a:cubicBezTo>
                          <a:pt x="892167" y="37213"/>
                          <a:pt x="900664" y="18607"/>
                          <a:pt x="909159" y="0"/>
                        </a:cubicBezTo>
                        <a:cubicBezTo>
                          <a:pt x="883366" y="11879"/>
                          <a:pt x="866110" y="40218"/>
                          <a:pt x="867399" y="68587"/>
                        </a:cubicBezTo>
                        <a:cubicBezTo>
                          <a:pt x="852594" y="69126"/>
                          <a:pt x="841583" y="49472"/>
                          <a:pt x="849775" y="37127"/>
                        </a:cubicBezTo>
                        <a:cubicBezTo>
                          <a:pt x="842119" y="46273"/>
                          <a:pt x="834463" y="55418"/>
                          <a:pt x="826807" y="64562"/>
                        </a:cubicBezTo>
                        <a:cubicBezTo>
                          <a:pt x="814049" y="49148"/>
                          <a:pt x="822763" y="21634"/>
                          <a:pt x="842068" y="16377"/>
                        </a:cubicBezTo>
                        <a:cubicBezTo>
                          <a:pt x="824652" y="10595"/>
                          <a:pt x="806794" y="24308"/>
                          <a:pt x="796101" y="39224"/>
                        </a:cubicBezTo>
                        <a:cubicBezTo>
                          <a:pt x="785414" y="54140"/>
                          <a:pt x="777014" y="72004"/>
                          <a:pt x="760926" y="80834"/>
                        </a:cubicBezTo>
                        <a:cubicBezTo>
                          <a:pt x="744613" y="89787"/>
                          <a:pt x="724103" y="87219"/>
                          <a:pt x="707188" y="94967"/>
                        </a:cubicBezTo>
                        <a:cubicBezTo>
                          <a:pt x="690270" y="102715"/>
                          <a:pt x="682519" y="132160"/>
                          <a:pt x="700387" y="137350"/>
                        </a:cubicBezTo>
                        <a:cubicBezTo>
                          <a:pt x="677293" y="141804"/>
                          <a:pt x="654198" y="146258"/>
                          <a:pt x="631108" y="150713"/>
                        </a:cubicBezTo>
                        <a:cubicBezTo>
                          <a:pt x="638888" y="161399"/>
                          <a:pt x="646667" y="172085"/>
                          <a:pt x="654447" y="182771"/>
                        </a:cubicBezTo>
                        <a:cubicBezTo>
                          <a:pt x="630827" y="181376"/>
                          <a:pt x="603732" y="181318"/>
                          <a:pt x="587882" y="198887"/>
                        </a:cubicBezTo>
                        <a:cubicBezTo>
                          <a:pt x="580626" y="206929"/>
                          <a:pt x="576999" y="217504"/>
                          <a:pt x="573354" y="227702"/>
                        </a:cubicBezTo>
                        <a:cubicBezTo>
                          <a:pt x="566679" y="246374"/>
                          <a:pt x="559347" y="264811"/>
                          <a:pt x="551374" y="282968"/>
                        </a:cubicBezTo>
                        <a:cubicBezTo>
                          <a:pt x="541882" y="304586"/>
                          <a:pt x="530261" y="327135"/>
                          <a:pt x="509565" y="338495"/>
                        </a:cubicBezTo>
                        <a:cubicBezTo>
                          <a:pt x="503101" y="331353"/>
                          <a:pt x="493691" y="326963"/>
                          <a:pt x="484065" y="326596"/>
                        </a:cubicBezTo>
                        <a:cubicBezTo>
                          <a:pt x="482675" y="360630"/>
                          <a:pt x="423901" y="369140"/>
                          <a:pt x="422722" y="403184"/>
                        </a:cubicBezTo>
                        <a:cubicBezTo>
                          <a:pt x="422411" y="412176"/>
                          <a:pt x="426603" y="421279"/>
                          <a:pt x="424231" y="429957"/>
                        </a:cubicBezTo>
                        <a:cubicBezTo>
                          <a:pt x="421072" y="441515"/>
                          <a:pt x="408230" y="446858"/>
                          <a:pt x="398787" y="454235"/>
                        </a:cubicBezTo>
                        <a:cubicBezTo>
                          <a:pt x="360934" y="483807"/>
                          <a:pt x="376429" y="549323"/>
                          <a:pt x="343532" y="584326"/>
                        </a:cubicBezTo>
                        <a:cubicBezTo>
                          <a:pt x="333685" y="591003"/>
                          <a:pt x="317813" y="582488"/>
                          <a:pt x="317932" y="570589"/>
                        </a:cubicBezTo>
                        <a:cubicBezTo>
                          <a:pt x="304628" y="579389"/>
                          <a:pt x="293433" y="591356"/>
                          <a:pt x="285536" y="605217"/>
                        </a:cubicBezTo>
                        <a:cubicBezTo>
                          <a:pt x="257118" y="655097"/>
                          <a:pt x="199056" y="708633"/>
                          <a:pt x="143223" y="721988"/>
                        </a:cubicBezTo>
                        <a:cubicBezTo>
                          <a:pt x="118338" y="727939"/>
                          <a:pt x="91593" y="728351"/>
                          <a:pt x="69046" y="740451"/>
                        </a:cubicBezTo>
                        <a:cubicBezTo>
                          <a:pt x="39980" y="756052"/>
                          <a:pt x="22941" y="791369"/>
                          <a:pt x="28824" y="823829"/>
                        </a:cubicBezTo>
                        <a:cubicBezTo>
                          <a:pt x="41558" y="825992"/>
                          <a:pt x="40282" y="844700"/>
                          <a:pt x="35597" y="856734"/>
                        </a:cubicBezTo>
                        <a:cubicBezTo>
                          <a:pt x="28935" y="873846"/>
                          <a:pt x="22275" y="890961"/>
                          <a:pt x="15614" y="908075"/>
                        </a:cubicBezTo>
                        <a:cubicBezTo>
                          <a:pt x="23656" y="908606"/>
                          <a:pt x="31696" y="909137"/>
                          <a:pt x="39739" y="909669"/>
                        </a:cubicBezTo>
                        <a:cubicBezTo>
                          <a:pt x="45022" y="933054"/>
                          <a:pt x="27710" y="959062"/>
                          <a:pt x="4099" y="963211"/>
                        </a:cubicBezTo>
                        <a:cubicBezTo>
                          <a:pt x="11744" y="970153"/>
                          <a:pt x="19388" y="977097"/>
                          <a:pt x="27034" y="984041"/>
                        </a:cubicBezTo>
                        <a:cubicBezTo>
                          <a:pt x="25933" y="1005441"/>
                          <a:pt x="172" y="1019737"/>
                          <a:pt x="1" y="1041163"/>
                        </a:cubicBezTo>
                        <a:cubicBezTo>
                          <a:pt x="-109" y="1054545"/>
                          <a:pt x="9912" y="1065592"/>
                          <a:pt x="19394" y="1075033"/>
                        </a:cubicBezTo>
                        <a:cubicBezTo>
                          <a:pt x="33302" y="1088874"/>
                          <a:pt x="47939" y="1102818"/>
                          <a:pt x="66182" y="1110043"/>
                        </a:cubicBezTo>
                        <a:cubicBezTo>
                          <a:pt x="84423" y="1117266"/>
                          <a:pt x="107294" y="1116262"/>
                          <a:pt x="121312" y="1102536"/>
                        </a:cubicBezTo>
                        <a:cubicBezTo>
                          <a:pt x="133345" y="1090752"/>
                          <a:pt x="137319" y="1071568"/>
                          <a:pt x="151576" y="1062601"/>
                        </a:cubicBezTo>
                        <a:cubicBezTo>
                          <a:pt x="160750" y="1056831"/>
                          <a:pt x="172259" y="1056613"/>
                          <a:pt x="182554" y="1053232"/>
                        </a:cubicBezTo>
                        <a:cubicBezTo>
                          <a:pt x="211727" y="1043651"/>
                          <a:pt x="226218" y="1011083"/>
                          <a:pt x="232772" y="981085"/>
                        </a:cubicBezTo>
                        <a:cubicBezTo>
                          <a:pt x="236313" y="964874"/>
                          <a:pt x="250204" y="943128"/>
                          <a:pt x="263319" y="953290"/>
                        </a:cubicBezTo>
                        <a:cubicBezTo>
                          <a:pt x="269122" y="957786"/>
                          <a:pt x="269520" y="966248"/>
                          <a:pt x="269408" y="973587"/>
                        </a:cubicBezTo>
                        <a:cubicBezTo>
                          <a:pt x="269064" y="996481"/>
                          <a:pt x="268719" y="1019374"/>
                          <a:pt x="268373" y="1042269"/>
                        </a:cubicBezTo>
                        <a:cubicBezTo>
                          <a:pt x="268319" y="1046015"/>
                          <a:pt x="268350" y="1049820"/>
                          <a:pt x="268610" y="1053577"/>
                        </a:cubicBezTo>
                        <a:lnTo>
                          <a:pt x="294590" y="985391"/>
                        </a:lnTo>
                        <a:cubicBezTo>
                          <a:pt x="297444" y="977887"/>
                          <a:pt x="301001" y="968541"/>
                          <a:pt x="308430" y="962156"/>
                        </a:cubicBezTo>
                        <a:cubicBezTo>
                          <a:pt x="314289" y="957126"/>
                          <a:pt x="323295" y="954587"/>
                          <a:pt x="330898" y="956971"/>
                        </a:cubicBezTo>
                        <a:cubicBezTo>
                          <a:pt x="325995" y="916194"/>
                          <a:pt x="334577" y="873741"/>
                          <a:pt x="355400" y="838334"/>
                        </a:cubicBezTo>
                        <a:cubicBezTo>
                          <a:pt x="345019" y="832604"/>
                          <a:pt x="327878" y="820947"/>
                          <a:pt x="329358" y="803163"/>
                        </a:cubicBezTo>
                        <a:cubicBezTo>
                          <a:pt x="329741" y="798537"/>
                          <a:pt x="331356" y="794501"/>
                          <a:pt x="332919" y="790599"/>
                        </a:cubicBezTo>
                        <a:cubicBezTo>
                          <a:pt x="334137" y="787549"/>
                          <a:pt x="335290" y="784666"/>
                          <a:pt x="335682" y="781850"/>
                        </a:cubicBezTo>
                        <a:cubicBezTo>
                          <a:pt x="336712" y="774400"/>
                          <a:pt x="332655" y="767034"/>
                          <a:pt x="328366" y="759243"/>
                        </a:cubicBezTo>
                        <a:cubicBezTo>
                          <a:pt x="326289" y="755478"/>
                          <a:pt x="324223" y="751703"/>
                          <a:pt x="322628" y="747852"/>
                        </a:cubicBezTo>
                        <a:cubicBezTo>
                          <a:pt x="318585" y="738102"/>
                          <a:pt x="320062" y="724986"/>
                          <a:pt x="326077" y="717350"/>
                        </a:cubicBezTo>
                        <a:cubicBezTo>
                          <a:pt x="328372" y="714430"/>
                          <a:pt x="331182" y="712434"/>
                          <a:pt x="334317" y="711440"/>
                        </a:cubicBezTo>
                        <a:cubicBezTo>
                          <a:pt x="329923" y="691624"/>
                          <a:pt x="332630" y="669873"/>
                          <a:pt x="341788" y="653287"/>
                        </a:cubicBezTo>
                        <a:cubicBezTo>
                          <a:pt x="349151" y="639957"/>
                          <a:pt x="360090" y="631007"/>
                          <a:pt x="373421" y="627400"/>
                        </a:cubicBezTo>
                        <a:cubicBezTo>
                          <a:pt x="386818" y="623778"/>
                          <a:pt x="400384" y="626055"/>
                          <a:pt x="412524" y="624324"/>
                        </a:cubicBezTo>
                        <a:cubicBezTo>
                          <a:pt x="422419" y="622921"/>
                          <a:pt x="433064" y="616904"/>
                          <a:pt x="434783" y="608265"/>
                        </a:cubicBezTo>
                        <a:lnTo>
                          <a:pt x="401314" y="571308"/>
                        </a:lnTo>
                        <a:lnTo>
                          <a:pt x="408233" y="568423"/>
                        </a:lnTo>
                        <a:cubicBezTo>
                          <a:pt x="425828" y="561075"/>
                          <a:pt x="439541" y="544228"/>
                          <a:pt x="443165" y="525511"/>
                        </a:cubicBezTo>
                        <a:cubicBezTo>
                          <a:pt x="444414" y="519068"/>
                          <a:pt x="444671" y="511991"/>
                          <a:pt x="444915" y="505143"/>
                        </a:cubicBezTo>
                        <a:cubicBezTo>
                          <a:pt x="445426" y="490992"/>
                          <a:pt x="445957" y="476356"/>
                          <a:pt x="454818" y="464328"/>
                        </a:cubicBezTo>
                        <a:cubicBezTo>
                          <a:pt x="460671" y="456387"/>
                          <a:pt x="469179" y="451044"/>
                          <a:pt x="477408" y="445872"/>
                        </a:cubicBezTo>
                        <a:cubicBezTo>
                          <a:pt x="488187" y="439105"/>
                          <a:pt x="497499" y="433259"/>
                          <a:pt x="499285" y="423167"/>
                        </a:cubicBezTo>
                        <a:cubicBezTo>
                          <a:pt x="499547" y="421675"/>
                          <a:pt x="499631" y="420143"/>
                          <a:pt x="499728" y="418622"/>
                        </a:cubicBezTo>
                        <a:cubicBezTo>
                          <a:pt x="499913" y="415652"/>
                          <a:pt x="500120" y="412289"/>
                          <a:pt x="501367" y="408959"/>
                        </a:cubicBezTo>
                        <a:cubicBezTo>
                          <a:pt x="505028" y="399220"/>
                          <a:pt x="514926" y="395059"/>
                          <a:pt x="523657" y="391391"/>
                        </a:cubicBezTo>
                        <a:cubicBezTo>
                          <a:pt x="532859" y="387525"/>
                          <a:pt x="538481" y="384795"/>
                          <a:pt x="538939" y="379439"/>
                        </a:cubicBezTo>
                        <a:cubicBezTo>
                          <a:pt x="539180" y="376644"/>
                          <a:pt x="537784" y="373639"/>
                          <a:pt x="536170" y="370166"/>
                        </a:cubicBezTo>
                        <a:cubicBezTo>
                          <a:pt x="534724" y="367053"/>
                          <a:pt x="533090" y="363528"/>
                          <a:pt x="532518" y="359602"/>
                        </a:cubicBezTo>
                        <a:cubicBezTo>
                          <a:pt x="529966" y="342183"/>
                          <a:pt x="547833" y="331065"/>
                          <a:pt x="559656" y="323706"/>
                        </a:cubicBezTo>
                        <a:cubicBezTo>
                          <a:pt x="567624" y="318749"/>
                          <a:pt x="573897" y="310956"/>
                          <a:pt x="574911" y="304757"/>
                        </a:cubicBezTo>
                        <a:cubicBezTo>
                          <a:pt x="575356" y="302044"/>
                          <a:pt x="574802" y="299851"/>
                          <a:pt x="573162" y="297860"/>
                        </a:cubicBezTo>
                        <a:lnTo>
                          <a:pt x="567896" y="291467"/>
                        </a:lnTo>
                        <a:lnTo>
                          <a:pt x="575907" y="289370"/>
                        </a:lnTo>
                        <a:cubicBezTo>
                          <a:pt x="585300" y="286936"/>
                          <a:pt x="595417" y="287894"/>
                          <a:pt x="604146" y="292002"/>
                        </a:cubicBezTo>
                        <a:cubicBezTo>
                          <a:pt x="614821" y="285138"/>
                          <a:pt x="622574" y="273491"/>
                          <a:pt x="624631" y="260990"/>
                        </a:cubicBezTo>
                        <a:lnTo>
                          <a:pt x="625982" y="252788"/>
                        </a:lnTo>
                        <a:lnTo>
                          <a:pt x="632843" y="257478"/>
                        </a:lnTo>
                        <a:cubicBezTo>
                          <a:pt x="634402" y="258547"/>
                          <a:pt x="636214" y="258756"/>
                          <a:pt x="638365" y="258120"/>
                        </a:cubicBezTo>
                        <a:cubicBezTo>
                          <a:pt x="642478" y="256916"/>
                          <a:pt x="646669" y="252969"/>
                          <a:pt x="648565" y="248518"/>
                        </a:cubicBezTo>
                        <a:cubicBezTo>
                          <a:pt x="650187" y="244705"/>
                          <a:pt x="651061" y="240483"/>
                          <a:pt x="651977" y="236009"/>
                        </a:cubicBezTo>
                        <a:cubicBezTo>
                          <a:pt x="653102" y="230549"/>
                          <a:pt x="654264" y="224900"/>
                          <a:pt x="656928" y="219537"/>
                        </a:cubicBezTo>
                        <a:cubicBezTo>
                          <a:pt x="660340" y="212672"/>
                          <a:pt x="667398" y="207280"/>
                          <a:pt x="674631" y="205811"/>
                        </a:cubicBezTo>
                        <a:cubicBezTo>
                          <a:pt x="669719" y="196048"/>
                          <a:pt x="668828" y="185565"/>
                          <a:pt x="676454" y="178727"/>
                        </a:cubicBezTo>
                        <a:cubicBezTo>
                          <a:pt x="680076" y="175489"/>
                          <a:pt x="684575" y="174017"/>
                          <a:pt x="689474" y="174498"/>
                        </a:cubicBezTo>
                        <a:cubicBezTo>
                          <a:pt x="699194" y="175428"/>
                          <a:pt x="708750" y="183798"/>
                          <a:pt x="714443" y="191315"/>
                        </a:cubicBezTo>
                        <a:lnTo>
                          <a:pt x="716072" y="193465"/>
                        </a:lnTo>
                        <a:cubicBezTo>
                          <a:pt x="722247" y="201642"/>
                          <a:pt x="728075" y="209370"/>
                          <a:pt x="735770" y="214888"/>
                        </a:cubicBezTo>
                        <a:cubicBezTo>
                          <a:pt x="742604" y="219781"/>
                          <a:pt x="753128" y="223658"/>
                          <a:pt x="762225" y="219832"/>
                        </a:cubicBezTo>
                        <a:lnTo>
                          <a:pt x="765596" y="218414"/>
                        </a:lnTo>
                        <a:lnTo>
                          <a:pt x="768117" y="221063"/>
                        </a:lnTo>
                        <a:cubicBezTo>
                          <a:pt x="773008" y="226204"/>
                          <a:pt x="780618" y="228795"/>
                          <a:pt x="787683" y="227567"/>
                        </a:cubicBezTo>
                        <a:cubicBezTo>
                          <a:pt x="792415" y="226761"/>
                          <a:pt x="797103" y="224341"/>
                          <a:pt x="801647" y="222001"/>
                        </a:cubicBezTo>
                        <a:cubicBezTo>
                          <a:pt x="813218" y="216029"/>
                          <a:pt x="826344" y="209260"/>
                          <a:pt x="834797" y="198828"/>
                        </a:cubicBezTo>
                        <a:cubicBezTo>
                          <a:pt x="842094" y="189826"/>
                          <a:pt x="846123" y="175352"/>
                          <a:pt x="839707" y="165093"/>
                        </a:cubicBezTo>
                        <a:cubicBezTo>
                          <a:pt x="839265" y="164388"/>
                          <a:pt x="838786" y="163703"/>
                          <a:pt x="838304" y="163019"/>
                        </a:cubicBezTo>
                        <a:cubicBezTo>
                          <a:pt x="836840" y="160921"/>
                          <a:pt x="835168" y="158543"/>
                          <a:pt x="834287" y="155520"/>
                        </a:cubicBezTo>
                        <a:cubicBezTo>
                          <a:pt x="832832" y="150587"/>
                          <a:pt x="833945" y="145749"/>
                          <a:pt x="835358" y="141260"/>
                        </a:cubicBezTo>
                        <a:cubicBezTo>
                          <a:pt x="839702" y="127503"/>
                          <a:pt x="846277" y="114675"/>
                          <a:pt x="854920" y="103124"/>
                        </a:cubicBezTo>
                        <a:lnTo>
                          <a:pt x="860459" y="95733"/>
                        </a:lnTo>
                        <a:lnTo>
                          <a:pt x="864040" y="104238"/>
                        </a:lnTo>
                        <a:cubicBezTo>
                          <a:pt x="865789" y="108368"/>
                          <a:pt x="869979" y="111398"/>
                          <a:pt x="875262" y="112346"/>
                        </a:cubicBezTo>
                        <a:cubicBezTo>
                          <a:pt x="880522" y="113315"/>
                          <a:pt x="885519" y="111919"/>
                          <a:pt x="888575" y="108668"/>
                        </a:cubicBezTo>
                        <a:cubicBezTo>
                          <a:pt x="889685" y="107491"/>
                          <a:pt x="890604" y="106175"/>
                          <a:pt x="891538" y="104865"/>
                        </a:cubicBezTo>
                        <a:cubicBezTo>
                          <a:pt x="892959" y="102863"/>
                          <a:pt x="894413" y="100887"/>
                          <a:pt x="896170" y="99184"/>
                        </a:cubicBezTo>
                        <a:cubicBezTo>
                          <a:pt x="902711" y="92903"/>
                          <a:pt x="913022" y="91140"/>
                          <a:pt x="921261" y="94874"/>
                        </a:cubicBezTo>
                        <a:lnTo>
                          <a:pt x="923815" y="96035"/>
                        </a:lnTo>
                        <a:lnTo>
                          <a:pt x="926581" y="111843"/>
                        </a:lnTo>
                        <a:cubicBezTo>
                          <a:pt x="935513" y="111085"/>
                          <a:pt x="944626" y="116921"/>
                          <a:pt x="948916" y="124781"/>
                        </a:cubicBezTo>
                        <a:cubicBezTo>
                          <a:pt x="951947" y="130335"/>
                          <a:pt x="952963" y="136413"/>
                          <a:pt x="953326" y="142266"/>
                        </a:cubicBezTo>
                        <a:cubicBezTo>
                          <a:pt x="965591" y="131867"/>
                          <a:pt x="981186" y="124347"/>
                          <a:pt x="999048" y="120178"/>
                        </a:cubicBezTo>
                        <a:cubicBezTo>
                          <a:pt x="989797" y="101060"/>
                          <a:pt x="987019" y="78765"/>
                          <a:pt x="991889" y="58064"/>
                        </a:cubicBezTo>
                        <a:close/>
                      </a:path>
                    </a:pathLst>
                  </a:custGeom>
                  <a:grpFill/>
                  <a:ln w="1649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s-ES_tradnl" sz="2400"/>
                  </a:p>
                </p:txBody>
              </p:sp>
              <p:sp>
                <p:nvSpPr>
                  <p:cNvPr id="234" name="Forma libre 233">
                    <a:extLst>
                      <a:ext uri="{FF2B5EF4-FFF2-40B4-BE49-F238E27FC236}">
                        <a16:creationId xmlns:a16="http://schemas.microsoft.com/office/drawing/2014/main" id="{BFB65CF9-4036-A446-A44B-A108CE66BEE0}"/>
                      </a:ext>
                    </a:extLst>
                  </p:cNvPr>
                  <p:cNvSpPr/>
                  <p:nvPr/>
                </p:nvSpPr>
                <p:spPr>
                  <a:xfrm>
                    <a:off x="5663696" y="1338308"/>
                    <a:ext cx="548724" cy="1172056"/>
                  </a:xfrm>
                  <a:custGeom>
                    <a:avLst/>
                    <a:gdLst>
                      <a:gd name="connsiteX0" fmla="*/ 542666 w 548724"/>
                      <a:gd name="connsiteY0" fmla="*/ 207025 h 1172056"/>
                      <a:gd name="connsiteX1" fmla="*/ 537443 w 548724"/>
                      <a:gd name="connsiteY1" fmla="*/ 204332 h 1172056"/>
                      <a:gd name="connsiteX2" fmla="*/ 526319 w 548724"/>
                      <a:gd name="connsiteY2" fmla="*/ 196545 h 1172056"/>
                      <a:gd name="connsiteX3" fmla="*/ 527056 w 548724"/>
                      <a:gd name="connsiteY3" fmla="*/ 171999 h 1172056"/>
                      <a:gd name="connsiteX4" fmla="*/ 530440 w 548724"/>
                      <a:gd name="connsiteY4" fmla="*/ 159955 h 1172056"/>
                      <a:gd name="connsiteX5" fmla="*/ 522095 w 548724"/>
                      <a:gd name="connsiteY5" fmla="*/ 143474 h 1172056"/>
                      <a:gd name="connsiteX6" fmla="*/ 515260 w 548724"/>
                      <a:gd name="connsiteY6" fmla="*/ 133741 h 1172056"/>
                      <a:gd name="connsiteX7" fmla="*/ 508905 w 548724"/>
                      <a:gd name="connsiteY7" fmla="*/ 116830 h 1172056"/>
                      <a:gd name="connsiteX8" fmla="*/ 507886 w 548724"/>
                      <a:gd name="connsiteY8" fmla="*/ 113322 h 1172056"/>
                      <a:gd name="connsiteX9" fmla="*/ 475303 w 548724"/>
                      <a:gd name="connsiteY9" fmla="*/ 54917 h 1172056"/>
                      <a:gd name="connsiteX10" fmla="*/ 431457 w 548724"/>
                      <a:gd name="connsiteY10" fmla="*/ 23125 h 1172056"/>
                      <a:gd name="connsiteX11" fmla="*/ 411211 w 548724"/>
                      <a:gd name="connsiteY11" fmla="*/ 1273 h 1172056"/>
                      <a:gd name="connsiteX12" fmla="*/ 411019 w 548724"/>
                      <a:gd name="connsiteY12" fmla="*/ 1471 h 1172056"/>
                      <a:gd name="connsiteX13" fmla="*/ 405847 w 548724"/>
                      <a:gd name="connsiteY13" fmla="*/ 129 h 1172056"/>
                      <a:gd name="connsiteX14" fmla="*/ 395204 w 548724"/>
                      <a:gd name="connsiteY14" fmla="*/ 8334 h 1172056"/>
                      <a:gd name="connsiteX15" fmla="*/ 391139 w 548724"/>
                      <a:gd name="connsiteY15" fmla="*/ 22229 h 1172056"/>
                      <a:gd name="connsiteX16" fmla="*/ 387096 w 548724"/>
                      <a:gd name="connsiteY16" fmla="*/ 36750 h 1172056"/>
                      <a:gd name="connsiteX17" fmla="*/ 370126 w 548724"/>
                      <a:gd name="connsiteY17" fmla="*/ 52372 h 1172056"/>
                      <a:gd name="connsiteX18" fmla="*/ 362482 w 548724"/>
                      <a:gd name="connsiteY18" fmla="*/ 52967 h 1172056"/>
                      <a:gd name="connsiteX19" fmla="*/ 335688 w 548724"/>
                      <a:gd name="connsiteY19" fmla="*/ 86772 h 1172056"/>
                      <a:gd name="connsiteX20" fmla="*/ 333082 w 548724"/>
                      <a:gd name="connsiteY20" fmla="*/ 88215 h 1172056"/>
                      <a:gd name="connsiteX21" fmla="*/ 330501 w 548724"/>
                      <a:gd name="connsiteY21" fmla="*/ 86744 h 1172056"/>
                      <a:gd name="connsiteX22" fmla="*/ 313917 w 548724"/>
                      <a:gd name="connsiteY22" fmla="*/ 82736 h 1172056"/>
                      <a:gd name="connsiteX23" fmla="*/ 314151 w 548724"/>
                      <a:gd name="connsiteY23" fmla="*/ 90559 h 1172056"/>
                      <a:gd name="connsiteX24" fmla="*/ 294045 w 548724"/>
                      <a:gd name="connsiteY24" fmla="*/ 116779 h 1172056"/>
                      <a:gd name="connsiteX25" fmla="*/ 271780 w 548724"/>
                      <a:gd name="connsiteY25" fmla="*/ 142157 h 1172056"/>
                      <a:gd name="connsiteX26" fmla="*/ 274563 w 548724"/>
                      <a:gd name="connsiteY26" fmla="*/ 149790 h 1172056"/>
                      <a:gd name="connsiteX27" fmla="*/ 278283 w 548724"/>
                      <a:gd name="connsiteY27" fmla="*/ 164429 h 1172056"/>
                      <a:gd name="connsiteX28" fmla="*/ 256546 w 548724"/>
                      <a:gd name="connsiteY28" fmla="*/ 185247 h 1172056"/>
                      <a:gd name="connsiteX29" fmla="*/ 240068 w 548724"/>
                      <a:gd name="connsiteY29" fmla="*/ 196769 h 1172056"/>
                      <a:gd name="connsiteX30" fmla="*/ 239084 w 548724"/>
                      <a:gd name="connsiteY30" fmla="*/ 203365 h 1172056"/>
                      <a:gd name="connsiteX31" fmla="*/ 238500 w 548724"/>
                      <a:gd name="connsiteY31" fmla="*/ 209100 h 1172056"/>
                      <a:gd name="connsiteX32" fmla="*/ 211825 w 548724"/>
                      <a:gd name="connsiteY32" fmla="*/ 238932 h 1172056"/>
                      <a:gd name="connsiteX33" fmla="*/ 192131 w 548724"/>
                      <a:gd name="connsiteY33" fmla="*/ 254697 h 1172056"/>
                      <a:gd name="connsiteX34" fmla="*/ 184284 w 548724"/>
                      <a:gd name="connsiteY34" fmla="*/ 289612 h 1172056"/>
                      <a:gd name="connsiteX35" fmla="*/ 182349 w 548724"/>
                      <a:gd name="connsiteY35" fmla="*/ 311611 h 1172056"/>
                      <a:gd name="connsiteX36" fmla="*/ 147719 w 548724"/>
                      <a:gd name="connsiteY36" fmla="*/ 359076 h 1172056"/>
                      <a:gd name="connsiteX37" fmla="*/ 174462 w 548724"/>
                      <a:gd name="connsiteY37" fmla="*/ 388607 h 1172056"/>
                      <a:gd name="connsiteX38" fmla="*/ 174383 w 548724"/>
                      <a:gd name="connsiteY38" fmla="*/ 390758 h 1172056"/>
                      <a:gd name="connsiteX39" fmla="*/ 142797 w 548724"/>
                      <a:gd name="connsiteY39" fmla="*/ 418900 h 1172056"/>
                      <a:gd name="connsiteX40" fmla="*/ 104972 w 548724"/>
                      <a:gd name="connsiteY40" fmla="*/ 421708 h 1172056"/>
                      <a:gd name="connsiteX41" fmla="*/ 79845 w 548724"/>
                      <a:gd name="connsiteY41" fmla="*/ 442500 h 1172056"/>
                      <a:gd name="connsiteX42" fmla="*/ 74876 w 548724"/>
                      <a:gd name="connsiteY42" fmla="*/ 498694 h 1172056"/>
                      <a:gd name="connsiteX43" fmla="*/ 77357 w 548724"/>
                      <a:gd name="connsiteY43" fmla="*/ 506790 h 1172056"/>
                      <a:gd name="connsiteX44" fmla="*/ 68991 w 548724"/>
                      <a:gd name="connsiteY44" fmla="*/ 505471 h 1172056"/>
                      <a:gd name="connsiteX45" fmla="*/ 63186 w 548724"/>
                      <a:gd name="connsiteY45" fmla="*/ 507987 h 1172056"/>
                      <a:gd name="connsiteX46" fmla="*/ 61199 w 548724"/>
                      <a:gd name="connsiteY46" fmla="*/ 527887 h 1172056"/>
                      <a:gd name="connsiteX47" fmla="*/ 66429 w 548724"/>
                      <a:gd name="connsiteY47" fmla="*/ 538223 h 1172056"/>
                      <a:gd name="connsiteX48" fmla="*/ 74957 w 548724"/>
                      <a:gd name="connsiteY48" fmla="*/ 567393 h 1172056"/>
                      <a:gd name="connsiteX49" fmla="*/ 71536 w 548724"/>
                      <a:gd name="connsiteY49" fmla="*/ 578624 h 1172056"/>
                      <a:gd name="connsiteX50" fmla="*/ 68699 w 548724"/>
                      <a:gd name="connsiteY50" fmla="*/ 588132 h 1172056"/>
                      <a:gd name="connsiteX51" fmla="*/ 94039 w 548724"/>
                      <a:gd name="connsiteY51" fmla="*/ 615629 h 1172056"/>
                      <a:gd name="connsiteX52" fmla="*/ 99240 w 548724"/>
                      <a:gd name="connsiteY52" fmla="*/ 618259 h 1172056"/>
                      <a:gd name="connsiteX53" fmla="*/ 96121 w 548724"/>
                      <a:gd name="connsiteY53" fmla="*/ 623190 h 1172056"/>
                      <a:gd name="connsiteX54" fmla="*/ 75626 w 548724"/>
                      <a:gd name="connsiteY54" fmla="*/ 766718 h 1172056"/>
                      <a:gd name="connsiteX55" fmla="*/ 76530 w 548724"/>
                      <a:gd name="connsiteY55" fmla="*/ 769829 h 1172056"/>
                      <a:gd name="connsiteX56" fmla="*/ 75028 w 548724"/>
                      <a:gd name="connsiteY56" fmla="*/ 823288 h 1172056"/>
                      <a:gd name="connsiteX57" fmla="*/ 69983 w 548724"/>
                      <a:gd name="connsiteY57" fmla="*/ 829342 h 1172056"/>
                      <a:gd name="connsiteX58" fmla="*/ 66285 w 548724"/>
                      <a:gd name="connsiteY58" fmla="*/ 822388 h 1172056"/>
                      <a:gd name="connsiteX59" fmla="*/ 57087 w 548724"/>
                      <a:gd name="connsiteY59" fmla="*/ 751385 h 1172056"/>
                      <a:gd name="connsiteX60" fmla="*/ 44117 w 548724"/>
                      <a:gd name="connsiteY60" fmla="*/ 754280 h 1172056"/>
                      <a:gd name="connsiteX61" fmla="*/ 33270 w 548724"/>
                      <a:gd name="connsiteY61" fmla="*/ 773253 h 1172056"/>
                      <a:gd name="connsiteX62" fmla="*/ 3490 w 548724"/>
                      <a:gd name="connsiteY62" fmla="*/ 851426 h 1172056"/>
                      <a:gd name="connsiteX63" fmla="*/ 0 w 548724"/>
                      <a:gd name="connsiteY63" fmla="*/ 850094 h 1172056"/>
                      <a:gd name="connsiteX64" fmla="*/ 1128 w 548724"/>
                      <a:gd name="connsiteY64" fmla="*/ 853070 h 1172056"/>
                      <a:gd name="connsiteX65" fmla="*/ 14300 w 548724"/>
                      <a:gd name="connsiteY65" fmla="*/ 869847 h 1172056"/>
                      <a:gd name="connsiteX66" fmla="*/ 43455 w 548724"/>
                      <a:gd name="connsiteY66" fmla="*/ 1025972 h 1172056"/>
                      <a:gd name="connsiteX67" fmla="*/ 51544 w 548724"/>
                      <a:gd name="connsiteY67" fmla="*/ 1039165 h 1172056"/>
                      <a:gd name="connsiteX68" fmla="*/ 42226 w 548724"/>
                      <a:gd name="connsiteY68" fmla="*/ 1064428 h 1172056"/>
                      <a:gd name="connsiteX69" fmla="*/ 49384 w 548724"/>
                      <a:gd name="connsiteY69" fmla="*/ 1130835 h 1172056"/>
                      <a:gd name="connsiteX70" fmla="*/ 72647 w 548724"/>
                      <a:gd name="connsiteY70" fmla="*/ 1166539 h 1172056"/>
                      <a:gd name="connsiteX71" fmla="*/ 110525 w 548724"/>
                      <a:gd name="connsiteY71" fmla="*/ 1161520 h 1172056"/>
                      <a:gd name="connsiteX72" fmla="*/ 113138 w 548724"/>
                      <a:gd name="connsiteY72" fmla="*/ 1119884 h 1172056"/>
                      <a:gd name="connsiteX73" fmla="*/ 126819 w 548724"/>
                      <a:gd name="connsiteY73" fmla="*/ 1101623 h 1172056"/>
                      <a:gd name="connsiteX74" fmla="*/ 171332 w 548724"/>
                      <a:gd name="connsiteY74" fmla="*/ 1092460 h 1172056"/>
                      <a:gd name="connsiteX75" fmla="*/ 179647 w 548724"/>
                      <a:gd name="connsiteY75" fmla="*/ 1105174 h 1172056"/>
                      <a:gd name="connsiteX76" fmla="*/ 199751 w 548724"/>
                      <a:gd name="connsiteY76" fmla="*/ 1093746 h 1172056"/>
                      <a:gd name="connsiteX77" fmla="*/ 245040 w 548724"/>
                      <a:gd name="connsiteY77" fmla="*/ 867114 h 1172056"/>
                      <a:gd name="connsiteX78" fmla="*/ 266908 w 548724"/>
                      <a:gd name="connsiteY78" fmla="*/ 878466 h 1172056"/>
                      <a:gd name="connsiteX79" fmla="*/ 284117 w 548724"/>
                      <a:gd name="connsiteY79" fmla="*/ 853037 h 1172056"/>
                      <a:gd name="connsiteX80" fmla="*/ 312192 w 548724"/>
                      <a:gd name="connsiteY80" fmla="*/ 854202 h 1172056"/>
                      <a:gd name="connsiteX81" fmla="*/ 318427 w 548724"/>
                      <a:gd name="connsiteY81" fmla="*/ 818864 h 1172056"/>
                      <a:gd name="connsiteX82" fmla="*/ 355370 w 548724"/>
                      <a:gd name="connsiteY82" fmla="*/ 797297 h 1172056"/>
                      <a:gd name="connsiteX83" fmla="*/ 344412 w 548724"/>
                      <a:gd name="connsiteY83" fmla="*/ 746330 h 1172056"/>
                      <a:gd name="connsiteX84" fmla="*/ 278923 w 548724"/>
                      <a:gd name="connsiteY84" fmla="*/ 644479 h 1172056"/>
                      <a:gd name="connsiteX85" fmla="*/ 300394 w 548724"/>
                      <a:gd name="connsiteY85" fmla="*/ 558106 h 1172056"/>
                      <a:gd name="connsiteX86" fmla="*/ 270954 w 548724"/>
                      <a:gd name="connsiteY86" fmla="*/ 542407 h 1172056"/>
                      <a:gd name="connsiteX87" fmla="*/ 386602 w 548724"/>
                      <a:gd name="connsiteY87" fmla="*/ 471308 h 1172056"/>
                      <a:gd name="connsiteX88" fmla="*/ 431006 w 548724"/>
                      <a:gd name="connsiteY88" fmla="*/ 441461 h 1172056"/>
                      <a:gd name="connsiteX89" fmla="*/ 452434 w 548724"/>
                      <a:gd name="connsiteY89" fmla="*/ 346478 h 1172056"/>
                      <a:gd name="connsiteX90" fmla="*/ 459818 w 548724"/>
                      <a:gd name="connsiteY90" fmla="*/ 273915 h 1172056"/>
                      <a:gd name="connsiteX91" fmla="*/ 548462 w 548724"/>
                      <a:gd name="connsiteY91" fmla="*/ 262863 h 1172056"/>
                      <a:gd name="connsiteX92" fmla="*/ 547803 w 548724"/>
                      <a:gd name="connsiteY92" fmla="*/ 235261 h 1172056"/>
                      <a:gd name="connsiteX93" fmla="*/ 542666 w 548724"/>
                      <a:gd name="connsiteY93" fmla="*/ 207025 h 117205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  <a:cxn ang="0">
                        <a:pos x="connsiteX25" y="connsiteY25"/>
                      </a:cxn>
                      <a:cxn ang="0">
                        <a:pos x="connsiteX26" y="connsiteY26"/>
                      </a:cxn>
                      <a:cxn ang="0">
                        <a:pos x="connsiteX27" y="connsiteY27"/>
                      </a:cxn>
                      <a:cxn ang="0">
                        <a:pos x="connsiteX28" y="connsiteY28"/>
                      </a:cxn>
                      <a:cxn ang="0">
                        <a:pos x="connsiteX29" y="connsiteY29"/>
                      </a:cxn>
                      <a:cxn ang="0">
                        <a:pos x="connsiteX30" y="connsiteY30"/>
                      </a:cxn>
                      <a:cxn ang="0">
                        <a:pos x="connsiteX31" y="connsiteY31"/>
                      </a:cxn>
                      <a:cxn ang="0">
                        <a:pos x="connsiteX32" y="connsiteY32"/>
                      </a:cxn>
                      <a:cxn ang="0">
                        <a:pos x="connsiteX33" y="connsiteY33"/>
                      </a:cxn>
                      <a:cxn ang="0">
                        <a:pos x="connsiteX34" y="connsiteY34"/>
                      </a:cxn>
                      <a:cxn ang="0">
                        <a:pos x="connsiteX35" y="connsiteY35"/>
                      </a:cxn>
                      <a:cxn ang="0">
                        <a:pos x="connsiteX36" y="connsiteY36"/>
                      </a:cxn>
                      <a:cxn ang="0">
                        <a:pos x="connsiteX37" y="connsiteY37"/>
                      </a:cxn>
                      <a:cxn ang="0">
                        <a:pos x="connsiteX38" y="connsiteY38"/>
                      </a:cxn>
                      <a:cxn ang="0">
                        <a:pos x="connsiteX39" y="connsiteY39"/>
                      </a:cxn>
                      <a:cxn ang="0">
                        <a:pos x="connsiteX40" y="connsiteY40"/>
                      </a:cxn>
                      <a:cxn ang="0">
                        <a:pos x="connsiteX41" y="connsiteY41"/>
                      </a:cxn>
                      <a:cxn ang="0">
                        <a:pos x="connsiteX42" y="connsiteY42"/>
                      </a:cxn>
                      <a:cxn ang="0">
                        <a:pos x="connsiteX43" y="connsiteY43"/>
                      </a:cxn>
                      <a:cxn ang="0">
                        <a:pos x="connsiteX44" y="connsiteY44"/>
                      </a:cxn>
                      <a:cxn ang="0">
                        <a:pos x="connsiteX45" y="connsiteY45"/>
                      </a:cxn>
                      <a:cxn ang="0">
                        <a:pos x="connsiteX46" y="connsiteY46"/>
                      </a:cxn>
                      <a:cxn ang="0">
                        <a:pos x="connsiteX47" y="connsiteY47"/>
                      </a:cxn>
                      <a:cxn ang="0">
                        <a:pos x="connsiteX48" y="connsiteY48"/>
                      </a:cxn>
                      <a:cxn ang="0">
                        <a:pos x="connsiteX49" y="connsiteY49"/>
                      </a:cxn>
                      <a:cxn ang="0">
                        <a:pos x="connsiteX50" y="connsiteY50"/>
                      </a:cxn>
                      <a:cxn ang="0">
                        <a:pos x="connsiteX51" y="connsiteY51"/>
                      </a:cxn>
                      <a:cxn ang="0">
                        <a:pos x="connsiteX52" y="connsiteY52"/>
                      </a:cxn>
                      <a:cxn ang="0">
                        <a:pos x="connsiteX53" y="connsiteY53"/>
                      </a:cxn>
                      <a:cxn ang="0">
                        <a:pos x="connsiteX54" y="connsiteY54"/>
                      </a:cxn>
                      <a:cxn ang="0">
                        <a:pos x="connsiteX55" y="connsiteY55"/>
                      </a:cxn>
                      <a:cxn ang="0">
                        <a:pos x="connsiteX56" y="connsiteY56"/>
                      </a:cxn>
                      <a:cxn ang="0">
                        <a:pos x="connsiteX57" y="connsiteY57"/>
                      </a:cxn>
                      <a:cxn ang="0">
                        <a:pos x="connsiteX58" y="connsiteY58"/>
                      </a:cxn>
                      <a:cxn ang="0">
                        <a:pos x="connsiteX59" y="connsiteY59"/>
                      </a:cxn>
                      <a:cxn ang="0">
                        <a:pos x="connsiteX60" y="connsiteY60"/>
                      </a:cxn>
                      <a:cxn ang="0">
                        <a:pos x="connsiteX61" y="connsiteY61"/>
                      </a:cxn>
                      <a:cxn ang="0">
                        <a:pos x="connsiteX62" y="connsiteY62"/>
                      </a:cxn>
                      <a:cxn ang="0">
                        <a:pos x="connsiteX63" y="connsiteY63"/>
                      </a:cxn>
                      <a:cxn ang="0">
                        <a:pos x="connsiteX64" y="connsiteY64"/>
                      </a:cxn>
                      <a:cxn ang="0">
                        <a:pos x="connsiteX65" y="connsiteY65"/>
                      </a:cxn>
                      <a:cxn ang="0">
                        <a:pos x="connsiteX66" y="connsiteY66"/>
                      </a:cxn>
                      <a:cxn ang="0">
                        <a:pos x="connsiteX67" y="connsiteY67"/>
                      </a:cxn>
                      <a:cxn ang="0">
                        <a:pos x="connsiteX68" y="connsiteY68"/>
                      </a:cxn>
                      <a:cxn ang="0">
                        <a:pos x="connsiteX69" y="connsiteY69"/>
                      </a:cxn>
                      <a:cxn ang="0">
                        <a:pos x="connsiteX70" y="connsiteY70"/>
                      </a:cxn>
                      <a:cxn ang="0">
                        <a:pos x="connsiteX71" y="connsiteY71"/>
                      </a:cxn>
                      <a:cxn ang="0">
                        <a:pos x="connsiteX72" y="connsiteY72"/>
                      </a:cxn>
                      <a:cxn ang="0">
                        <a:pos x="connsiteX73" y="connsiteY73"/>
                      </a:cxn>
                      <a:cxn ang="0">
                        <a:pos x="connsiteX74" y="connsiteY74"/>
                      </a:cxn>
                      <a:cxn ang="0">
                        <a:pos x="connsiteX75" y="connsiteY75"/>
                      </a:cxn>
                      <a:cxn ang="0">
                        <a:pos x="connsiteX76" y="connsiteY76"/>
                      </a:cxn>
                      <a:cxn ang="0">
                        <a:pos x="connsiteX77" y="connsiteY77"/>
                      </a:cxn>
                      <a:cxn ang="0">
                        <a:pos x="connsiteX78" y="connsiteY78"/>
                      </a:cxn>
                      <a:cxn ang="0">
                        <a:pos x="connsiteX79" y="connsiteY79"/>
                      </a:cxn>
                      <a:cxn ang="0">
                        <a:pos x="connsiteX80" y="connsiteY80"/>
                      </a:cxn>
                      <a:cxn ang="0">
                        <a:pos x="connsiteX81" y="connsiteY81"/>
                      </a:cxn>
                      <a:cxn ang="0">
                        <a:pos x="connsiteX82" y="connsiteY82"/>
                      </a:cxn>
                      <a:cxn ang="0">
                        <a:pos x="connsiteX83" y="connsiteY83"/>
                      </a:cxn>
                      <a:cxn ang="0">
                        <a:pos x="connsiteX84" y="connsiteY84"/>
                      </a:cxn>
                      <a:cxn ang="0">
                        <a:pos x="connsiteX85" y="connsiteY85"/>
                      </a:cxn>
                      <a:cxn ang="0">
                        <a:pos x="connsiteX86" y="connsiteY86"/>
                      </a:cxn>
                      <a:cxn ang="0">
                        <a:pos x="connsiteX87" y="connsiteY87"/>
                      </a:cxn>
                      <a:cxn ang="0">
                        <a:pos x="connsiteX88" y="connsiteY88"/>
                      </a:cxn>
                      <a:cxn ang="0">
                        <a:pos x="connsiteX89" y="connsiteY89"/>
                      </a:cxn>
                      <a:cxn ang="0">
                        <a:pos x="connsiteX90" y="connsiteY90"/>
                      </a:cxn>
                      <a:cxn ang="0">
                        <a:pos x="connsiteX91" y="connsiteY91"/>
                      </a:cxn>
                      <a:cxn ang="0">
                        <a:pos x="connsiteX92" y="connsiteY92"/>
                      </a:cxn>
                      <a:cxn ang="0">
                        <a:pos x="connsiteX93" y="connsiteY93"/>
                      </a:cxn>
                    </a:cxnLst>
                    <a:rect l="l" t="t" r="r" b="b"/>
                    <a:pathLst>
                      <a:path w="548724" h="1172056">
                        <a:moveTo>
                          <a:pt x="542666" y="207025"/>
                        </a:moveTo>
                        <a:cubicBezTo>
                          <a:pt x="541075" y="205915"/>
                          <a:pt x="539250" y="205137"/>
                          <a:pt x="537443" y="204332"/>
                        </a:cubicBezTo>
                        <a:cubicBezTo>
                          <a:pt x="533635" y="202629"/>
                          <a:pt x="529307" y="200701"/>
                          <a:pt x="526319" y="196545"/>
                        </a:cubicBezTo>
                        <a:cubicBezTo>
                          <a:pt x="520488" y="188453"/>
                          <a:pt x="523978" y="179714"/>
                          <a:pt x="527056" y="171999"/>
                        </a:cubicBezTo>
                        <a:cubicBezTo>
                          <a:pt x="528709" y="167871"/>
                          <a:pt x="530404" y="163601"/>
                          <a:pt x="530440" y="159955"/>
                        </a:cubicBezTo>
                        <a:cubicBezTo>
                          <a:pt x="530489" y="154256"/>
                          <a:pt x="526408" y="149017"/>
                          <a:pt x="522095" y="143474"/>
                        </a:cubicBezTo>
                        <a:cubicBezTo>
                          <a:pt x="519715" y="140405"/>
                          <a:pt x="517240" y="137233"/>
                          <a:pt x="515260" y="133741"/>
                        </a:cubicBezTo>
                        <a:cubicBezTo>
                          <a:pt x="512166" y="128303"/>
                          <a:pt x="510509" y="122472"/>
                          <a:pt x="508905" y="116830"/>
                        </a:cubicBezTo>
                        <a:lnTo>
                          <a:pt x="507886" y="113322"/>
                        </a:lnTo>
                        <a:cubicBezTo>
                          <a:pt x="501510" y="91815"/>
                          <a:pt x="490260" y="71643"/>
                          <a:pt x="475303" y="54917"/>
                        </a:cubicBezTo>
                        <a:cubicBezTo>
                          <a:pt x="460940" y="48611"/>
                          <a:pt x="447369" y="38764"/>
                          <a:pt x="431457" y="23125"/>
                        </a:cubicBezTo>
                        <a:cubicBezTo>
                          <a:pt x="424408" y="16194"/>
                          <a:pt x="417620" y="8835"/>
                          <a:pt x="411211" y="1273"/>
                        </a:cubicBezTo>
                        <a:lnTo>
                          <a:pt x="411019" y="1471"/>
                        </a:lnTo>
                        <a:cubicBezTo>
                          <a:pt x="410539" y="998"/>
                          <a:pt x="409060" y="-433"/>
                          <a:pt x="405847" y="129"/>
                        </a:cubicBezTo>
                        <a:cubicBezTo>
                          <a:pt x="401693" y="828"/>
                          <a:pt x="397215" y="4273"/>
                          <a:pt x="395204" y="8334"/>
                        </a:cubicBezTo>
                        <a:cubicBezTo>
                          <a:pt x="393152" y="12465"/>
                          <a:pt x="392172" y="17210"/>
                          <a:pt x="391139" y="22229"/>
                        </a:cubicBezTo>
                        <a:cubicBezTo>
                          <a:pt x="390151" y="27015"/>
                          <a:pt x="389132" y="31961"/>
                          <a:pt x="387096" y="36750"/>
                        </a:cubicBezTo>
                        <a:cubicBezTo>
                          <a:pt x="383949" y="44144"/>
                          <a:pt x="377289" y="50275"/>
                          <a:pt x="370126" y="52372"/>
                        </a:cubicBezTo>
                        <a:cubicBezTo>
                          <a:pt x="367525" y="53122"/>
                          <a:pt x="364940" y="53336"/>
                          <a:pt x="362482" y="52967"/>
                        </a:cubicBezTo>
                        <a:cubicBezTo>
                          <a:pt x="358415" y="67197"/>
                          <a:pt x="348716" y="79553"/>
                          <a:pt x="335688" y="86772"/>
                        </a:cubicBezTo>
                        <a:lnTo>
                          <a:pt x="333082" y="88215"/>
                        </a:lnTo>
                        <a:lnTo>
                          <a:pt x="330501" y="86744"/>
                        </a:lnTo>
                        <a:cubicBezTo>
                          <a:pt x="325463" y="83881"/>
                          <a:pt x="319619" y="82476"/>
                          <a:pt x="313917" y="82736"/>
                        </a:cubicBezTo>
                        <a:cubicBezTo>
                          <a:pt x="314509" y="85209"/>
                          <a:pt x="314596" y="87840"/>
                          <a:pt x="314151" y="90559"/>
                        </a:cubicBezTo>
                        <a:cubicBezTo>
                          <a:pt x="312301" y="101825"/>
                          <a:pt x="302163" y="111728"/>
                          <a:pt x="294045" y="116779"/>
                        </a:cubicBezTo>
                        <a:cubicBezTo>
                          <a:pt x="281496" y="124588"/>
                          <a:pt x="270354" y="132409"/>
                          <a:pt x="271780" y="142157"/>
                        </a:cubicBezTo>
                        <a:cubicBezTo>
                          <a:pt x="272129" y="144559"/>
                          <a:pt x="273313" y="147099"/>
                          <a:pt x="274563" y="149790"/>
                        </a:cubicBezTo>
                        <a:cubicBezTo>
                          <a:pt x="276527" y="154027"/>
                          <a:pt x="278763" y="158824"/>
                          <a:pt x="278283" y="164429"/>
                        </a:cubicBezTo>
                        <a:cubicBezTo>
                          <a:pt x="277240" y="176553"/>
                          <a:pt x="266244" y="181172"/>
                          <a:pt x="256546" y="185247"/>
                        </a:cubicBezTo>
                        <a:cubicBezTo>
                          <a:pt x="249129" y="188360"/>
                          <a:pt x="242122" y="191302"/>
                          <a:pt x="240068" y="196769"/>
                        </a:cubicBezTo>
                        <a:cubicBezTo>
                          <a:pt x="239379" y="198610"/>
                          <a:pt x="239236" y="200918"/>
                          <a:pt x="239084" y="203365"/>
                        </a:cubicBezTo>
                        <a:cubicBezTo>
                          <a:pt x="238964" y="205285"/>
                          <a:pt x="238833" y="207209"/>
                          <a:pt x="238500" y="209100"/>
                        </a:cubicBezTo>
                        <a:cubicBezTo>
                          <a:pt x="235895" y="223822"/>
                          <a:pt x="223660" y="231506"/>
                          <a:pt x="211825" y="238932"/>
                        </a:cubicBezTo>
                        <a:cubicBezTo>
                          <a:pt x="204434" y="243575"/>
                          <a:pt x="196790" y="248374"/>
                          <a:pt x="192131" y="254697"/>
                        </a:cubicBezTo>
                        <a:cubicBezTo>
                          <a:pt x="185206" y="264094"/>
                          <a:pt x="184761" y="276493"/>
                          <a:pt x="184284" y="289612"/>
                        </a:cubicBezTo>
                        <a:cubicBezTo>
                          <a:pt x="184024" y="296864"/>
                          <a:pt x="183753" y="304365"/>
                          <a:pt x="182349" y="311611"/>
                        </a:cubicBezTo>
                        <a:cubicBezTo>
                          <a:pt x="178471" y="331637"/>
                          <a:pt x="165468" y="349255"/>
                          <a:pt x="147719" y="359076"/>
                        </a:cubicBezTo>
                        <a:lnTo>
                          <a:pt x="174462" y="388607"/>
                        </a:lnTo>
                        <a:lnTo>
                          <a:pt x="174383" y="390758"/>
                        </a:lnTo>
                        <a:cubicBezTo>
                          <a:pt x="173813" y="406370"/>
                          <a:pt x="158062" y="416733"/>
                          <a:pt x="142797" y="418900"/>
                        </a:cubicBezTo>
                        <a:cubicBezTo>
                          <a:pt x="129493" y="420790"/>
                          <a:pt x="116459" y="418597"/>
                          <a:pt x="104972" y="421708"/>
                        </a:cubicBezTo>
                        <a:cubicBezTo>
                          <a:pt x="94481" y="424548"/>
                          <a:pt x="85788" y="431738"/>
                          <a:pt x="79845" y="442500"/>
                        </a:cubicBezTo>
                        <a:cubicBezTo>
                          <a:pt x="71180" y="458187"/>
                          <a:pt x="69231" y="480243"/>
                          <a:pt x="74876" y="498694"/>
                        </a:cubicBezTo>
                        <a:lnTo>
                          <a:pt x="77357" y="506790"/>
                        </a:lnTo>
                        <a:lnTo>
                          <a:pt x="68991" y="505471"/>
                        </a:lnTo>
                        <a:cubicBezTo>
                          <a:pt x="67547" y="505270"/>
                          <a:pt x="65339" y="505257"/>
                          <a:pt x="63186" y="507987"/>
                        </a:cubicBezTo>
                        <a:cubicBezTo>
                          <a:pt x="59549" y="512606"/>
                          <a:pt x="58639" y="521721"/>
                          <a:pt x="61199" y="527887"/>
                        </a:cubicBezTo>
                        <a:cubicBezTo>
                          <a:pt x="62649" y="531388"/>
                          <a:pt x="64544" y="534807"/>
                          <a:pt x="66429" y="538223"/>
                        </a:cubicBezTo>
                        <a:cubicBezTo>
                          <a:pt x="71366" y="547189"/>
                          <a:pt x="76468" y="556459"/>
                          <a:pt x="74957" y="567393"/>
                        </a:cubicBezTo>
                        <a:cubicBezTo>
                          <a:pt x="74393" y="571493"/>
                          <a:pt x="72941" y="575118"/>
                          <a:pt x="71536" y="578624"/>
                        </a:cubicBezTo>
                        <a:cubicBezTo>
                          <a:pt x="70211" y="581944"/>
                          <a:pt x="68951" y="585082"/>
                          <a:pt x="68699" y="588132"/>
                        </a:cubicBezTo>
                        <a:cubicBezTo>
                          <a:pt x="67908" y="597625"/>
                          <a:pt x="76198" y="606620"/>
                          <a:pt x="94039" y="615629"/>
                        </a:cubicBezTo>
                        <a:lnTo>
                          <a:pt x="99240" y="618259"/>
                        </a:lnTo>
                        <a:lnTo>
                          <a:pt x="96121" y="623190"/>
                        </a:lnTo>
                        <a:cubicBezTo>
                          <a:pt x="69535" y="665243"/>
                          <a:pt x="61876" y="718902"/>
                          <a:pt x="75626" y="766718"/>
                        </a:cubicBezTo>
                        <a:lnTo>
                          <a:pt x="76530" y="769829"/>
                        </a:lnTo>
                        <a:cubicBezTo>
                          <a:pt x="81493" y="786878"/>
                          <a:pt x="87677" y="808104"/>
                          <a:pt x="75028" y="823288"/>
                        </a:cubicBezTo>
                        <a:lnTo>
                          <a:pt x="69983" y="829342"/>
                        </a:lnTo>
                        <a:lnTo>
                          <a:pt x="66285" y="822388"/>
                        </a:lnTo>
                        <a:cubicBezTo>
                          <a:pt x="54803" y="800820"/>
                          <a:pt x="51513" y="775154"/>
                          <a:pt x="57087" y="751385"/>
                        </a:cubicBezTo>
                        <a:cubicBezTo>
                          <a:pt x="53170" y="749774"/>
                          <a:pt x="47591" y="751306"/>
                          <a:pt x="44117" y="754280"/>
                        </a:cubicBezTo>
                        <a:cubicBezTo>
                          <a:pt x="38731" y="758912"/>
                          <a:pt x="35832" y="766532"/>
                          <a:pt x="33270" y="773253"/>
                        </a:cubicBezTo>
                        <a:lnTo>
                          <a:pt x="3490" y="851426"/>
                        </a:lnTo>
                        <a:lnTo>
                          <a:pt x="0" y="850094"/>
                        </a:lnTo>
                        <a:cubicBezTo>
                          <a:pt x="380" y="851085"/>
                          <a:pt x="638" y="852115"/>
                          <a:pt x="1128" y="853070"/>
                        </a:cubicBezTo>
                        <a:cubicBezTo>
                          <a:pt x="4377" y="859415"/>
                          <a:pt x="9887" y="864250"/>
                          <a:pt x="14300" y="869847"/>
                        </a:cubicBezTo>
                        <a:cubicBezTo>
                          <a:pt x="47828" y="912367"/>
                          <a:pt x="10656" y="982888"/>
                          <a:pt x="43455" y="1025972"/>
                        </a:cubicBezTo>
                        <a:cubicBezTo>
                          <a:pt x="46610" y="1030116"/>
                          <a:pt x="50449" y="1034075"/>
                          <a:pt x="51544" y="1039165"/>
                        </a:cubicBezTo>
                        <a:cubicBezTo>
                          <a:pt x="53474" y="1048153"/>
                          <a:pt x="46329" y="1056200"/>
                          <a:pt x="42226" y="1064428"/>
                        </a:cubicBezTo>
                        <a:cubicBezTo>
                          <a:pt x="31961" y="1085009"/>
                          <a:pt x="40645" y="1109560"/>
                          <a:pt x="49384" y="1130835"/>
                        </a:cubicBezTo>
                        <a:cubicBezTo>
                          <a:pt x="54858" y="1144162"/>
                          <a:pt x="60891" y="1158211"/>
                          <a:pt x="72647" y="1166539"/>
                        </a:cubicBezTo>
                        <a:cubicBezTo>
                          <a:pt x="84406" y="1174868"/>
                          <a:pt x="103706" y="1174212"/>
                          <a:pt x="110525" y="1161520"/>
                        </a:cubicBezTo>
                        <a:cubicBezTo>
                          <a:pt x="117190" y="1149111"/>
                          <a:pt x="108868" y="1133308"/>
                          <a:pt x="113138" y="1119884"/>
                        </a:cubicBezTo>
                        <a:cubicBezTo>
                          <a:pt x="115470" y="1112556"/>
                          <a:pt x="121248" y="1106926"/>
                          <a:pt x="126819" y="1101623"/>
                        </a:cubicBezTo>
                        <a:cubicBezTo>
                          <a:pt x="139363" y="1089677"/>
                          <a:pt x="161387" y="1078279"/>
                          <a:pt x="171332" y="1092460"/>
                        </a:cubicBezTo>
                        <a:cubicBezTo>
                          <a:pt x="174276" y="1096659"/>
                          <a:pt x="175258" y="1102518"/>
                          <a:pt x="179647" y="1105174"/>
                        </a:cubicBezTo>
                        <a:cubicBezTo>
                          <a:pt x="187036" y="1109650"/>
                          <a:pt x="195437" y="1101232"/>
                          <a:pt x="199751" y="1093746"/>
                        </a:cubicBezTo>
                        <a:cubicBezTo>
                          <a:pt x="238894" y="1025800"/>
                          <a:pt x="255065" y="944886"/>
                          <a:pt x="245040" y="867114"/>
                        </a:cubicBezTo>
                        <a:cubicBezTo>
                          <a:pt x="252330" y="870897"/>
                          <a:pt x="259620" y="874681"/>
                          <a:pt x="266908" y="878466"/>
                        </a:cubicBezTo>
                        <a:cubicBezTo>
                          <a:pt x="271181" y="869033"/>
                          <a:pt x="275786" y="859181"/>
                          <a:pt x="284117" y="853037"/>
                        </a:cubicBezTo>
                        <a:cubicBezTo>
                          <a:pt x="292454" y="846892"/>
                          <a:pt x="305720" y="846121"/>
                          <a:pt x="312192" y="854202"/>
                        </a:cubicBezTo>
                        <a:cubicBezTo>
                          <a:pt x="321055" y="845100"/>
                          <a:pt x="323639" y="830450"/>
                          <a:pt x="318427" y="818864"/>
                        </a:cubicBezTo>
                        <a:cubicBezTo>
                          <a:pt x="330740" y="811676"/>
                          <a:pt x="343055" y="804485"/>
                          <a:pt x="355370" y="797297"/>
                        </a:cubicBezTo>
                        <a:cubicBezTo>
                          <a:pt x="348571" y="781193"/>
                          <a:pt x="344831" y="763805"/>
                          <a:pt x="344412" y="746330"/>
                        </a:cubicBezTo>
                        <a:cubicBezTo>
                          <a:pt x="299779" y="743231"/>
                          <a:pt x="277227" y="689188"/>
                          <a:pt x="278923" y="644479"/>
                        </a:cubicBezTo>
                        <a:cubicBezTo>
                          <a:pt x="280057" y="614624"/>
                          <a:pt x="287415" y="585017"/>
                          <a:pt x="300394" y="558106"/>
                        </a:cubicBezTo>
                        <a:cubicBezTo>
                          <a:pt x="288884" y="557721"/>
                          <a:pt x="277687" y="551751"/>
                          <a:pt x="270954" y="542407"/>
                        </a:cubicBezTo>
                        <a:cubicBezTo>
                          <a:pt x="315688" y="531644"/>
                          <a:pt x="356804" y="506365"/>
                          <a:pt x="386602" y="471308"/>
                        </a:cubicBezTo>
                        <a:cubicBezTo>
                          <a:pt x="398656" y="457126"/>
                          <a:pt x="412473" y="439707"/>
                          <a:pt x="431006" y="441461"/>
                        </a:cubicBezTo>
                        <a:cubicBezTo>
                          <a:pt x="446964" y="412692"/>
                          <a:pt x="454494" y="379312"/>
                          <a:pt x="452434" y="346478"/>
                        </a:cubicBezTo>
                        <a:cubicBezTo>
                          <a:pt x="450872" y="321601"/>
                          <a:pt x="444728" y="293754"/>
                          <a:pt x="459818" y="273915"/>
                        </a:cubicBezTo>
                        <a:cubicBezTo>
                          <a:pt x="479030" y="248654"/>
                          <a:pt x="517753" y="254383"/>
                          <a:pt x="548462" y="262863"/>
                        </a:cubicBezTo>
                        <a:cubicBezTo>
                          <a:pt x="545861" y="254007"/>
                          <a:pt x="546855" y="244165"/>
                          <a:pt x="547803" y="235261"/>
                        </a:cubicBezTo>
                        <a:cubicBezTo>
                          <a:pt x="549329" y="220994"/>
                          <a:pt x="549748" y="211977"/>
                          <a:pt x="542666" y="207025"/>
                        </a:cubicBezTo>
                        <a:close/>
                      </a:path>
                    </a:pathLst>
                  </a:custGeom>
                  <a:grpFill/>
                  <a:ln w="1649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s-ES_tradnl" sz="2400"/>
                  </a:p>
                </p:txBody>
              </p:sp>
              <p:sp>
                <p:nvSpPr>
                  <p:cNvPr id="235" name="Forma libre 234">
                    <a:extLst>
                      <a:ext uri="{FF2B5EF4-FFF2-40B4-BE49-F238E27FC236}">
                        <a16:creationId xmlns:a16="http://schemas.microsoft.com/office/drawing/2014/main" id="{BEF845B5-F802-294E-A104-57FBDA2BB1B3}"/>
                      </a:ext>
                    </a:extLst>
                  </p:cNvPr>
                  <p:cNvSpPr/>
                  <p:nvPr/>
                </p:nvSpPr>
                <p:spPr>
                  <a:xfrm>
                    <a:off x="5728720" y="2107076"/>
                    <a:ext cx="6880" cy="38871"/>
                  </a:xfrm>
                  <a:custGeom>
                    <a:avLst/>
                    <a:gdLst>
                      <a:gd name="connsiteX0" fmla="*/ 1341 w 6880"/>
                      <a:gd name="connsiteY0" fmla="*/ 4021 h 38871"/>
                      <a:gd name="connsiteX1" fmla="*/ 428 w 6880"/>
                      <a:gd name="connsiteY1" fmla="*/ 879 h 38871"/>
                      <a:gd name="connsiteX2" fmla="*/ 177 w 6880"/>
                      <a:gd name="connsiteY2" fmla="*/ 0 h 38871"/>
                      <a:gd name="connsiteX3" fmla="*/ 6147 w 6880"/>
                      <a:gd name="connsiteY3" fmla="*/ 38871 h 38871"/>
                      <a:gd name="connsiteX4" fmla="*/ 1341 w 6880"/>
                      <a:gd name="connsiteY4" fmla="*/ 4021 h 3887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6880" h="38871">
                        <a:moveTo>
                          <a:pt x="1341" y="4021"/>
                        </a:moveTo>
                        <a:lnTo>
                          <a:pt x="428" y="879"/>
                        </a:lnTo>
                        <a:cubicBezTo>
                          <a:pt x="341" y="584"/>
                          <a:pt x="257" y="290"/>
                          <a:pt x="177" y="0"/>
                        </a:cubicBezTo>
                        <a:cubicBezTo>
                          <a:pt x="-643" y="13183"/>
                          <a:pt x="1391" y="26537"/>
                          <a:pt x="6147" y="38871"/>
                        </a:cubicBezTo>
                        <a:cubicBezTo>
                          <a:pt x="8496" y="28594"/>
                          <a:pt x="4742" y="15714"/>
                          <a:pt x="1341" y="4021"/>
                        </a:cubicBezTo>
                        <a:close/>
                      </a:path>
                    </a:pathLst>
                  </a:custGeom>
                  <a:grpFill/>
                  <a:ln w="1649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s-ES_tradnl" sz="2400"/>
                  </a:p>
                </p:txBody>
              </p:sp>
            </p:grpSp>
            <p:sp>
              <p:nvSpPr>
                <p:cNvPr id="143" name="Forma libre 142">
                  <a:extLst>
                    <a:ext uri="{FF2B5EF4-FFF2-40B4-BE49-F238E27FC236}">
                      <a16:creationId xmlns:a16="http://schemas.microsoft.com/office/drawing/2014/main" id="{A46E2D70-CA36-4442-87E5-CAD9A20A0131}"/>
                    </a:ext>
                  </a:extLst>
                </p:cNvPr>
                <p:cNvSpPr/>
                <p:nvPr/>
              </p:nvSpPr>
              <p:spPr>
                <a:xfrm>
                  <a:off x="4414681" y="2276548"/>
                  <a:ext cx="333109" cy="281118"/>
                </a:xfrm>
                <a:custGeom>
                  <a:avLst/>
                  <a:gdLst>
                    <a:gd name="connsiteX0" fmla="*/ 110363 w 333109"/>
                    <a:gd name="connsiteY0" fmla="*/ 51617 h 281118"/>
                    <a:gd name="connsiteX1" fmla="*/ 68738 w 333109"/>
                    <a:gd name="connsiteY1" fmla="*/ 79536 h 281118"/>
                    <a:gd name="connsiteX2" fmla="*/ 102557 w 333109"/>
                    <a:gd name="connsiteY2" fmla="*/ 101859 h 281118"/>
                    <a:gd name="connsiteX3" fmla="*/ 99209 w 333109"/>
                    <a:gd name="connsiteY3" fmla="*/ 150547 h 281118"/>
                    <a:gd name="connsiteX4" fmla="*/ 52772 w 333109"/>
                    <a:gd name="connsiteY4" fmla="*/ 165564 h 281118"/>
                    <a:gd name="connsiteX5" fmla="*/ 68033 w 333109"/>
                    <a:gd name="connsiteY5" fmla="*/ 192126 h 281118"/>
                    <a:gd name="connsiteX6" fmla="*/ 5236 w 333109"/>
                    <a:gd name="connsiteY6" fmla="*/ 195414 h 281118"/>
                    <a:gd name="connsiteX7" fmla="*/ 1491 w 333109"/>
                    <a:gd name="connsiteY7" fmla="*/ 224625 h 281118"/>
                    <a:gd name="connsiteX8" fmla="*/ 17147 w 333109"/>
                    <a:gd name="connsiteY8" fmla="*/ 255016 h 281118"/>
                    <a:gd name="connsiteX9" fmla="*/ 57103 w 333109"/>
                    <a:gd name="connsiteY9" fmla="*/ 262793 h 281118"/>
                    <a:gd name="connsiteX10" fmla="*/ 67588 w 333109"/>
                    <a:gd name="connsiteY10" fmla="*/ 273676 h 281118"/>
                    <a:gd name="connsiteX11" fmla="*/ 128329 w 333109"/>
                    <a:gd name="connsiteY11" fmla="*/ 265237 h 281118"/>
                    <a:gd name="connsiteX12" fmla="*/ 188688 w 333109"/>
                    <a:gd name="connsiteY12" fmla="*/ 244924 h 281118"/>
                    <a:gd name="connsiteX13" fmla="*/ 237849 w 333109"/>
                    <a:gd name="connsiteY13" fmla="*/ 252819 h 281118"/>
                    <a:gd name="connsiteX14" fmla="*/ 261724 w 333109"/>
                    <a:gd name="connsiteY14" fmla="*/ 227436 h 281118"/>
                    <a:gd name="connsiteX15" fmla="*/ 275154 w 333109"/>
                    <a:gd name="connsiteY15" fmla="*/ 198253 h 281118"/>
                    <a:gd name="connsiteX16" fmla="*/ 270998 w 333109"/>
                    <a:gd name="connsiteY16" fmla="*/ 160298 h 281118"/>
                    <a:gd name="connsiteX17" fmla="*/ 276394 w 333109"/>
                    <a:gd name="connsiteY17" fmla="*/ 143795 h 281118"/>
                    <a:gd name="connsiteX18" fmla="*/ 306005 w 333109"/>
                    <a:gd name="connsiteY18" fmla="*/ 100210 h 281118"/>
                    <a:gd name="connsiteX19" fmla="*/ 320335 w 333109"/>
                    <a:gd name="connsiteY19" fmla="*/ 84124 h 281118"/>
                    <a:gd name="connsiteX20" fmla="*/ 315750 w 333109"/>
                    <a:gd name="connsiteY20" fmla="*/ 65368 h 281118"/>
                    <a:gd name="connsiteX21" fmla="*/ 329959 w 333109"/>
                    <a:gd name="connsiteY21" fmla="*/ 53244 h 281118"/>
                    <a:gd name="connsiteX22" fmla="*/ 320940 w 333109"/>
                    <a:gd name="connsiteY22" fmla="*/ 27319 h 281118"/>
                    <a:gd name="connsiteX23" fmla="*/ 289155 w 333109"/>
                    <a:gd name="connsiteY23" fmla="*/ 24505 h 281118"/>
                    <a:gd name="connsiteX24" fmla="*/ 254813 w 333109"/>
                    <a:gd name="connsiteY24" fmla="*/ 17126 h 281118"/>
                    <a:gd name="connsiteX25" fmla="*/ 276221 w 333109"/>
                    <a:gd name="connsiteY25" fmla="*/ 2606 h 281118"/>
                    <a:gd name="connsiteX26" fmla="*/ 212524 w 333109"/>
                    <a:gd name="connsiteY26" fmla="*/ 1865 h 281118"/>
                    <a:gd name="connsiteX27" fmla="*/ 187571 w 333109"/>
                    <a:gd name="connsiteY27" fmla="*/ 11297 h 281118"/>
                    <a:gd name="connsiteX28" fmla="*/ 186480 w 333109"/>
                    <a:gd name="connsiteY28" fmla="*/ 35287 h 281118"/>
                    <a:gd name="connsiteX29" fmla="*/ 180845 w 333109"/>
                    <a:gd name="connsiteY29" fmla="*/ 68383 h 281118"/>
                    <a:gd name="connsiteX30" fmla="*/ 149753 w 333109"/>
                    <a:gd name="connsiteY30" fmla="*/ 45824 h 281118"/>
                    <a:gd name="connsiteX31" fmla="*/ 110363 w 333109"/>
                    <a:gd name="connsiteY31" fmla="*/ 51617 h 28111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</a:cxnLst>
                  <a:rect l="l" t="t" r="r" b="b"/>
                  <a:pathLst>
                    <a:path w="333109" h="281118">
                      <a:moveTo>
                        <a:pt x="110363" y="51617"/>
                      </a:moveTo>
                      <a:cubicBezTo>
                        <a:pt x="107999" y="69409"/>
                        <a:pt x="86411" y="76398"/>
                        <a:pt x="68738" y="79536"/>
                      </a:cubicBezTo>
                      <a:cubicBezTo>
                        <a:pt x="72400" y="93890"/>
                        <a:pt x="87918" y="104132"/>
                        <a:pt x="102557" y="101859"/>
                      </a:cubicBezTo>
                      <a:cubicBezTo>
                        <a:pt x="111227" y="116793"/>
                        <a:pt x="109840" y="136942"/>
                        <a:pt x="99209" y="150547"/>
                      </a:cubicBezTo>
                      <a:cubicBezTo>
                        <a:pt x="88575" y="164153"/>
                        <a:pt x="69360" y="170368"/>
                        <a:pt x="52772" y="165564"/>
                      </a:cubicBezTo>
                      <a:cubicBezTo>
                        <a:pt x="50362" y="176502"/>
                        <a:pt x="57368" y="188700"/>
                        <a:pt x="68033" y="192126"/>
                      </a:cubicBezTo>
                      <a:cubicBezTo>
                        <a:pt x="49104" y="203047"/>
                        <a:pt x="20152" y="179442"/>
                        <a:pt x="5236" y="195414"/>
                      </a:cubicBezTo>
                      <a:cubicBezTo>
                        <a:pt x="-1731" y="202873"/>
                        <a:pt x="-346" y="214585"/>
                        <a:pt x="1491" y="224625"/>
                      </a:cubicBezTo>
                      <a:cubicBezTo>
                        <a:pt x="3614" y="236239"/>
                        <a:pt x="6781" y="249363"/>
                        <a:pt x="17147" y="255016"/>
                      </a:cubicBezTo>
                      <a:cubicBezTo>
                        <a:pt x="29227" y="261606"/>
                        <a:pt x="45888" y="254822"/>
                        <a:pt x="57103" y="262793"/>
                      </a:cubicBezTo>
                      <a:cubicBezTo>
                        <a:pt x="61219" y="265717"/>
                        <a:pt x="63901" y="270228"/>
                        <a:pt x="67588" y="273676"/>
                      </a:cubicBezTo>
                      <a:cubicBezTo>
                        <a:pt x="83818" y="288855"/>
                        <a:pt x="110249" y="278157"/>
                        <a:pt x="128329" y="265237"/>
                      </a:cubicBezTo>
                      <a:cubicBezTo>
                        <a:pt x="146609" y="252169"/>
                        <a:pt x="165393" y="238694"/>
                        <a:pt x="188688" y="244924"/>
                      </a:cubicBezTo>
                      <a:cubicBezTo>
                        <a:pt x="205979" y="249550"/>
                        <a:pt x="218747" y="263620"/>
                        <a:pt x="237849" y="252819"/>
                      </a:cubicBezTo>
                      <a:cubicBezTo>
                        <a:pt x="248052" y="247049"/>
                        <a:pt x="255060" y="237080"/>
                        <a:pt x="261724" y="227436"/>
                      </a:cubicBezTo>
                      <a:cubicBezTo>
                        <a:pt x="267882" y="218517"/>
                        <a:pt x="274246" y="209055"/>
                        <a:pt x="275154" y="198253"/>
                      </a:cubicBezTo>
                      <a:cubicBezTo>
                        <a:pt x="276224" y="185513"/>
                        <a:pt x="269477" y="172992"/>
                        <a:pt x="270998" y="160298"/>
                      </a:cubicBezTo>
                      <a:cubicBezTo>
                        <a:pt x="271689" y="154528"/>
                        <a:pt x="274055" y="149113"/>
                        <a:pt x="276394" y="143795"/>
                      </a:cubicBezTo>
                      <a:cubicBezTo>
                        <a:pt x="283560" y="127499"/>
                        <a:pt x="291391" y="110375"/>
                        <a:pt x="306005" y="100210"/>
                      </a:cubicBezTo>
                      <a:cubicBezTo>
                        <a:pt x="312160" y="95929"/>
                        <a:pt x="320224" y="91621"/>
                        <a:pt x="320335" y="84124"/>
                      </a:cubicBezTo>
                      <a:cubicBezTo>
                        <a:pt x="320432" y="77571"/>
                        <a:pt x="313907" y="71657"/>
                        <a:pt x="315750" y="65368"/>
                      </a:cubicBezTo>
                      <a:cubicBezTo>
                        <a:pt x="317539" y="59267"/>
                        <a:pt x="325598" y="57870"/>
                        <a:pt x="329959" y="53244"/>
                      </a:cubicBezTo>
                      <a:cubicBezTo>
                        <a:pt x="337315" y="45442"/>
                        <a:pt x="330755" y="31637"/>
                        <a:pt x="320940" y="27319"/>
                      </a:cubicBezTo>
                      <a:cubicBezTo>
                        <a:pt x="311124" y="23002"/>
                        <a:pt x="299879" y="24668"/>
                        <a:pt x="289155" y="24505"/>
                      </a:cubicBezTo>
                      <a:cubicBezTo>
                        <a:pt x="277373" y="24327"/>
                        <a:pt x="265629" y="21803"/>
                        <a:pt x="254813" y="17126"/>
                      </a:cubicBezTo>
                      <a:cubicBezTo>
                        <a:pt x="263583" y="15654"/>
                        <a:pt x="271610" y="10210"/>
                        <a:pt x="276221" y="2606"/>
                      </a:cubicBezTo>
                      <a:cubicBezTo>
                        <a:pt x="255162" y="-599"/>
                        <a:pt x="233655" y="-850"/>
                        <a:pt x="212524" y="1865"/>
                      </a:cubicBezTo>
                      <a:cubicBezTo>
                        <a:pt x="203544" y="3021"/>
                        <a:pt x="194067" y="4988"/>
                        <a:pt x="187571" y="11297"/>
                      </a:cubicBezTo>
                      <a:cubicBezTo>
                        <a:pt x="181078" y="17604"/>
                        <a:pt x="179429" y="29609"/>
                        <a:pt x="186480" y="35287"/>
                      </a:cubicBezTo>
                      <a:cubicBezTo>
                        <a:pt x="198046" y="44604"/>
                        <a:pt x="202036" y="62677"/>
                        <a:pt x="180845" y="68383"/>
                      </a:cubicBezTo>
                      <a:cubicBezTo>
                        <a:pt x="165489" y="72516"/>
                        <a:pt x="158484" y="55742"/>
                        <a:pt x="149753" y="45824"/>
                      </a:cubicBezTo>
                      <a:cubicBezTo>
                        <a:pt x="132173" y="25844"/>
                        <a:pt x="114858" y="17792"/>
                        <a:pt x="110363" y="51617"/>
                      </a:cubicBezTo>
                      <a:close/>
                    </a:path>
                  </a:pathLst>
                </a:custGeom>
                <a:grpFill/>
                <a:ln w="164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s-ES_tradnl" sz="2400"/>
                </a:p>
              </p:txBody>
            </p:sp>
            <p:sp>
              <p:nvSpPr>
                <p:cNvPr id="144" name="Forma libre 143">
                  <a:extLst>
                    <a:ext uri="{FF2B5EF4-FFF2-40B4-BE49-F238E27FC236}">
                      <a16:creationId xmlns:a16="http://schemas.microsoft.com/office/drawing/2014/main" id="{02C3F747-EDF5-AF45-9FCD-1910EEEE8A19}"/>
                    </a:ext>
                  </a:extLst>
                </p:cNvPr>
                <p:cNvSpPr/>
                <p:nvPr/>
              </p:nvSpPr>
              <p:spPr>
                <a:xfrm>
                  <a:off x="4424388" y="1130481"/>
                  <a:ext cx="392190" cy="323982"/>
                </a:xfrm>
                <a:custGeom>
                  <a:avLst/>
                  <a:gdLst>
                    <a:gd name="connsiteX0" fmla="*/ 188107 w 392190"/>
                    <a:gd name="connsiteY0" fmla="*/ 47790 h 323982"/>
                    <a:gd name="connsiteX1" fmla="*/ 179906 w 392190"/>
                    <a:gd name="connsiteY1" fmla="*/ 1126 h 323982"/>
                    <a:gd name="connsiteX2" fmla="*/ 168867 w 392190"/>
                    <a:gd name="connsiteY2" fmla="*/ 55515 h 323982"/>
                    <a:gd name="connsiteX3" fmla="*/ 137122 w 392190"/>
                    <a:gd name="connsiteY3" fmla="*/ 0 h 323982"/>
                    <a:gd name="connsiteX4" fmla="*/ 135249 w 392190"/>
                    <a:gd name="connsiteY4" fmla="*/ 34483 h 323982"/>
                    <a:gd name="connsiteX5" fmla="*/ 109454 w 392190"/>
                    <a:gd name="connsiteY5" fmla="*/ 18762 h 323982"/>
                    <a:gd name="connsiteX6" fmla="*/ 84838 w 392190"/>
                    <a:gd name="connsiteY6" fmla="*/ 31324 h 323982"/>
                    <a:gd name="connsiteX7" fmla="*/ 117992 w 392190"/>
                    <a:gd name="connsiteY7" fmla="*/ 47495 h 323982"/>
                    <a:gd name="connsiteX8" fmla="*/ 102108 w 392190"/>
                    <a:gd name="connsiteY8" fmla="*/ 70852 h 323982"/>
                    <a:gd name="connsiteX9" fmla="*/ 147581 w 392190"/>
                    <a:gd name="connsiteY9" fmla="*/ 91317 h 323982"/>
                    <a:gd name="connsiteX10" fmla="*/ 107278 w 392190"/>
                    <a:gd name="connsiteY10" fmla="*/ 109908 h 323982"/>
                    <a:gd name="connsiteX11" fmla="*/ 61239 w 392190"/>
                    <a:gd name="connsiteY11" fmla="*/ 80977 h 323982"/>
                    <a:gd name="connsiteX12" fmla="*/ 46069 w 392190"/>
                    <a:gd name="connsiteY12" fmla="*/ 86795 h 323982"/>
                    <a:gd name="connsiteX13" fmla="*/ 48044 w 392190"/>
                    <a:gd name="connsiteY13" fmla="*/ 92824 h 323982"/>
                    <a:gd name="connsiteX14" fmla="*/ 81117 w 392190"/>
                    <a:gd name="connsiteY14" fmla="*/ 122849 h 323982"/>
                    <a:gd name="connsiteX15" fmla="*/ 89967 w 392190"/>
                    <a:gd name="connsiteY15" fmla="*/ 162553 h 323982"/>
                    <a:gd name="connsiteX16" fmla="*/ 75576 w 392190"/>
                    <a:gd name="connsiteY16" fmla="*/ 171854 h 323982"/>
                    <a:gd name="connsiteX17" fmla="*/ 0 w 392190"/>
                    <a:gd name="connsiteY17" fmla="*/ 205621 h 323982"/>
                    <a:gd name="connsiteX18" fmla="*/ 67040 w 392190"/>
                    <a:gd name="connsiteY18" fmla="*/ 209245 h 323982"/>
                    <a:gd name="connsiteX19" fmla="*/ 83837 w 392190"/>
                    <a:gd name="connsiteY19" fmla="*/ 213274 h 323982"/>
                    <a:gd name="connsiteX20" fmla="*/ 94359 w 392190"/>
                    <a:gd name="connsiteY20" fmla="*/ 238355 h 323982"/>
                    <a:gd name="connsiteX21" fmla="*/ 138039 w 392190"/>
                    <a:gd name="connsiteY21" fmla="*/ 304926 h 323982"/>
                    <a:gd name="connsiteX22" fmla="*/ 168873 w 392190"/>
                    <a:gd name="connsiteY22" fmla="*/ 307778 h 323982"/>
                    <a:gd name="connsiteX23" fmla="*/ 193155 w 392190"/>
                    <a:gd name="connsiteY23" fmla="*/ 321991 h 323982"/>
                    <a:gd name="connsiteX24" fmla="*/ 235155 w 392190"/>
                    <a:gd name="connsiteY24" fmla="*/ 311994 h 323982"/>
                    <a:gd name="connsiteX25" fmla="*/ 271386 w 392190"/>
                    <a:gd name="connsiteY25" fmla="*/ 285354 h 323982"/>
                    <a:gd name="connsiteX26" fmla="*/ 371136 w 392190"/>
                    <a:gd name="connsiteY26" fmla="*/ 259077 h 323982"/>
                    <a:gd name="connsiteX27" fmla="*/ 392190 w 392190"/>
                    <a:gd name="connsiteY27" fmla="*/ 136881 h 323982"/>
                    <a:gd name="connsiteX28" fmla="*/ 312600 w 392190"/>
                    <a:gd name="connsiteY28" fmla="*/ 137826 h 323982"/>
                    <a:gd name="connsiteX29" fmla="*/ 287359 w 392190"/>
                    <a:gd name="connsiteY29" fmla="*/ 120206 h 323982"/>
                    <a:gd name="connsiteX30" fmla="*/ 191374 w 392190"/>
                    <a:gd name="connsiteY30" fmla="*/ 119992 h 323982"/>
                    <a:gd name="connsiteX31" fmla="*/ 188107 w 392190"/>
                    <a:gd name="connsiteY31" fmla="*/ 47790 h 32398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</a:cxnLst>
                  <a:rect l="l" t="t" r="r" b="b"/>
                  <a:pathLst>
                    <a:path w="392190" h="323982">
                      <a:moveTo>
                        <a:pt x="188107" y="47790"/>
                      </a:moveTo>
                      <a:cubicBezTo>
                        <a:pt x="194255" y="31512"/>
                        <a:pt x="195573" y="8698"/>
                        <a:pt x="179906" y="1126"/>
                      </a:cubicBezTo>
                      <a:cubicBezTo>
                        <a:pt x="176227" y="19255"/>
                        <a:pt x="172546" y="37386"/>
                        <a:pt x="168867" y="55515"/>
                      </a:cubicBezTo>
                      <a:cubicBezTo>
                        <a:pt x="155100" y="39092"/>
                        <a:pt x="144295" y="20195"/>
                        <a:pt x="137122" y="0"/>
                      </a:cubicBezTo>
                      <a:cubicBezTo>
                        <a:pt x="136499" y="11494"/>
                        <a:pt x="135874" y="22988"/>
                        <a:pt x="135249" y="34483"/>
                      </a:cubicBezTo>
                      <a:cubicBezTo>
                        <a:pt x="127572" y="27785"/>
                        <a:pt x="119425" y="20848"/>
                        <a:pt x="109454" y="18762"/>
                      </a:cubicBezTo>
                      <a:cubicBezTo>
                        <a:pt x="99482" y="16677"/>
                        <a:pt x="87295" y="21438"/>
                        <a:pt x="84838" y="31324"/>
                      </a:cubicBezTo>
                      <a:cubicBezTo>
                        <a:pt x="97376" y="33438"/>
                        <a:pt x="111479" y="36575"/>
                        <a:pt x="117992" y="47495"/>
                      </a:cubicBezTo>
                      <a:cubicBezTo>
                        <a:pt x="124508" y="58415"/>
                        <a:pt x="113332" y="76824"/>
                        <a:pt x="102108" y="70852"/>
                      </a:cubicBezTo>
                      <a:cubicBezTo>
                        <a:pt x="115137" y="81477"/>
                        <a:pt x="130988" y="88610"/>
                        <a:pt x="147581" y="91317"/>
                      </a:cubicBezTo>
                      <a:cubicBezTo>
                        <a:pt x="150428" y="109303"/>
                        <a:pt x="123734" y="117704"/>
                        <a:pt x="107278" y="109908"/>
                      </a:cubicBezTo>
                      <a:cubicBezTo>
                        <a:pt x="90822" y="102112"/>
                        <a:pt x="78672" y="86234"/>
                        <a:pt x="61239" y="80977"/>
                      </a:cubicBezTo>
                      <a:cubicBezTo>
                        <a:pt x="55261" y="79175"/>
                        <a:pt x="46516" y="80568"/>
                        <a:pt x="46069" y="86795"/>
                      </a:cubicBezTo>
                      <a:cubicBezTo>
                        <a:pt x="45914" y="88940"/>
                        <a:pt x="46916" y="90992"/>
                        <a:pt x="48044" y="92824"/>
                      </a:cubicBezTo>
                      <a:cubicBezTo>
                        <a:pt x="55884" y="105574"/>
                        <a:pt x="70179" y="112633"/>
                        <a:pt x="81117" y="122849"/>
                      </a:cubicBezTo>
                      <a:cubicBezTo>
                        <a:pt x="92054" y="133065"/>
                        <a:pt x="99482" y="151000"/>
                        <a:pt x="89967" y="162553"/>
                      </a:cubicBezTo>
                      <a:cubicBezTo>
                        <a:pt x="86301" y="167004"/>
                        <a:pt x="80841" y="169501"/>
                        <a:pt x="75576" y="171854"/>
                      </a:cubicBezTo>
                      <a:cubicBezTo>
                        <a:pt x="50383" y="183110"/>
                        <a:pt x="25193" y="194367"/>
                        <a:pt x="0" y="205621"/>
                      </a:cubicBezTo>
                      <a:cubicBezTo>
                        <a:pt x="22346" y="206830"/>
                        <a:pt x="44694" y="208036"/>
                        <a:pt x="67040" y="209245"/>
                      </a:cubicBezTo>
                      <a:cubicBezTo>
                        <a:pt x="72866" y="209560"/>
                        <a:pt x="79020" y="209982"/>
                        <a:pt x="83837" y="213274"/>
                      </a:cubicBezTo>
                      <a:cubicBezTo>
                        <a:pt x="91566" y="218556"/>
                        <a:pt x="93145" y="229074"/>
                        <a:pt x="94359" y="238355"/>
                      </a:cubicBezTo>
                      <a:cubicBezTo>
                        <a:pt x="98053" y="266588"/>
                        <a:pt x="110017" y="299883"/>
                        <a:pt x="138039" y="304926"/>
                      </a:cubicBezTo>
                      <a:cubicBezTo>
                        <a:pt x="148238" y="306760"/>
                        <a:pt x="159112" y="304297"/>
                        <a:pt x="168873" y="307778"/>
                      </a:cubicBezTo>
                      <a:cubicBezTo>
                        <a:pt x="177733" y="310938"/>
                        <a:pt x="184390" y="318577"/>
                        <a:pt x="193155" y="321991"/>
                      </a:cubicBezTo>
                      <a:cubicBezTo>
                        <a:pt x="207161" y="327445"/>
                        <a:pt x="223045" y="320898"/>
                        <a:pt x="235155" y="311994"/>
                      </a:cubicBezTo>
                      <a:cubicBezTo>
                        <a:pt x="247266" y="303091"/>
                        <a:pt x="257739" y="291658"/>
                        <a:pt x="271386" y="285354"/>
                      </a:cubicBezTo>
                      <a:cubicBezTo>
                        <a:pt x="303294" y="270612"/>
                        <a:pt x="348019" y="285558"/>
                        <a:pt x="371136" y="259077"/>
                      </a:cubicBezTo>
                      <a:cubicBezTo>
                        <a:pt x="399162" y="226970"/>
                        <a:pt x="363708" y="168586"/>
                        <a:pt x="392190" y="136881"/>
                      </a:cubicBezTo>
                      <a:cubicBezTo>
                        <a:pt x="372139" y="117984"/>
                        <a:pt x="338754" y="146493"/>
                        <a:pt x="312600" y="137826"/>
                      </a:cubicBezTo>
                      <a:cubicBezTo>
                        <a:pt x="302804" y="134582"/>
                        <a:pt x="295553" y="126504"/>
                        <a:pt x="287359" y="120206"/>
                      </a:cubicBezTo>
                      <a:cubicBezTo>
                        <a:pt x="259398" y="98727"/>
                        <a:pt x="219688" y="100290"/>
                        <a:pt x="191374" y="119992"/>
                      </a:cubicBezTo>
                      <a:cubicBezTo>
                        <a:pt x="168342" y="100361"/>
                        <a:pt x="178969" y="71992"/>
                        <a:pt x="188107" y="47790"/>
                      </a:cubicBezTo>
                      <a:close/>
                    </a:path>
                  </a:pathLst>
                </a:custGeom>
                <a:grpFill/>
                <a:ln w="164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s-ES_tradnl" sz="2400"/>
                </a:p>
              </p:txBody>
            </p:sp>
            <p:sp>
              <p:nvSpPr>
                <p:cNvPr id="145" name="Forma libre 144">
                  <a:extLst>
                    <a:ext uri="{FF2B5EF4-FFF2-40B4-BE49-F238E27FC236}">
                      <a16:creationId xmlns:a16="http://schemas.microsoft.com/office/drawing/2014/main" id="{1D233472-AB16-254A-9E6B-AAA2D85DC831}"/>
                    </a:ext>
                  </a:extLst>
                </p:cNvPr>
                <p:cNvSpPr/>
                <p:nvPr/>
              </p:nvSpPr>
              <p:spPr>
                <a:xfrm>
                  <a:off x="5305805" y="3553525"/>
                  <a:ext cx="67162" cy="115190"/>
                </a:xfrm>
                <a:custGeom>
                  <a:avLst/>
                  <a:gdLst>
                    <a:gd name="connsiteX0" fmla="*/ 1982 w 67162"/>
                    <a:gd name="connsiteY0" fmla="*/ 82078 h 115190"/>
                    <a:gd name="connsiteX1" fmla="*/ 7501 w 67162"/>
                    <a:gd name="connsiteY1" fmla="*/ 94068 h 115190"/>
                    <a:gd name="connsiteX2" fmla="*/ 17146 w 67162"/>
                    <a:gd name="connsiteY2" fmla="*/ 103321 h 115190"/>
                    <a:gd name="connsiteX3" fmla="*/ 18252 w 67162"/>
                    <a:gd name="connsiteY3" fmla="*/ 112860 h 115190"/>
                    <a:gd name="connsiteX4" fmla="*/ 32921 w 67162"/>
                    <a:gd name="connsiteY4" fmla="*/ 107082 h 115190"/>
                    <a:gd name="connsiteX5" fmla="*/ 38598 w 67162"/>
                    <a:gd name="connsiteY5" fmla="*/ 80712 h 115190"/>
                    <a:gd name="connsiteX6" fmla="*/ 40737 w 67162"/>
                    <a:gd name="connsiteY6" fmla="*/ 61790 h 115190"/>
                    <a:gd name="connsiteX7" fmla="*/ 57892 w 67162"/>
                    <a:gd name="connsiteY7" fmla="*/ 49272 h 115190"/>
                    <a:gd name="connsiteX8" fmla="*/ 33387 w 67162"/>
                    <a:gd name="connsiteY8" fmla="*/ 610 h 115190"/>
                    <a:gd name="connsiteX9" fmla="*/ 1982 w 67162"/>
                    <a:gd name="connsiteY9" fmla="*/ 82078 h 1151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67162" h="115190">
                      <a:moveTo>
                        <a:pt x="1982" y="82078"/>
                      </a:moveTo>
                      <a:cubicBezTo>
                        <a:pt x="2958" y="86435"/>
                        <a:pt x="4299" y="90957"/>
                        <a:pt x="7501" y="94068"/>
                      </a:cubicBezTo>
                      <a:cubicBezTo>
                        <a:pt x="10754" y="97230"/>
                        <a:pt x="15880" y="98966"/>
                        <a:pt x="17146" y="103321"/>
                      </a:cubicBezTo>
                      <a:cubicBezTo>
                        <a:pt x="18051" y="106429"/>
                        <a:pt x="16615" y="110069"/>
                        <a:pt x="18252" y="112860"/>
                      </a:cubicBezTo>
                      <a:cubicBezTo>
                        <a:pt x="21538" y="118460"/>
                        <a:pt x="30125" y="112942"/>
                        <a:pt x="32921" y="107082"/>
                      </a:cubicBezTo>
                      <a:cubicBezTo>
                        <a:pt x="36826" y="98892"/>
                        <a:pt x="38789" y="89782"/>
                        <a:pt x="38598" y="80712"/>
                      </a:cubicBezTo>
                      <a:cubicBezTo>
                        <a:pt x="38461" y="74266"/>
                        <a:pt x="37377" y="67294"/>
                        <a:pt x="40737" y="61790"/>
                      </a:cubicBezTo>
                      <a:cubicBezTo>
                        <a:pt x="44461" y="55686"/>
                        <a:pt x="52248" y="53663"/>
                        <a:pt x="57892" y="49272"/>
                      </a:cubicBezTo>
                      <a:cubicBezTo>
                        <a:pt x="80020" y="32048"/>
                        <a:pt x="58798" y="-5205"/>
                        <a:pt x="33387" y="610"/>
                      </a:cubicBezTo>
                      <a:cubicBezTo>
                        <a:pt x="1385" y="7939"/>
                        <a:pt x="-3616" y="57053"/>
                        <a:pt x="1982" y="82078"/>
                      </a:cubicBezTo>
                      <a:close/>
                    </a:path>
                  </a:pathLst>
                </a:custGeom>
                <a:grpFill/>
                <a:ln w="164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s-ES_tradnl" sz="2400"/>
                </a:p>
              </p:txBody>
            </p:sp>
            <p:sp>
              <p:nvSpPr>
                <p:cNvPr id="146" name="Forma libre 145">
                  <a:extLst>
                    <a:ext uri="{FF2B5EF4-FFF2-40B4-BE49-F238E27FC236}">
                      <a16:creationId xmlns:a16="http://schemas.microsoft.com/office/drawing/2014/main" id="{62222415-3B58-A544-B08C-1BE104FCE579}"/>
                    </a:ext>
                  </a:extLst>
                </p:cNvPr>
                <p:cNvSpPr/>
                <p:nvPr/>
              </p:nvSpPr>
              <p:spPr>
                <a:xfrm>
                  <a:off x="5250388" y="3692837"/>
                  <a:ext cx="116656" cy="179627"/>
                </a:xfrm>
                <a:custGeom>
                  <a:avLst/>
                  <a:gdLst>
                    <a:gd name="connsiteX0" fmla="*/ 20825 w 116656"/>
                    <a:gd name="connsiteY0" fmla="*/ 77610 h 179627"/>
                    <a:gd name="connsiteX1" fmla="*/ 30193 w 116656"/>
                    <a:gd name="connsiteY1" fmla="*/ 93829 h 179627"/>
                    <a:gd name="connsiteX2" fmla="*/ 19648 w 116656"/>
                    <a:gd name="connsiteY2" fmla="*/ 102266 h 179627"/>
                    <a:gd name="connsiteX3" fmla="*/ 17298 w 116656"/>
                    <a:gd name="connsiteY3" fmla="*/ 109038 h 179627"/>
                    <a:gd name="connsiteX4" fmla="*/ 7248 w 116656"/>
                    <a:gd name="connsiteY4" fmla="*/ 162666 h 179627"/>
                    <a:gd name="connsiteX5" fmla="*/ 7378 w 116656"/>
                    <a:gd name="connsiteY5" fmla="*/ 168528 h 179627"/>
                    <a:gd name="connsiteX6" fmla="*/ 16188 w 116656"/>
                    <a:gd name="connsiteY6" fmla="*/ 172453 h 179627"/>
                    <a:gd name="connsiteX7" fmla="*/ 39515 w 116656"/>
                    <a:gd name="connsiteY7" fmla="*/ 164850 h 179627"/>
                    <a:gd name="connsiteX8" fmla="*/ 46083 w 116656"/>
                    <a:gd name="connsiteY8" fmla="*/ 153383 h 179627"/>
                    <a:gd name="connsiteX9" fmla="*/ 50933 w 116656"/>
                    <a:gd name="connsiteY9" fmla="*/ 153480 h 179627"/>
                    <a:gd name="connsiteX10" fmla="*/ 72280 w 116656"/>
                    <a:gd name="connsiteY10" fmla="*/ 179628 h 179627"/>
                    <a:gd name="connsiteX11" fmla="*/ 89671 w 116656"/>
                    <a:gd name="connsiteY11" fmla="*/ 142700 h 179627"/>
                    <a:gd name="connsiteX12" fmla="*/ 86375 w 116656"/>
                    <a:gd name="connsiteY12" fmla="*/ 126727 h 179627"/>
                    <a:gd name="connsiteX13" fmla="*/ 88142 w 116656"/>
                    <a:gd name="connsiteY13" fmla="*/ 101148 h 179627"/>
                    <a:gd name="connsiteX14" fmla="*/ 95810 w 116656"/>
                    <a:gd name="connsiteY14" fmla="*/ 60050 h 179627"/>
                    <a:gd name="connsiteX15" fmla="*/ 115894 w 116656"/>
                    <a:gd name="connsiteY15" fmla="*/ 28231 h 179627"/>
                    <a:gd name="connsiteX16" fmla="*/ 90653 w 116656"/>
                    <a:gd name="connsiteY16" fmla="*/ 37 h 179627"/>
                    <a:gd name="connsiteX17" fmla="*/ 30118 w 116656"/>
                    <a:gd name="connsiteY17" fmla="*/ 15909 h 179627"/>
                    <a:gd name="connsiteX18" fmla="*/ 420 w 116656"/>
                    <a:gd name="connsiteY18" fmla="*/ 72870 h 179627"/>
                    <a:gd name="connsiteX19" fmla="*/ 20825 w 116656"/>
                    <a:gd name="connsiteY19" fmla="*/ 77610 h 17962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</a:cxnLst>
                  <a:rect l="l" t="t" r="r" b="b"/>
                  <a:pathLst>
                    <a:path w="116656" h="179627">
                      <a:moveTo>
                        <a:pt x="20825" y="77610"/>
                      </a:moveTo>
                      <a:cubicBezTo>
                        <a:pt x="27769" y="79717"/>
                        <a:pt x="34179" y="87762"/>
                        <a:pt x="30193" y="93829"/>
                      </a:cubicBezTo>
                      <a:cubicBezTo>
                        <a:pt x="27700" y="97624"/>
                        <a:pt x="22331" y="98603"/>
                        <a:pt x="19648" y="102266"/>
                      </a:cubicBezTo>
                      <a:cubicBezTo>
                        <a:pt x="18224" y="104211"/>
                        <a:pt x="17743" y="106669"/>
                        <a:pt x="17298" y="109038"/>
                      </a:cubicBezTo>
                      <a:cubicBezTo>
                        <a:pt x="13948" y="126915"/>
                        <a:pt x="10599" y="144792"/>
                        <a:pt x="7248" y="162666"/>
                      </a:cubicBezTo>
                      <a:cubicBezTo>
                        <a:pt x="6880" y="164621"/>
                        <a:pt x="6531" y="166728"/>
                        <a:pt x="7378" y="168528"/>
                      </a:cubicBezTo>
                      <a:cubicBezTo>
                        <a:pt x="8817" y="171586"/>
                        <a:pt x="12814" y="172221"/>
                        <a:pt x="16188" y="172453"/>
                      </a:cubicBezTo>
                      <a:cubicBezTo>
                        <a:pt x="24859" y="173047"/>
                        <a:pt x="35542" y="172579"/>
                        <a:pt x="39515" y="164850"/>
                      </a:cubicBezTo>
                      <a:cubicBezTo>
                        <a:pt x="41602" y="160793"/>
                        <a:pt x="41782" y="154896"/>
                        <a:pt x="46083" y="153383"/>
                      </a:cubicBezTo>
                      <a:cubicBezTo>
                        <a:pt x="47629" y="152839"/>
                        <a:pt x="49342" y="153086"/>
                        <a:pt x="50933" y="153480"/>
                      </a:cubicBezTo>
                      <a:cubicBezTo>
                        <a:pt x="62651" y="156372"/>
                        <a:pt x="71792" y="167570"/>
                        <a:pt x="72280" y="179628"/>
                      </a:cubicBezTo>
                      <a:cubicBezTo>
                        <a:pt x="81237" y="168904"/>
                        <a:pt x="90724" y="156632"/>
                        <a:pt x="89671" y="142700"/>
                      </a:cubicBezTo>
                      <a:cubicBezTo>
                        <a:pt x="89260" y="137273"/>
                        <a:pt x="87236" y="132098"/>
                        <a:pt x="86375" y="126727"/>
                      </a:cubicBezTo>
                      <a:cubicBezTo>
                        <a:pt x="85014" y="118244"/>
                        <a:pt x="86578" y="109596"/>
                        <a:pt x="88142" y="101148"/>
                      </a:cubicBezTo>
                      <a:cubicBezTo>
                        <a:pt x="90515" y="88311"/>
                        <a:pt x="90896" y="72124"/>
                        <a:pt x="95810" y="60050"/>
                      </a:cubicBezTo>
                      <a:cubicBezTo>
                        <a:pt x="100245" y="49163"/>
                        <a:pt x="113781" y="39209"/>
                        <a:pt x="115894" y="28231"/>
                      </a:cubicBezTo>
                      <a:cubicBezTo>
                        <a:pt x="119871" y="7560"/>
                        <a:pt x="107831" y="850"/>
                        <a:pt x="90653" y="37"/>
                      </a:cubicBezTo>
                      <a:cubicBezTo>
                        <a:pt x="74502" y="-726"/>
                        <a:pt x="45418" y="10423"/>
                        <a:pt x="30118" y="15909"/>
                      </a:cubicBezTo>
                      <a:cubicBezTo>
                        <a:pt x="406" y="26563"/>
                        <a:pt x="-1175" y="40443"/>
                        <a:pt x="420" y="72870"/>
                      </a:cubicBezTo>
                      <a:cubicBezTo>
                        <a:pt x="7177" y="75795"/>
                        <a:pt x="13761" y="75466"/>
                        <a:pt x="20825" y="77610"/>
                      </a:cubicBezTo>
                      <a:close/>
                    </a:path>
                  </a:pathLst>
                </a:custGeom>
                <a:grpFill/>
                <a:ln w="164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s-ES_tradnl" sz="2400"/>
                </a:p>
              </p:txBody>
            </p:sp>
            <p:sp>
              <p:nvSpPr>
                <p:cNvPr id="185" name="Forma libre 184">
                  <a:extLst>
                    <a:ext uri="{FF2B5EF4-FFF2-40B4-BE49-F238E27FC236}">
                      <a16:creationId xmlns:a16="http://schemas.microsoft.com/office/drawing/2014/main" id="{E73074E9-6D6C-2A4B-8B28-B08D12613B7B}"/>
                    </a:ext>
                  </a:extLst>
                </p:cNvPr>
                <p:cNvSpPr/>
                <p:nvPr/>
              </p:nvSpPr>
              <p:spPr>
                <a:xfrm>
                  <a:off x="5516291" y="3957717"/>
                  <a:ext cx="232621" cy="143571"/>
                </a:xfrm>
                <a:custGeom>
                  <a:avLst/>
                  <a:gdLst>
                    <a:gd name="connsiteX0" fmla="*/ 5173 w 232621"/>
                    <a:gd name="connsiteY0" fmla="*/ 36433 h 143571"/>
                    <a:gd name="connsiteX1" fmla="*/ 10262 w 232621"/>
                    <a:gd name="connsiteY1" fmla="*/ 43458 h 143571"/>
                    <a:gd name="connsiteX2" fmla="*/ 21329 w 232621"/>
                    <a:gd name="connsiteY2" fmla="*/ 46816 h 143571"/>
                    <a:gd name="connsiteX3" fmla="*/ 87993 w 232621"/>
                    <a:gd name="connsiteY3" fmla="*/ 90074 h 143571"/>
                    <a:gd name="connsiteX4" fmla="*/ 94633 w 232621"/>
                    <a:gd name="connsiteY4" fmla="*/ 98218 h 143571"/>
                    <a:gd name="connsiteX5" fmla="*/ 113218 w 232621"/>
                    <a:gd name="connsiteY5" fmla="*/ 100539 h 143571"/>
                    <a:gd name="connsiteX6" fmla="*/ 151154 w 232621"/>
                    <a:gd name="connsiteY6" fmla="*/ 129592 h 143571"/>
                    <a:gd name="connsiteX7" fmla="*/ 154941 w 232621"/>
                    <a:gd name="connsiteY7" fmla="*/ 142716 h 143571"/>
                    <a:gd name="connsiteX8" fmla="*/ 164039 w 232621"/>
                    <a:gd name="connsiteY8" fmla="*/ 142432 h 143571"/>
                    <a:gd name="connsiteX9" fmla="*/ 201279 w 232621"/>
                    <a:gd name="connsiteY9" fmla="*/ 110473 h 143571"/>
                    <a:gd name="connsiteX10" fmla="*/ 197588 w 232621"/>
                    <a:gd name="connsiteY10" fmla="*/ 89936 h 143571"/>
                    <a:gd name="connsiteX11" fmla="*/ 232596 w 232621"/>
                    <a:gd name="connsiteY11" fmla="*/ 882 h 143571"/>
                    <a:gd name="connsiteX12" fmla="*/ 168779 w 232621"/>
                    <a:gd name="connsiteY12" fmla="*/ 20205 h 143571"/>
                    <a:gd name="connsiteX13" fmla="*/ 155520 w 232621"/>
                    <a:gd name="connsiteY13" fmla="*/ 14580 h 143571"/>
                    <a:gd name="connsiteX14" fmla="*/ 102362 w 232621"/>
                    <a:gd name="connsiteY14" fmla="*/ 17064 h 143571"/>
                    <a:gd name="connsiteX15" fmla="*/ 60478 w 232621"/>
                    <a:gd name="connsiteY15" fmla="*/ 5378 h 143571"/>
                    <a:gd name="connsiteX16" fmla="*/ 5173 w 232621"/>
                    <a:gd name="connsiteY16" fmla="*/ 36433 h 1435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</a:cxnLst>
                  <a:rect l="l" t="t" r="r" b="b"/>
                  <a:pathLst>
                    <a:path w="232621" h="143571">
                      <a:moveTo>
                        <a:pt x="5173" y="36433"/>
                      </a:moveTo>
                      <a:cubicBezTo>
                        <a:pt x="6411" y="39077"/>
                        <a:pt x="7922" y="41705"/>
                        <a:pt x="10262" y="43458"/>
                      </a:cubicBezTo>
                      <a:cubicBezTo>
                        <a:pt x="13384" y="45792"/>
                        <a:pt x="17476" y="46227"/>
                        <a:pt x="21329" y="46816"/>
                      </a:cubicBezTo>
                      <a:cubicBezTo>
                        <a:pt x="48315" y="50942"/>
                        <a:pt x="73230" y="67111"/>
                        <a:pt x="87993" y="90074"/>
                      </a:cubicBezTo>
                      <a:cubicBezTo>
                        <a:pt x="89900" y="93043"/>
                        <a:pt x="91734" y="96210"/>
                        <a:pt x="94633" y="98218"/>
                      </a:cubicBezTo>
                      <a:cubicBezTo>
                        <a:pt x="99867" y="101838"/>
                        <a:pt x="106856" y="100694"/>
                        <a:pt x="113218" y="100539"/>
                      </a:cubicBezTo>
                      <a:cubicBezTo>
                        <a:pt x="130859" y="100105"/>
                        <a:pt x="150294" y="111967"/>
                        <a:pt x="151154" y="129592"/>
                      </a:cubicBezTo>
                      <a:cubicBezTo>
                        <a:pt x="151386" y="134364"/>
                        <a:pt x="150815" y="140307"/>
                        <a:pt x="154941" y="142716"/>
                      </a:cubicBezTo>
                      <a:cubicBezTo>
                        <a:pt x="157645" y="144293"/>
                        <a:pt x="161055" y="143382"/>
                        <a:pt x="164039" y="142432"/>
                      </a:cubicBezTo>
                      <a:cubicBezTo>
                        <a:pt x="180696" y="137122"/>
                        <a:pt x="200502" y="127940"/>
                        <a:pt x="201279" y="110473"/>
                      </a:cubicBezTo>
                      <a:cubicBezTo>
                        <a:pt x="201589" y="103502"/>
                        <a:pt x="198534" y="96848"/>
                        <a:pt x="197588" y="89936"/>
                      </a:cubicBezTo>
                      <a:cubicBezTo>
                        <a:pt x="193173" y="57645"/>
                        <a:pt x="233773" y="33454"/>
                        <a:pt x="232596" y="882"/>
                      </a:cubicBezTo>
                      <a:cubicBezTo>
                        <a:pt x="209846" y="946"/>
                        <a:pt x="190512" y="26934"/>
                        <a:pt x="168779" y="20205"/>
                      </a:cubicBezTo>
                      <a:cubicBezTo>
                        <a:pt x="164186" y="18782"/>
                        <a:pt x="160122" y="15960"/>
                        <a:pt x="155520" y="14580"/>
                      </a:cubicBezTo>
                      <a:cubicBezTo>
                        <a:pt x="139555" y="9799"/>
                        <a:pt x="119286" y="18528"/>
                        <a:pt x="102362" y="17064"/>
                      </a:cubicBezTo>
                      <a:cubicBezTo>
                        <a:pt x="86992" y="15736"/>
                        <a:pt x="74813" y="9252"/>
                        <a:pt x="60478" y="5378"/>
                      </a:cubicBezTo>
                      <a:cubicBezTo>
                        <a:pt x="32140" y="-2277"/>
                        <a:pt x="-15846" y="-8445"/>
                        <a:pt x="5173" y="36433"/>
                      </a:cubicBezTo>
                      <a:close/>
                    </a:path>
                  </a:pathLst>
                </a:custGeom>
                <a:grpFill/>
                <a:ln w="164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s-ES_tradnl" sz="2400"/>
                </a:p>
              </p:txBody>
            </p:sp>
            <p:sp>
              <p:nvSpPr>
                <p:cNvPr id="186" name="Forma libre 185">
                  <a:extLst>
                    <a:ext uri="{FF2B5EF4-FFF2-40B4-BE49-F238E27FC236}">
                      <a16:creationId xmlns:a16="http://schemas.microsoft.com/office/drawing/2014/main" id="{77843027-DDA9-F843-84F2-E4B3C39A7AB3}"/>
                    </a:ext>
                  </a:extLst>
                </p:cNvPr>
                <p:cNvSpPr/>
                <p:nvPr/>
              </p:nvSpPr>
              <p:spPr>
                <a:xfrm>
                  <a:off x="4829967" y="3731176"/>
                  <a:ext cx="69214" cy="35393"/>
                </a:xfrm>
                <a:custGeom>
                  <a:avLst/>
                  <a:gdLst>
                    <a:gd name="connsiteX0" fmla="*/ 57096 w 69214"/>
                    <a:gd name="connsiteY0" fmla="*/ 3560 h 35393"/>
                    <a:gd name="connsiteX1" fmla="*/ 0 w 69214"/>
                    <a:gd name="connsiteY1" fmla="*/ 10619 h 35393"/>
                    <a:gd name="connsiteX2" fmla="*/ 61992 w 69214"/>
                    <a:gd name="connsiteY2" fmla="*/ 35394 h 35393"/>
                    <a:gd name="connsiteX3" fmla="*/ 66825 w 69214"/>
                    <a:gd name="connsiteY3" fmla="*/ 12474 h 35393"/>
                    <a:gd name="connsiteX4" fmla="*/ 57096 w 69214"/>
                    <a:gd name="connsiteY4" fmla="*/ 3560 h 3539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69214" h="35393">
                      <a:moveTo>
                        <a:pt x="57096" y="3560"/>
                      </a:moveTo>
                      <a:cubicBezTo>
                        <a:pt x="39168" y="-4221"/>
                        <a:pt x="17514" y="1946"/>
                        <a:pt x="0" y="10619"/>
                      </a:cubicBezTo>
                      <a:cubicBezTo>
                        <a:pt x="23039" y="7912"/>
                        <a:pt x="47164" y="17553"/>
                        <a:pt x="61992" y="35394"/>
                      </a:cubicBezTo>
                      <a:cubicBezTo>
                        <a:pt x="67182" y="28667"/>
                        <a:pt x="72386" y="18895"/>
                        <a:pt x="66825" y="12474"/>
                      </a:cubicBezTo>
                      <a:cubicBezTo>
                        <a:pt x="66825" y="12474"/>
                        <a:pt x="61288" y="5380"/>
                        <a:pt x="57096" y="3560"/>
                      </a:cubicBezTo>
                      <a:close/>
                    </a:path>
                  </a:pathLst>
                </a:custGeom>
                <a:grpFill/>
                <a:ln w="164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s-ES_tradnl" sz="2400"/>
                </a:p>
              </p:txBody>
            </p:sp>
            <p:sp>
              <p:nvSpPr>
                <p:cNvPr id="187" name="Forma libre 186">
                  <a:extLst>
                    <a:ext uri="{FF2B5EF4-FFF2-40B4-BE49-F238E27FC236}">
                      <a16:creationId xmlns:a16="http://schemas.microsoft.com/office/drawing/2014/main" id="{42281C3A-0C02-4E45-8BA7-C45EAE1AD98E}"/>
                    </a:ext>
                  </a:extLst>
                </p:cNvPr>
                <p:cNvSpPr/>
                <p:nvPr/>
              </p:nvSpPr>
              <p:spPr>
                <a:xfrm>
                  <a:off x="6296508" y="3911538"/>
                  <a:ext cx="119482" cy="68211"/>
                </a:xfrm>
                <a:custGeom>
                  <a:avLst/>
                  <a:gdLst>
                    <a:gd name="connsiteX0" fmla="*/ 92369 w 119482"/>
                    <a:gd name="connsiteY0" fmla="*/ 53472 h 68211"/>
                    <a:gd name="connsiteX1" fmla="*/ 119483 w 119482"/>
                    <a:gd name="connsiteY1" fmla="*/ 68193 h 68211"/>
                    <a:gd name="connsiteX2" fmla="*/ 52276 w 119482"/>
                    <a:gd name="connsiteY2" fmla="*/ 4247 h 68211"/>
                    <a:gd name="connsiteX3" fmla="*/ 0 w 119482"/>
                    <a:gd name="connsiteY3" fmla="*/ 6108 h 68211"/>
                    <a:gd name="connsiteX4" fmla="*/ 38773 w 119482"/>
                    <a:gd name="connsiteY4" fmla="*/ 16293 h 68211"/>
                    <a:gd name="connsiteX5" fmla="*/ 92369 w 119482"/>
                    <a:gd name="connsiteY5" fmla="*/ 53472 h 6821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119482" h="68211">
                      <a:moveTo>
                        <a:pt x="92369" y="53472"/>
                      </a:moveTo>
                      <a:cubicBezTo>
                        <a:pt x="99378" y="61479"/>
                        <a:pt x="108849" y="68618"/>
                        <a:pt x="119483" y="68193"/>
                      </a:cubicBezTo>
                      <a:cubicBezTo>
                        <a:pt x="98856" y="45110"/>
                        <a:pt x="76354" y="23702"/>
                        <a:pt x="52276" y="4247"/>
                      </a:cubicBezTo>
                      <a:cubicBezTo>
                        <a:pt x="41603" y="-4375"/>
                        <a:pt x="12493" y="2157"/>
                        <a:pt x="0" y="6108"/>
                      </a:cubicBezTo>
                      <a:cubicBezTo>
                        <a:pt x="10743" y="12223"/>
                        <a:pt x="26438" y="12991"/>
                        <a:pt x="38773" y="16293"/>
                      </a:cubicBezTo>
                      <a:cubicBezTo>
                        <a:pt x="64130" y="23081"/>
                        <a:pt x="75003" y="34467"/>
                        <a:pt x="92369" y="53472"/>
                      </a:cubicBezTo>
                      <a:close/>
                    </a:path>
                  </a:pathLst>
                </a:custGeom>
                <a:grpFill/>
                <a:ln w="164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s-ES_tradnl" sz="2400"/>
                </a:p>
              </p:txBody>
            </p:sp>
            <p:sp>
              <p:nvSpPr>
                <p:cNvPr id="188" name="Forma libre 187">
                  <a:extLst>
                    <a:ext uri="{FF2B5EF4-FFF2-40B4-BE49-F238E27FC236}">
                      <a16:creationId xmlns:a16="http://schemas.microsoft.com/office/drawing/2014/main" id="{3E82CDB4-DA41-F649-A596-19253072C4FF}"/>
                    </a:ext>
                  </a:extLst>
                </p:cNvPr>
                <p:cNvSpPr/>
                <p:nvPr/>
              </p:nvSpPr>
              <p:spPr>
                <a:xfrm>
                  <a:off x="6847065" y="3222130"/>
                  <a:ext cx="262795" cy="140551"/>
                </a:xfrm>
                <a:custGeom>
                  <a:avLst/>
                  <a:gdLst>
                    <a:gd name="connsiteX0" fmla="*/ 80177 w 262795"/>
                    <a:gd name="connsiteY0" fmla="*/ 80328 h 140551"/>
                    <a:gd name="connsiteX1" fmla="*/ 75571 w 262795"/>
                    <a:gd name="connsiteY1" fmla="*/ 139862 h 140551"/>
                    <a:gd name="connsiteX2" fmla="*/ 111089 w 262795"/>
                    <a:gd name="connsiteY2" fmla="*/ 125576 h 140551"/>
                    <a:gd name="connsiteX3" fmla="*/ 121788 w 262795"/>
                    <a:gd name="connsiteY3" fmla="*/ 109014 h 140551"/>
                    <a:gd name="connsiteX4" fmla="*/ 131992 w 262795"/>
                    <a:gd name="connsiteY4" fmla="*/ 102718 h 140551"/>
                    <a:gd name="connsiteX5" fmla="*/ 192789 w 262795"/>
                    <a:gd name="connsiteY5" fmla="*/ 73283 h 140551"/>
                    <a:gd name="connsiteX6" fmla="*/ 191349 w 262795"/>
                    <a:gd name="connsiteY6" fmla="*/ 55769 h 140551"/>
                    <a:gd name="connsiteX7" fmla="*/ 245396 w 262795"/>
                    <a:gd name="connsiteY7" fmla="*/ 43118 h 140551"/>
                    <a:gd name="connsiteX8" fmla="*/ 259835 w 262795"/>
                    <a:gd name="connsiteY8" fmla="*/ 34827 h 140551"/>
                    <a:gd name="connsiteX9" fmla="*/ 259868 w 262795"/>
                    <a:gd name="connsiteY9" fmla="*/ 19591 h 140551"/>
                    <a:gd name="connsiteX10" fmla="*/ 240605 w 262795"/>
                    <a:gd name="connsiteY10" fmla="*/ 21425 h 140551"/>
                    <a:gd name="connsiteX11" fmla="*/ 174002 w 262795"/>
                    <a:gd name="connsiteY11" fmla="*/ 33683 h 140551"/>
                    <a:gd name="connsiteX12" fmla="*/ 158622 w 262795"/>
                    <a:gd name="connsiteY12" fmla="*/ 29669 h 140551"/>
                    <a:gd name="connsiteX13" fmla="*/ 87691 w 262795"/>
                    <a:gd name="connsiteY13" fmla="*/ 3262 h 140551"/>
                    <a:gd name="connsiteX14" fmla="*/ 18729 w 262795"/>
                    <a:gd name="connsiteY14" fmla="*/ 30498 h 140551"/>
                    <a:gd name="connsiteX15" fmla="*/ 80177 w 262795"/>
                    <a:gd name="connsiteY15" fmla="*/ 80328 h 14055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</a:cxnLst>
                  <a:rect l="l" t="t" r="r" b="b"/>
                  <a:pathLst>
                    <a:path w="262795" h="140551">
                      <a:moveTo>
                        <a:pt x="80177" y="80328"/>
                      </a:moveTo>
                      <a:cubicBezTo>
                        <a:pt x="88265" y="99019"/>
                        <a:pt x="67737" y="121065"/>
                        <a:pt x="75571" y="139862"/>
                      </a:cubicBezTo>
                      <a:cubicBezTo>
                        <a:pt x="88812" y="142658"/>
                        <a:pt x="103473" y="136763"/>
                        <a:pt x="111089" y="125576"/>
                      </a:cubicBezTo>
                      <a:cubicBezTo>
                        <a:pt x="114802" y="120122"/>
                        <a:pt x="116994" y="113546"/>
                        <a:pt x="121788" y="109014"/>
                      </a:cubicBezTo>
                      <a:cubicBezTo>
                        <a:pt x="124706" y="106256"/>
                        <a:pt x="128379" y="104466"/>
                        <a:pt x="131992" y="102718"/>
                      </a:cubicBezTo>
                      <a:cubicBezTo>
                        <a:pt x="152256" y="92906"/>
                        <a:pt x="172523" y="83094"/>
                        <a:pt x="192789" y="73283"/>
                      </a:cubicBezTo>
                      <a:cubicBezTo>
                        <a:pt x="192309" y="67446"/>
                        <a:pt x="191829" y="61607"/>
                        <a:pt x="191349" y="55769"/>
                      </a:cubicBezTo>
                      <a:cubicBezTo>
                        <a:pt x="209716" y="53314"/>
                        <a:pt x="227847" y="49071"/>
                        <a:pt x="245396" y="43118"/>
                      </a:cubicBezTo>
                      <a:cubicBezTo>
                        <a:pt x="250722" y="41310"/>
                        <a:pt x="256257" y="39168"/>
                        <a:pt x="259835" y="34827"/>
                      </a:cubicBezTo>
                      <a:cubicBezTo>
                        <a:pt x="263413" y="30483"/>
                        <a:pt x="264122" y="23273"/>
                        <a:pt x="259868" y="19591"/>
                      </a:cubicBezTo>
                      <a:cubicBezTo>
                        <a:pt x="254680" y="15099"/>
                        <a:pt x="246782" y="18436"/>
                        <a:pt x="240605" y="21425"/>
                      </a:cubicBezTo>
                      <a:cubicBezTo>
                        <a:pt x="220039" y="31384"/>
                        <a:pt x="196762" y="35667"/>
                        <a:pt x="174002" y="33683"/>
                      </a:cubicBezTo>
                      <a:cubicBezTo>
                        <a:pt x="168679" y="33220"/>
                        <a:pt x="163233" y="32369"/>
                        <a:pt x="158622" y="29669"/>
                      </a:cubicBezTo>
                      <a:cubicBezTo>
                        <a:pt x="130493" y="13212"/>
                        <a:pt x="125381" y="-8269"/>
                        <a:pt x="87691" y="3262"/>
                      </a:cubicBezTo>
                      <a:cubicBezTo>
                        <a:pt x="64621" y="10320"/>
                        <a:pt x="39909" y="18840"/>
                        <a:pt x="18729" y="30498"/>
                      </a:cubicBezTo>
                      <a:cubicBezTo>
                        <a:pt x="-43919" y="64980"/>
                        <a:pt x="69816" y="56384"/>
                        <a:pt x="80177" y="80328"/>
                      </a:cubicBezTo>
                      <a:close/>
                    </a:path>
                  </a:pathLst>
                </a:custGeom>
                <a:grpFill/>
                <a:ln w="164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s-ES_tradnl" sz="2400"/>
                </a:p>
              </p:txBody>
            </p:sp>
            <p:sp>
              <p:nvSpPr>
                <p:cNvPr id="189" name="Forma libre 188">
                  <a:extLst>
                    <a:ext uri="{FF2B5EF4-FFF2-40B4-BE49-F238E27FC236}">
                      <a16:creationId xmlns:a16="http://schemas.microsoft.com/office/drawing/2014/main" id="{FF143994-D557-2940-BF2C-4F46B03E9D5F}"/>
                    </a:ext>
                  </a:extLst>
                </p:cNvPr>
                <p:cNvSpPr/>
                <p:nvPr/>
              </p:nvSpPr>
              <p:spPr>
                <a:xfrm>
                  <a:off x="5547675" y="2285856"/>
                  <a:ext cx="62017" cy="45420"/>
                </a:xfrm>
                <a:custGeom>
                  <a:avLst/>
                  <a:gdLst>
                    <a:gd name="connsiteX0" fmla="*/ 36959 w 62017"/>
                    <a:gd name="connsiteY0" fmla="*/ 4872 h 45420"/>
                    <a:gd name="connsiteX1" fmla="*/ 0 w 62017"/>
                    <a:gd name="connsiteY1" fmla="*/ 20779 h 45420"/>
                    <a:gd name="connsiteX2" fmla="*/ 40667 w 62017"/>
                    <a:gd name="connsiteY2" fmla="*/ 34279 h 45420"/>
                    <a:gd name="connsiteX3" fmla="*/ 42518 w 62017"/>
                    <a:gd name="connsiteY3" fmla="*/ 42467 h 45420"/>
                    <a:gd name="connsiteX4" fmla="*/ 49805 w 62017"/>
                    <a:gd name="connsiteY4" fmla="*/ 44811 h 45420"/>
                    <a:gd name="connsiteX5" fmla="*/ 51988 w 62017"/>
                    <a:gd name="connsiteY5" fmla="*/ 42390 h 45420"/>
                    <a:gd name="connsiteX6" fmla="*/ 61694 w 62017"/>
                    <a:gd name="connsiteY6" fmla="*/ 2486 h 45420"/>
                    <a:gd name="connsiteX7" fmla="*/ 19371 w 62017"/>
                    <a:gd name="connsiteY7" fmla="*/ 7091 h 45420"/>
                    <a:gd name="connsiteX8" fmla="*/ 36959 w 62017"/>
                    <a:gd name="connsiteY8" fmla="*/ 4872 h 4542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62017" h="45420">
                      <a:moveTo>
                        <a:pt x="36959" y="4872"/>
                      </a:moveTo>
                      <a:cubicBezTo>
                        <a:pt x="24319" y="9389"/>
                        <a:pt x="11969" y="14704"/>
                        <a:pt x="0" y="20779"/>
                      </a:cubicBezTo>
                      <a:cubicBezTo>
                        <a:pt x="12152" y="28565"/>
                        <a:pt x="26271" y="33252"/>
                        <a:pt x="40667" y="34279"/>
                      </a:cubicBezTo>
                      <a:cubicBezTo>
                        <a:pt x="40807" y="37108"/>
                        <a:pt x="40990" y="40082"/>
                        <a:pt x="42518" y="42467"/>
                      </a:cubicBezTo>
                      <a:cubicBezTo>
                        <a:pt x="44045" y="44853"/>
                        <a:pt x="47403" y="46313"/>
                        <a:pt x="49805" y="44811"/>
                      </a:cubicBezTo>
                      <a:cubicBezTo>
                        <a:pt x="50731" y="44230"/>
                        <a:pt x="51386" y="43305"/>
                        <a:pt x="51988" y="42390"/>
                      </a:cubicBezTo>
                      <a:cubicBezTo>
                        <a:pt x="59660" y="30726"/>
                        <a:pt x="63150" y="16371"/>
                        <a:pt x="61694" y="2486"/>
                      </a:cubicBezTo>
                      <a:cubicBezTo>
                        <a:pt x="47788" y="-2039"/>
                        <a:pt x="31979" y="-319"/>
                        <a:pt x="19371" y="7091"/>
                      </a:cubicBezTo>
                      <a:lnTo>
                        <a:pt x="36959" y="4872"/>
                      </a:lnTo>
                      <a:close/>
                    </a:path>
                  </a:pathLst>
                </a:custGeom>
                <a:grpFill/>
                <a:ln w="164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s-ES_tradnl" sz="2400"/>
                </a:p>
              </p:txBody>
            </p:sp>
            <p:sp>
              <p:nvSpPr>
                <p:cNvPr id="190" name="Forma libre 189">
                  <a:extLst>
                    <a:ext uri="{FF2B5EF4-FFF2-40B4-BE49-F238E27FC236}">
                      <a16:creationId xmlns:a16="http://schemas.microsoft.com/office/drawing/2014/main" id="{33D3E138-0CE3-104D-9B23-35A9603DA817}"/>
                    </a:ext>
                  </a:extLst>
                </p:cNvPr>
                <p:cNvSpPr/>
                <p:nvPr/>
              </p:nvSpPr>
              <p:spPr>
                <a:xfrm>
                  <a:off x="5603947" y="2430508"/>
                  <a:ext cx="72680" cy="77211"/>
                </a:xfrm>
                <a:custGeom>
                  <a:avLst/>
                  <a:gdLst>
                    <a:gd name="connsiteX0" fmla="*/ 46312 w 72680"/>
                    <a:gd name="connsiteY0" fmla="*/ 29338 h 77211"/>
                    <a:gd name="connsiteX1" fmla="*/ 37489 w 72680"/>
                    <a:gd name="connsiteY1" fmla="*/ 37529 h 77211"/>
                    <a:gd name="connsiteX2" fmla="*/ 26272 w 72680"/>
                    <a:gd name="connsiteY2" fmla="*/ 36206 h 77211"/>
                    <a:gd name="connsiteX3" fmla="*/ 23494 w 72680"/>
                    <a:gd name="connsiteY3" fmla="*/ 23883 h 77211"/>
                    <a:gd name="connsiteX4" fmla="*/ 15171 w 72680"/>
                    <a:gd name="connsiteY4" fmla="*/ 16705 h 77211"/>
                    <a:gd name="connsiteX5" fmla="*/ 12302 w 72680"/>
                    <a:gd name="connsiteY5" fmla="*/ 19626 h 77211"/>
                    <a:gd name="connsiteX6" fmla="*/ 4008 w 72680"/>
                    <a:gd name="connsiteY6" fmla="*/ 31527 h 77211"/>
                    <a:gd name="connsiteX7" fmla="*/ 78 w 72680"/>
                    <a:gd name="connsiteY7" fmla="*/ 39709 h 77211"/>
                    <a:gd name="connsiteX8" fmla="*/ 2414 w 72680"/>
                    <a:gd name="connsiteY8" fmla="*/ 49518 h 77211"/>
                    <a:gd name="connsiteX9" fmla="*/ 23214 w 72680"/>
                    <a:gd name="connsiteY9" fmla="*/ 73659 h 77211"/>
                    <a:gd name="connsiteX10" fmla="*/ 30356 w 72680"/>
                    <a:gd name="connsiteY10" fmla="*/ 75670 h 77211"/>
                    <a:gd name="connsiteX11" fmla="*/ 33463 w 72680"/>
                    <a:gd name="connsiteY11" fmla="*/ 77189 h 77211"/>
                    <a:gd name="connsiteX12" fmla="*/ 37644 w 72680"/>
                    <a:gd name="connsiteY12" fmla="*/ 75242 h 77211"/>
                    <a:gd name="connsiteX13" fmla="*/ 72643 w 72680"/>
                    <a:gd name="connsiteY13" fmla="*/ 0 h 77211"/>
                    <a:gd name="connsiteX14" fmla="*/ 46312 w 72680"/>
                    <a:gd name="connsiteY14" fmla="*/ 29338 h 7721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</a:cxnLst>
                  <a:rect l="l" t="t" r="r" b="b"/>
                  <a:pathLst>
                    <a:path w="72680" h="77211">
                      <a:moveTo>
                        <a:pt x="46312" y="29338"/>
                      </a:moveTo>
                      <a:cubicBezTo>
                        <a:pt x="43773" y="32490"/>
                        <a:pt x="41119" y="35737"/>
                        <a:pt x="37489" y="37529"/>
                      </a:cubicBezTo>
                      <a:cubicBezTo>
                        <a:pt x="33862" y="39321"/>
                        <a:pt x="28966" y="39226"/>
                        <a:pt x="26272" y="36206"/>
                      </a:cubicBezTo>
                      <a:cubicBezTo>
                        <a:pt x="23415" y="33003"/>
                        <a:pt x="24063" y="28138"/>
                        <a:pt x="23494" y="23883"/>
                      </a:cubicBezTo>
                      <a:cubicBezTo>
                        <a:pt x="22925" y="19628"/>
                        <a:pt x="19022" y="14809"/>
                        <a:pt x="15171" y="16705"/>
                      </a:cubicBezTo>
                      <a:cubicBezTo>
                        <a:pt x="13932" y="17315"/>
                        <a:pt x="13090" y="18492"/>
                        <a:pt x="12302" y="19626"/>
                      </a:cubicBezTo>
                      <a:cubicBezTo>
                        <a:pt x="9536" y="23593"/>
                        <a:pt x="6773" y="27559"/>
                        <a:pt x="4008" y="31527"/>
                      </a:cubicBezTo>
                      <a:cubicBezTo>
                        <a:pt x="2259" y="34035"/>
                        <a:pt x="461" y="36676"/>
                        <a:pt x="78" y="39709"/>
                      </a:cubicBezTo>
                      <a:cubicBezTo>
                        <a:pt x="-349" y="43087"/>
                        <a:pt x="1049" y="46400"/>
                        <a:pt x="2414" y="49518"/>
                      </a:cubicBezTo>
                      <a:cubicBezTo>
                        <a:pt x="6835" y="59605"/>
                        <a:pt x="12561" y="70860"/>
                        <a:pt x="23214" y="73659"/>
                      </a:cubicBezTo>
                      <a:cubicBezTo>
                        <a:pt x="25616" y="74289"/>
                        <a:pt x="28193" y="74452"/>
                        <a:pt x="30356" y="75670"/>
                      </a:cubicBezTo>
                      <a:cubicBezTo>
                        <a:pt x="31368" y="76241"/>
                        <a:pt x="32309" y="77045"/>
                        <a:pt x="33463" y="77189"/>
                      </a:cubicBezTo>
                      <a:cubicBezTo>
                        <a:pt x="35037" y="77385"/>
                        <a:pt x="36455" y="76295"/>
                        <a:pt x="37644" y="75242"/>
                      </a:cubicBezTo>
                      <a:cubicBezTo>
                        <a:pt x="58284" y="56996"/>
                        <a:pt x="73539" y="27922"/>
                        <a:pt x="72643" y="0"/>
                      </a:cubicBezTo>
                      <a:cubicBezTo>
                        <a:pt x="61635" y="3970"/>
                        <a:pt x="53691" y="20177"/>
                        <a:pt x="46312" y="29338"/>
                      </a:cubicBezTo>
                      <a:close/>
                    </a:path>
                  </a:pathLst>
                </a:custGeom>
                <a:grpFill/>
                <a:ln w="164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s-ES_tradnl" sz="2400"/>
                </a:p>
              </p:txBody>
            </p:sp>
            <p:sp>
              <p:nvSpPr>
                <p:cNvPr id="191" name="Forma libre 190">
                  <a:extLst>
                    <a:ext uri="{FF2B5EF4-FFF2-40B4-BE49-F238E27FC236}">
                      <a16:creationId xmlns:a16="http://schemas.microsoft.com/office/drawing/2014/main" id="{4DF522C7-D3EB-1C43-BD7D-A731E5BFF9D3}"/>
                    </a:ext>
                  </a:extLst>
                </p:cNvPr>
                <p:cNvSpPr/>
                <p:nvPr/>
              </p:nvSpPr>
              <p:spPr>
                <a:xfrm>
                  <a:off x="5551951" y="2476668"/>
                  <a:ext cx="40921" cy="35137"/>
                </a:xfrm>
                <a:custGeom>
                  <a:avLst/>
                  <a:gdLst>
                    <a:gd name="connsiteX0" fmla="*/ 447 w 40921"/>
                    <a:gd name="connsiteY0" fmla="*/ 5221 h 35137"/>
                    <a:gd name="connsiteX1" fmla="*/ 5051 w 40921"/>
                    <a:gd name="connsiteY1" fmla="*/ 19894 h 35137"/>
                    <a:gd name="connsiteX2" fmla="*/ 18547 w 40921"/>
                    <a:gd name="connsiteY2" fmla="*/ 28530 h 35137"/>
                    <a:gd name="connsiteX3" fmla="*/ 28211 w 40921"/>
                    <a:gd name="connsiteY3" fmla="*/ 33235 h 35137"/>
                    <a:gd name="connsiteX4" fmla="*/ 35558 w 40921"/>
                    <a:gd name="connsiteY4" fmla="*/ 35021 h 35137"/>
                    <a:gd name="connsiteX5" fmla="*/ 39282 w 40921"/>
                    <a:gd name="connsiteY5" fmla="*/ 18702 h 35137"/>
                    <a:gd name="connsiteX6" fmla="*/ 24134 w 40921"/>
                    <a:gd name="connsiteY6" fmla="*/ 1751 h 35137"/>
                    <a:gd name="connsiteX7" fmla="*/ 2963 w 40921"/>
                    <a:gd name="connsiteY7" fmla="*/ 5779 h 35137"/>
                    <a:gd name="connsiteX8" fmla="*/ 447 w 40921"/>
                    <a:gd name="connsiteY8" fmla="*/ 5221 h 3513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40921" h="35137">
                      <a:moveTo>
                        <a:pt x="447" y="5221"/>
                      </a:moveTo>
                      <a:cubicBezTo>
                        <a:pt x="-1030" y="10383"/>
                        <a:pt x="1319" y="16033"/>
                        <a:pt x="5051" y="19894"/>
                      </a:cubicBezTo>
                      <a:cubicBezTo>
                        <a:pt x="8784" y="23755"/>
                        <a:pt x="13718" y="26180"/>
                        <a:pt x="18547" y="28530"/>
                      </a:cubicBezTo>
                      <a:cubicBezTo>
                        <a:pt x="21768" y="30098"/>
                        <a:pt x="24989" y="31668"/>
                        <a:pt x="28211" y="33235"/>
                      </a:cubicBezTo>
                      <a:cubicBezTo>
                        <a:pt x="30517" y="34360"/>
                        <a:pt x="33037" y="35514"/>
                        <a:pt x="35558" y="35021"/>
                      </a:cubicBezTo>
                      <a:cubicBezTo>
                        <a:pt x="41877" y="33784"/>
                        <a:pt x="41897" y="24585"/>
                        <a:pt x="39282" y="18702"/>
                      </a:cubicBezTo>
                      <a:cubicBezTo>
                        <a:pt x="36135" y="11621"/>
                        <a:pt x="31183" y="4964"/>
                        <a:pt x="24134" y="1751"/>
                      </a:cubicBezTo>
                      <a:cubicBezTo>
                        <a:pt x="17083" y="-1460"/>
                        <a:pt x="7729" y="-332"/>
                        <a:pt x="2963" y="5779"/>
                      </a:cubicBezTo>
                      <a:lnTo>
                        <a:pt x="447" y="5221"/>
                      </a:lnTo>
                      <a:close/>
                    </a:path>
                  </a:pathLst>
                </a:custGeom>
                <a:grpFill/>
                <a:ln w="164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s-ES_tradnl" sz="2400"/>
                </a:p>
              </p:txBody>
            </p:sp>
            <p:sp>
              <p:nvSpPr>
                <p:cNvPr id="192" name="Forma libre 191">
                  <a:extLst>
                    <a:ext uri="{FF2B5EF4-FFF2-40B4-BE49-F238E27FC236}">
                      <a16:creationId xmlns:a16="http://schemas.microsoft.com/office/drawing/2014/main" id="{FDFC7409-ABB3-B045-BBB3-B921186078D2}"/>
                    </a:ext>
                  </a:extLst>
                </p:cNvPr>
                <p:cNvSpPr/>
                <p:nvPr/>
              </p:nvSpPr>
              <p:spPr>
                <a:xfrm>
                  <a:off x="5591748" y="2529091"/>
                  <a:ext cx="35552" cy="24293"/>
                </a:xfrm>
                <a:custGeom>
                  <a:avLst/>
                  <a:gdLst>
                    <a:gd name="connsiteX0" fmla="*/ 25103 w 35552"/>
                    <a:gd name="connsiteY0" fmla="*/ 10371 h 24293"/>
                    <a:gd name="connsiteX1" fmla="*/ 35520 w 35552"/>
                    <a:gd name="connsiteY1" fmla="*/ 24293 h 24293"/>
                    <a:gd name="connsiteX2" fmla="*/ 0 w 35552"/>
                    <a:gd name="connsiteY2" fmla="*/ 0 h 24293"/>
                    <a:gd name="connsiteX3" fmla="*/ 25103 w 35552"/>
                    <a:gd name="connsiteY3" fmla="*/ 10371 h 2429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35552" h="24293">
                      <a:moveTo>
                        <a:pt x="25103" y="10371"/>
                      </a:moveTo>
                      <a:cubicBezTo>
                        <a:pt x="31288" y="11695"/>
                        <a:pt x="35995" y="17986"/>
                        <a:pt x="35520" y="24293"/>
                      </a:cubicBezTo>
                      <a:cubicBezTo>
                        <a:pt x="21654" y="19882"/>
                        <a:pt x="9138" y="11322"/>
                        <a:pt x="0" y="0"/>
                      </a:cubicBezTo>
                      <a:lnTo>
                        <a:pt x="25103" y="10371"/>
                      </a:lnTo>
                      <a:close/>
                    </a:path>
                  </a:pathLst>
                </a:custGeom>
                <a:grpFill/>
                <a:ln w="164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s-ES_tradnl" sz="2400"/>
                </a:p>
              </p:txBody>
            </p:sp>
            <p:sp>
              <p:nvSpPr>
                <p:cNvPr id="193" name="Forma libre 192">
                  <a:extLst>
                    <a:ext uri="{FF2B5EF4-FFF2-40B4-BE49-F238E27FC236}">
                      <a16:creationId xmlns:a16="http://schemas.microsoft.com/office/drawing/2014/main" id="{2407C5A5-1D13-5E48-8C3E-607D6509D07E}"/>
                    </a:ext>
                  </a:extLst>
                </p:cNvPr>
                <p:cNvSpPr/>
                <p:nvPr/>
              </p:nvSpPr>
              <p:spPr>
                <a:xfrm>
                  <a:off x="6161850" y="2209973"/>
                  <a:ext cx="54277" cy="40167"/>
                </a:xfrm>
                <a:custGeom>
                  <a:avLst/>
                  <a:gdLst>
                    <a:gd name="connsiteX0" fmla="*/ 37814 w 54277"/>
                    <a:gd name="connsiteY0" fmla="*/ 3364 h 40167"/>
                    <a:gd name="connsiteX1" fmla="*/ 51344 w 54277"/>
                    <a:gd name="connsiteY1" fmla="*/ 2675 h 40167"/>
                    <a:gd name="connsiteX2" fmla="*/ 52492 w 54277"/>
                    <a:gd name="connsiteY2" fmla="*/ 17088 h 40167"/>
                    <a:gd name="connsiteX3" fmla="*/ 37696 w 54277"/>
                    <a:gd name="connsiteY3" fmla="*/ 27662 h 40167"/>
                    <a:gd name="connsiteX4" fmla="*/ 13363 w 54277"/>
                    <a:gd name="connsiteY4" fmla="*/ 38269 h 40167"/>
                    <a:gd name="connsiteX5" fmla="*/ 2761 w 54277"/>
                    <a:gd name="connsiteY5" fmla="*/ 39179 h 40167"/>
                    <a:gd name="connsiteX6" fmla="*/ 1090 w 54277"/>
                    <a:gd name="connsiteY6" fmla="*/ 29095 h 40167"/>
                    <a:gd name="connsiteX7" fmla="*/ 9291 w 54277"/>
                    <a:gd name="connsiteY7" fmla="*/ 21581 h 40167"/>
                    <a:gd name="connsiteX8" fmla="*/ 37814 w 54277"/>
                    <a:gd name="connsiteY8" fmla="*/ 3364 h 4016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54277" h="40167">
                      <a:moveTo>
                        <a:pt x="37814" y="3364"/>
                      </a:moveTo>
                      <a:cubicBezTo>
                        <a:pt x="40668" y="-957"/>
                        <a:pt x="47734" y="-1038"/>
                        <a:pt x="51344" y="2675"/>
                      </a:cubicBezTo>
                      <a:cubicBezTo>
                        <a:pt x="54953" y="6386"/>
                        <a:pt x="55106" y="12619"/>
                        <a:pt x="52492" y="17088"/>
                      </a:cubicBezTo>
                      <a:cubicBezTo>
                        <a:pt x="49374" y="22415"/>
                        <a:pt x="43352" y="25196"/>
                        <a:pt x="37696" y="27662"/>
                      </a:cubicBezTo>
                      <a:cubicBezTo>
                        <a:pt x="29585" y="31198"/>
                        <a:pt x="21474" y="34733"/>
                        <a:pt x="13363" y="38269"/>
                      </a:cubicBezTo>
                      <a:cubicBezTo>
                        <a:pt x="9967" y="39748"/>
                        <a:pt x="5874" y="41189"/>
                        <a:pt x="2761" y="39179"/>
                      </a:cubicBezTo>
                      <a:cubicBezTo>
                        <a:pt x="-387" y="37146"/>
                        <a:pt x="-696" y="32390"/>
                        <a:pt x="1090" y="29095"/>
                      </a:cubicBezTo>
                      <a:cubicBezTo>
                        <a:pt x="2877" y="25799"/>
                        <a:pt x="6147" y="23623"/>
                        <a:pt x="9291" y="21581"/>
                      </a:cubicBezTo>
                      <a:lnTo>
                        <a:pt x="37814" y="3364"/>
                      </a:lnTo>
                      <a:close/>
                    </a:path>
                  </a:pathLst>
                </a:custGeom>
                <a:grpFill/>
                <a:ln w="164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s-ES_tradnl" sz="2400"/>
                </a:p>
              </p:txBody>
            </p:sp>
            <p:sp>
              <p:nvSpPr>
                <p:cNvPr id="194" name="Forma libre 193">
                  <a:extLst>
                    <a:ext uri="{FF2B5EF4-FFF2-40B4-BE49-F238E27FC236}">
                      <a16:creationId xmlns:a16="http://schemas.microsoft.com/office/drawing/2014/main" id="{63E9922F-7ED0-0C4F-94F6-4B365660F6DA}"/>
                    </a:ext>
                  </a:extLst>
                </p:cNvPr>
                <p:cNvSpPr/>
                <p:nvPr/>
              </p:nvSpPr>
              <p:spPr>
                <a:xfrm>
                  <a:off x="6977554" y="1094853"/>
                  <a:ext cx="62561" cy="91955"/>
                </a:xfrm>
                <a:custGeom>
                  <a:avLst/>
                  <a:gdLst>
                    <a:gd name="connsiteX0" fmla="*/ 4826 w 62561"/>
                    <a:gd name="connsiteY0" fmla="*/ 62398 h 91955"/>
                    <a:gd name="connsiteX1" fmla="*/ 24489 w 62561"/>
                    <a:gd name="connsiteY1" fmla="*/ 78533 h 91955"/>
                    <a:gd name="connsiteX2" fmla="*/ 39055 w 62561"/>
                    <a:gd name="connsiteY2" fmla="*/ 91934 h 91955"/>
                    <a:gd name="connsiteX3" fmla="*/ 50056 w 62561"/>
                    <a:gd name="connsiteY3" fmla="*/ 75552 h 91955"/>
                    <a:gd name="connsiteX4" fmla="*/ 59707 w 62561"/>
                    <a:gd name="connsiteY4" fmla="*/ 55631 h 91955"/>
                    <a:gd name="connsiteX5" fmla="*/ 60154 w 62561"/>
                    <a:gd name="connsiteY5" fmla="*/ 34349 h 91955"/>
                    <a:gd name="connsiteX6" fmla="*/ 33264 w 62561"/>
                    <a:gd name="connsiteY6" fmla="*/ 17595 h 91955"/>
                    <a:gd name="connsiteX7" fmla="*/ 24919 w 62561"/>
                    <a:gd name="connsiteY7" fmla="*/ 7514 h 91955"/>
                    <a:gd name="connsiteX8" fmla="*/ 3934 w 62561"/>
                    <a:gd name="connsiteY8" fmla="*/ 116 h 91955"/>
                    <a:gd name="connsiteX9" fmla="*/ 4826 w 62561"/>
                    <a:gd name="connsiteY9" fmla="*/ 62398 h 9195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62561" h="91955">
                      <a:moveTo>
                        <a:pt x="4826" y="62398"/>
                      </a:moveTo>
                      <a:cubicBezTo>
                        <a:pt x="9910" y="69233"/>
                        <a:pt x="19088" y="71942"/>
                        <a:pt x="24489" y="78533"/>
                      </a:cubicBezTo>
                      <a:cubicBezTo>
                        <a:pt x="28880" y="83895"/>
                        <a:pt x="32143" y="92446"/>
                        <a:pt x="39055" y="91934"/>
                      </a:cubicBezTo>
                      <a:cubicBezTo>
                        <a:pt x="46080" y="91413"/>
                        <a:pt x="47934" y="82271"/>
                        <a:pt x="50056" y="75552"/>
                      </a:cubicBezTo>
                      <a:cubicBezTo>
                        <a:pt x="52278" y="68506"/>
                        <a:pt x="56721" y="62388"/>
                        <a:pt x="59707" y="55631"/>
                      </a:cubicBezTo>
                      <a:cubicBezTo>
                        <a:pt x="62694" y="48872"/>
                        <a:pt x="64066" y="40621"/>
                        <a:pt x="60154" y="34349"/>
                      </a:cubicBezTo>
                      <a:cubicBezTo>
                        <a:pt x="54491" y="25268"/>
                        <a:pt x="41132" y="24849"/>
                        <a:pt x="33264" y="17595"/>
                      </a:cubicBezTo>
                      <a:cubicBezTo>
                        <a:pt x="30053" y="14634"/>
                        <a:pt x="27929" y="10678"/>
                        <a:pt x="24919" y="7514"/>
                      </a:cubicBezTo>
                      <a:cubicBezTo>
                        <a:pt x="19551" y="1876"/>
                        <a:pt x="11592" y="-582"/>
                        <a:pt x="3934" y="116"/>
                      </a:cubicBezTo>
                      <a:cubicBezTo>
                        <a:pt x="6261" y="18100"/>
                        <a:pt x="-6654" y="46958"/>
                        <a:pt x="4826" y="62398"/>
                      </a:cubicBezTo>
                      <a:close/>
                    </a:path>
                  </a:pathLst>
                </a:custGeom>
                <a:grpFill/>
                <a:ln w="164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s-ES_tradnl" sz="2400"/>
                </a:p>
              </p:txBody>
            </p:sp>
            <p:sp>
              <p:nvSpPr>
                <p:cNvPr id="195" name="Forma libre 194">
                  <a:extLst>
                    <a:ext uri="{FF2B5EF4-FFF2-40B4-BE49-F238E27FC236}">
                      <a16:creationId xmlns:a16="http://schemas.microsoft.com/office/drawing/2014/main" id="{734EBCD0-4A44-344A-A838-BFF176FCDDB4}"/>
                    </a:ext>
                  </a:extLst>
                </p:cNvPr>
                <p:cNvSpPr/>
                <p:nvPr/>
              </p:nvSpPr>
              <p:spPr>
                <a:xfrm>
                  <a:off x="4783490" y="2033373"/>
                  <a:ext cx="57704" cy="43665"/>
                </a:xfrm>
                <a:custGeom>
                  <a:avLst/>
                  <a:gdLst>
                    <a:gd name="connsiteX0" fmla="*/ 41130 w 57704"/>
                    <a:gd name="connsiteY0" fmla="*/ 12095 h 43665"/>
                    <a:gd name="connsiteX1" fmla="*/ 57704 w 57704"/>
                    <a:gd name="connsiteY1" fmla="*/ 5605 h 43665"/>
                    <a:gd name="connsiteX2" fmla="*/ 51522 w 57704"/>
                    <a:gd name="connsiteY2" fmla="*/ 22096 h 43665"/>
                    <a:gd name="connsiteX3" fmla="*/ 46219 w 57704"/>
                    <a:gd name="connsiteY3" fmla="*/ 30032 h 43665"/>
                    <a:gd name="connsiteX4" fmla="*/ 39171 w 57704"/>
                    <a:gd name="connsiteY4" fmla="*/ 31301 h 43665"/>
                    <a:gd name="connsiteX5" fmla="*/ 437 w 57704"/>
                    <a:gd name="connsiteY5" fmla="*/ 43665 h 43665"/>
                    <a:gd name="connsiteX6" fmla="*/ 23240 w 57704"/>
                    <a:gd name="connsiteY6" fmla="*/ 11904 h 43665"/>
                    <a:gd name="connsiteX7" fmla="*/ 44971 w 57704"/>
                    <a:gd name="connsiteY7" fmla="*/ 0 h 43665"/>
                    <a:gd name="connsiteX8" fmla="*/ 41130 w 57704"/>
                    <a:gd name="connsiteY8" fmla="*/ 12095 h 4366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57704" h="43665">
                      <a:moveTo>
                        <a:pt x="41130" y="12095"/>
                      </a:moveTo>
                      <a:cubicBezTo>
                        <a:pt x="45915" y="8460"/>
                        <a:pt x="51724" y="6189"/>
                        <a:pt x="57704" y="5605"/>
                      </a:cubicBezTo>
                      <a:cubicBezTo>
                        <a:pt x="55644" y="11101"/>
                        <a:pt x="53583" y="16598"/>
                        <a:pt x="51522" y="22096"/>
                      </a:cubicBezTo>
                      <a:cubicBezTo>
                        <a:pt x="50383" y="25139"/>
                        <a:pt x="49045" y="28423"/>
                        <a:pt x="46219" y="30032"/>
                      </a:cubicBezTo>
                      <a:cubicBezTo>
                        <a:pt x="44122" y="31227"/>
                        <a:pt x="41585" y="31263"/>
                        <a:pt x="39171" y="31301"/>
                      </a:cubicBezTo>
                      <a:cubicBezTo>
                        <a:pt x="25228" y="31517"/>
                        <a:pt x="9921" y="33441"/>
                        <a:pt x="437" y="43665"/>
                      </a:cubicBezTo>
                      <a:cubicBezTo>
                        <a:pt x="-2583" y="29910"/>
                        <a:pt x="10603" y="18119"/>
                        <a:pt x="23240" y="11904"/>
                      </a:cubicBezTo>
                      <a:cubicBezTo>
                        <a:pt x="30671" y="8249"/>
                        <a:pt x="38546" y="5226"/>
                        <a:pt x="44971" y="0"/>
                      </a:cubicBezTo>
                      <a:lnTo>
                        <a:pt x="41130" y="12095"/>
                      </a:lnTo>
                      <a:close/>
                    </a:path>
                  </a:pathLst>
                </a:custGeom>
                <a:grpFill/>
                <a:ln w="164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s-ES_tradnl" sz="2400"/>
                </a:p>
              </p:txBody>
            </p:sp>
            <p:sp>
              <p:nvSpPr>
                <p:cNvPr id="196" name="Forma libre 195">
                  <a:extLst>
                    <a:ext uri="{FF2B5EF4-FFF2-40B4-BE49-F238E27FC236}">
                      <a16:creationId xmlns:a16="http://schemas.microsoft.com/office/drawing/2014/main" id="{814B90F1-7CB0-CB42-8A99-00F543FB0CB2}"/>
                    </a:ext>
                  </a:extLst>
                </p:cNvPr>
                <p:cNvSpPr/>
                <p:nvPr/>
              </p:nvSpPr>
              <p:spPr>
                <a:xfrm>
                  <a:off x="4784273" y="2405211"/>
                  <a:ext cx="32405" cy="21095"/>
                </a:xfrm>
                <a:custGeom>
                  <a:avLst/>
                  <a:gdLst>
                    <a:gd name="connsiteX0" fmla="*/ 14131 w 32405"/>
                    <a:gd name="connsiteY0" fmla="*/ 5927 h 21095"/>
                    <a:gd name="connsiteX1" fmla="*/ 32406 w 32405"/>
                    <a:gd name="connsiteY1" fmla="*/ 6934 h 21095"/>
                    <a:gd name="connsiteX2" fmla="*/ 19405 w 32405"/>
                    <a:gd name="connsiteY2" fmla="*/ 20018 h 21095"/>
                    <a:gd name="connsiteX3" fmla="*/ 0 w 32405"/>
                    <a:gd name="connsiteY3" fmla="*/ 20277 h 21095"/>
                    <a:gd name="connsiteX4" fmla="*/ 17889 w 32405"/>
                    <a:gd name="connsiteY4" fmla="*/ 0 h 21095"/>
                    <a:gd name="connsiteX5" fmla="*/ 14131 w 32405"/>
                    <a:gd name="connsiteY5" fmla="*/ 5927 h 2109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32405" h="21095">
                      <a:moveTo>
                        <a:pt x="14131" y="5927"/>
                      </a:moveTo>
                      <a:cubicBezTo>
                        <a:pt x="20180" y="6779"/>
                        <a:pt x="26301" y="7117"/>
                        <a:pt x="32406" y="6934"/>
                      </a:cubicBezTo>
                      <a:cubicBezTo>
                        <a:pt x="31540" y="13390"/>
                        <a:pt x="25680" y="18266"/>
                        <a:pt x="19405" y="20018"/>
                      </a:cubicBezTo>
                      <a:cubicBezTo>
                        <a:pt x="13133" y="21769"/>
                        <a:pt x="6469" y="21031"/>
                        <a:pt x="0" y="20277"/>
                      </a:cubicBezTo>
                      <a:cubicBezTo>
                        <a:pt x="3754" y="11932"/>
                        <a:pt x="10076" y="4766"/>
                        <a:pt x="17889" y="0"/>
                      </a:cubicBezTo>
                      <a:lnTo>
                        <a:pt x="14131" y="5927"/>
                      </a:lnTo>
                      <a:close/>
                    </a:path>
                  </a:pathLst>
                </a:custGeom>
                <a:grpFill/>
                <a:ln w="164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s-ES_tradnl" sz="2400"/>
                </a:p>
              </p:txBody>
            </p:sp>
            <p:sp>
              <p:nvSpPr>
                <p:cNvPr id="197" name="Forma libre 196">
                  <a:extLst>
                    <a:ext uri="{FF2B5EF4-FFF2-40B4-BE49-F238E27FC236}">
                      <a16:creationId xmlns:a16="http://schemas.microsoft.com/office/drawing/2014/main" id="{F5D03906-EAB3-6A46-B610-C4A4A2193FF8}"/>
                    </a:ext>
                  </a:extLst>
                </p:cNvPr>
                <p:cNvSpPr/>
                <p:nvPr/>
              </p:nvSpPr>
              <p:spPr>
                <a:xfrm>
                  <a:off x="4940218" y="3704089"/>
                  <a:ext cx="47315" cy="43930"/>
                </a:xfrm>
                <a:custGeom>
                  <a:avLst/>
                  <a:gdLst>
                    <a:gd name="connsiteX0" fmla="*/ 0 w 47315"/>
                    <a:gd name="connsiteY0" fmla="*/ 10714 h 43930"/>
                    <a:gd name="connsiteX1" fmla="*/ 6106 w 47315"/>
                    <a:gd name="connsiteY1" fmla="*/ 1161 h 43930"/>
                    <a:gd name="connsiteX2" fmla="*/ 16199 w 47315"/>
                    <a:gd name="connsiteY2" fmla="*/ 3215 h 43930"/>
                    <a:gd name="connsiteX3" fmla="*/ 17447 w 47315"/>
                    <a:gd name="connsiteY3" fmla="*/ 9776 h 43930"/>
                    <a:gd name="connsiteX4" fmla="*/ 29087 w 47315"/>
                    <a:gd name="connsiteY4" fmla="*/ 18388 h 43930"/>
                    <a:gd name="connsiteX5" fmla="*/ 46633 w 47315"/>
                    <a:gd name="connsiteY5" fmla="*/ 30291 h 43930"/>
                    <a:gd name="connsiteX6" fmla="*/ 36166 w 47315"/>
                    <a:gd name="connsiteY6" fmla="*/ 43153 h 43930"/>
                    <a:gd name="connsiteX7" fmla="*/ 29407 w 47315"/>
                    <a:gd name="connsiteY7" fmla="*/ 36855 h 43930"/>
                    <a:gd name="connsiteX8" fmla="*/ 18995 w 47315"/>
                    <a:gd name="connsiteY8" fmla="*/ 36211 h 43930"/>
                    <a:gd name="connsiteX9" fmla="*/ 5079 w 47315"/>
                    <a:gd name="connsiteY9" fmla="*/ 9311 h 43930"/>
                    <a:gd name="connsiteX10" fmla="*/ 0 w 47315"/>
                    <a:gd name="connsiteY10" fmla="*/ 10714 h 4393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47315" h="43930">
                      <a:moveTo>
                        <a:pt x="0" y="10714"/>
                      </a:moveTo>
                      <a:cubicBezTo>
                        <a:pt x="1057" y="6990"/>
                        <a:pt x="2816" y="3193"/>
                        <a:pt x="6106" y="1161"/>
                      </a:cubicBezTo>
                      <a:cubicBezTo>
                        <a:pt x="9399" y="-872"/>
                        <a:pt x="14504" y="-264"/>
                        <a:pt x="16199" y="3215"/>
                      </a:cubicBezTo>
                      <a:cubicBezTo>
                        <a:pt x="17180" y="5224"/>
                        <a:pt x="16842" y="7623"/>
                        <a:pt x="17447" y="9776"/>
                      </a:cubicBezTo>
                      <a:cubicBezTo>
                        <a:pt x="18814" y="14626"/>
                        <a:pt x="24293" y="16830"/>
                        <a:pt x="29087" y="18388"/>
                      </a:cubicBezTo>
                      <a:cubicBezTo>
                        <a:pt x="36024" y="20642"/>
                        <a:pt x="43705" y="23607"/>
                        <a:pt x="46633" y="30291"/>
                      </a:cubicBezTo>
                      <a:cubicBezTo>
                        <a:pt x="49561" y="36974"/>
                        <a:pt x="42503" y="46770"/>
                        <a:pt x="36166" y="43153"/>
                      </a:cubicBezTo>
                      <a:cubicBezTo>
                        <a:pt x="33476" y="41616"/>
                        <a:pt x="32117" y="38354"/>
                        <a:pt x="29407" y="36855"/>
                      </a:cubicBezTo>
                      <a:cubicBezTo>
                        <a:pt x="26321" y="35146"/>
                        <a:pt x="22521" y="36199"/>
                        <a:pt x="18995" y="36211"/>
                      </a:cubicBezTo>
                      <a:cubicBezTo>
                        <a:pt x="6548" y="36255"/>
                        <a:pt x="-2148" y="19443"/>
                        <a:pt x="5079" y="9311"/>
                      </a:cubicBezTo>
                      <a:lnTo>
                        <a:pt x="0" y="10714"/>
                      </a:lnTo>
                      <a:close/>
                    </a:path>
                  </a:pathLst>
                </a:custGeom>
                <a:grpFill/>
                <a:ln w="164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s-ES_tradnl" sz="2400"/>
                </a:p>
              </p:txBody>
            </p:sp>
            <p:sp>
              <p:nvSpPr>
                <p:cNvPr id="198" name="Forma libre 197">
                  <a:extLst>
                    <a:ext uri="{FF2B5EF4-FFF2-40B4-BE49-F238E27FC236}">
                      <a16:creationId xmlns:a16="http://schemas.microsoft.com/office/drawing/2014/main" id="{7034F507-033C-3449-9589-E1EFF64C44C2}"/>
                    </a:ext>
                  </a:extLst>
                </p:cNvPr>
                <p:cNvSpPr/>
                <p:nvPr/>
              </p:nvSpPr>
              <p:spPr>
                <a:xfrm>
                  <a:off x="4720508" y="3762173"/>
                  <a:ext cx="59074" cy="50212"/>
                </a:xfrm>
                <a:custGeom>
                  <a:avLst/>
                  <a:gdLst>
                    <a:gd name="connsiteX0" fmla="*/ 45451 w 59074"/>
                    <a:gd name="connsiteY0" fmla="*/ 3662 h 50212"/>
                    <a:gd name="connsiteX1" fmla="*/ 0 w 59074"/>
                    <a:gd name="connsiteY1" fmla="*/ 50212 h 50212"/>
                    <a:gd name="connsiteX2" fmla="*/ 38667 w 59074"/>
                    <a:gd name="connsiteY2" fmla="*/ 42563 h 50212"/>
                    <a:gd name="connsiteX3" fmla="*/ 58964 w 59074"/>
                    <a:gd name="connsiteY3" fmla="*/ 11234 h 50212"/>
                    <a:gd name="connsiteX4" fmla="*/ 45451 w 59074"/>
                    <a:gd name="connsiteY4" fmla="*/ 3662 h 5021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9074" h="50212">
                      <a:moveTo>
                        <a:pt x="45451" y="3662"/>
                      </a:moveTo>
                      <a:cubicBezTo>
                        <a:pt x="30116" y="18997"/>
                        <a:pt x="15150" y="34696"/>
                        <a:pt x="0" y="50212"/>
                      </a:cubicBezTo>
                      <a:cubicBezTo>
                        <a:pt x="13208" y="49394"/>
                        <a:pt x="26827" y="48473"/>
                        <a:pt x="38667" y="42563"/>
                      </a:cubicBezTo>
                      <a:cubicBezTo>
                        <a:pt x="50508" y="36654"/>
                        <a:pt x="60223" y="24405"/>
                        <a:pt x="58964" y="11234"/>
                      </a:cubicBezTo>
                      <a:cubicBezTo>
                        <a:pt x="58966" y="11235"/>
                        <a:pt x="56889" y="-7776"/>
                        <a:pt x="45451" y="3662"/>
                      </a:cubicBezTo>
                      <a:close/>
                    </a:path>
                  </a:pathLst>
                </a:custGeom>
                <a:grpFill/>
                <a:ln w="164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s-ES_tradnl" sz="2400"/>
                </a:p>
              </p:txBody>
            </p:sp>
            <p:sp>
              <p:nvSpPr>
                <p:cNvPr id="199" name="Forma libre 198">
                  <a:extLst>
                    <a:ext uri="{FF2B5EF4-FFF2-40B4-BE49-F238E27FC236}">
                      <a16:creationId xmlns:a16="http://schemas.microsoft.com/office/drawing/2014/main" id="{22580042-1101-F947-AE76-985585B83970}"/>
                    </a:ext>
                  </a:extLst>
                </p:cNvPr>
                <p:cNvSpPr/>
                <p:nvPr/>
              </p:nvSpPr>
              <p:spPr>
                <a:xfrm>
                  <a:off x="4989703" y="2023199"/>
                  <a:ext cx="18071" cy="18387"/>
                </a:xfrm>
                <a:custGeom>
                  <a:avLst/>
                  <a:gdLst>
                    <a:gd name="connsiteX0" fmla="*/ 6883 w 18071"/>
                    <a:gd name="connsiteY0" fmla="*/ 0 h 18387"/>
                    <a:gd name="connsiteX1" fmla="*/ 17504 w 18071"/>
                    <a:gd name="connsiteY1" fmla="*/ 18109 h 18387"/>
                    <a:gd name="connsiteX2" fmla="*/ 0 w 18071"/>
                    <a:gd name="connsiteY2" fmla="*/ 18388 h 18387"/>
                    <a:gd name="connsiteX3" fmla="*/ 6883 w 18071"/>
                    <a:gd name="connsiteY3" fmla="*/ 0 h 183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8071" h="18387">
                      <a:moveTo>
                        <a:pt x="6883" y="0"/>
                      </a:moveTo>
                      <a:cubicBezTo>
                        <a:pt x="14596" y="1612"/>
                        <a:pt x="19862" y="10589"/>
                        <a:pt x="17504" y="18109"/>
                      </a:cubicBezTo>
                      <a:cubicBezTo>
                        <a:pt x="11670" y="18202"/>
                        <a:pt x="5834" y="18296"/>
                        <a:pt x="0" y="18388"/>
                      </a:cubicBezTo>
                      <a:lnTo>
                        <a:pt x="6883" y="0"/>
                      </a:lnTo>
                      <a:close/>
                    </a:path>
                  </a:pathLst>
                </a:custGeom>
                <a:grpFill/>
                <a:ln w="164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s-ES_tradnl" sz="2400"/>
                </a:p>
              </p:txBody>
            </p:sp>
            <p:sp>
              <p:nvSpPr>
                <p:cNvPr id="200" name="Forma libre 199">
                  <a:extLst>
                    <a:ext uri="{FF2B5EF4-FFF2-40B4-BE49-F238E27FC236}">
                      <a16:creationId xmlns:a16="http://schemas.microsoft.com/office/drawing/2014/main" id="{75C360D3-9900-AD48-839B-BCE7BEB58172}"/>
                    </a:ext>
                  </a:extLst>
                </p:cNvPr>
                <p:cNvSpPr/>
                <p:nvPr/>
              </p:nvSpPr>
              <p:spPr>
                <a:xfrm>
                  <a:off x="7838646" y="2451777"/>
                  <a:ext cx="2380" cy="2794"/>
                </a:xfrm>
                <a:custGeom>
                  <a:avLst/>
                  <a:gdLst>
                    <a:gd name="connsiteX0" fmla="*/ 0 w 2380"/>
                    <a:gd name="connsiteY0" fmla="*/ 0 h 2794"/>
                    <a:gd name="connsiteX1" fmla="*/ 2380 w 2380"/>
                    <a:gd name="connsiteY1" fmla="*/ 2794 h 2794"/>
                    <a:gd name="connsiteX2" fmla="*/ 0 w 2380"/>
                    <a:gd name="connsiteY2" fmla="*/ 0 h 279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2380" h="2794">
                      <a:moveTo>
                        <a:pt x="0" y="0"/>
                      </a:moveTo>
                      <a:cubicBezTo>
                        <a:pt x="588" y="1035"/>
                        <a:pt x="1355" y="1990"/>
                        <a:pt x="2380" y="2794"/>
                      </a:cubicBezTo>
                      <a:cubicBezTo>
                        <a:pt x="1660" y="1804"/>
                        <a:pt x="791" y="935"/>
                        <a:pt x="0" y="0"/>
                      </a:cubicBezTo>
                      <a:close/>
                    </a:path>
                  </a:pathLst>
                </a:custGeom>
                <a:grpFill/>
                <a:ln w="164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s-ES_tradnl" sz="2400"/>
                </a:p>
              </p:txBody>
            </p:sp>
            <p:sp>
              <p:nvSpPr>
                <p:cNvPr id="201" name="Forma libre 200">
                  <a:extLst>
                    <a:ext uri="{FF2B5EF4-FFF2-40B4-BE49-F238E27FC236}">
                      <a16:creationId xmlns:a16="http://schemas.microsoft.com/office/drawing/2014/main" id="{4F0BFC67-A0C0-7C47-9719-F7E25F78172C}"/>
                    </a:ext>
                  </a:extLst>
                </p:cNvPr>
                <p:cNvSpPr/>
                <p:nvPr/>
              </p:nvSpPr>
              <p:spPr>
                <a:xfrm>
                  <a:off x="6325846" y="4041435"/>
                  <a:ext cx="5130" cy="4162"/>
                </a:xfrm>
                <a:custGeom>
                  <a:avLst/>
                  <a:gdLst>
                    <a:gd name="connsiteX0" fmla="*/ 5130 w 5130"/>
                    <a:gd name="connsiteY0" fmla="*/ 4162 h 4162"/>
                    <a:gd name="connsiteX1" fmla="*/ 0 w 5130"/>
                    <a:gd name="connsiteY1" fmla="*/ 0 h 4162"/>
                    <a:gd name="connsiteX2" fmla="*/ 5130 w 5130"/>
                    <a:gd name="connsiteY2" fmla="*/ 4162 h 416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5130" h="4162">
                      <a:moveTo>
                        <a:pt x="5130" y="4162"/>
                      </a:moveTo>
                      <a:cubicBezTo>
                        <a:pt x="3470" y="2715"/>
                        <a:pt x="1729" y="1366"/>
                        <a:pt x="0" y="0"/>
                      </a:cubicBezTo>
                      <a:cubicBezTo>
                        <a:pt x="1513" y="1604"/>
                        <a:pt x="3172" y="3068"/>
                        <a:pt x="5130" y="4162"/>
                      </a:cubicBezTo>
                      <a:close/>
                    </a:path>
                  </a:pathLst>
                </a:custGeom>
                <a:grpFill/>
                <a:ln w="164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s-ES_tradnl" sz="2400"/>
                </a:p>
              </p:txBody>
            </p:sp>
            <p:sp>
              <p:nvSpPr>
                <p:cNvPr id="202" name="Forma libre 201">
                  <a:extLst>
                    <a:ext uri="{FF2B5EF4-FFF2-40B4-BE49-F238E27FC236}">
                      <a16:creationId xmlns:a16="http://schemas.microsoft.com/office/drawing/2014/main" id="{BF1BF2A8-CEFB-1742-8A23-70E970B32ED3}"/>
                    </a:ext>
                  </a:extLst>
                </p:cNvPr>
                <p:cNvSpPr/>
                <p:nvPr/>
              </p:nvSpPr>
              <p:spPr>
                <a:xfrm>
                  <a:off x="6073855" y="1225899"/>
                  <a:ext cx="477076" cy="883264"/>
                </a:xfrm>
                <a:custGeom>
                  <a:avLst/>
                  <a:gdLst>
                    <a:gd name="connsiteX0" fmla="*/ 455800 w 477076"/>
                    <a:gd name="connsiteY0" fmla="*/ 562674 h 883264"/>
                    <a:gd name="connsiteX1" fmla="*/ 370234 w 477076"/>
                    <a:gd name="connsiteY1" fmla="*/ 521265 h 883264"/>
                    <a:gd name="connsiteX2" fmla="*/ 378969 w 477076"/>
                    <a:gd name="connsiteY2" fmla="*/ 494621 h 883264"/>
                    <a:gd name="connsiteX3" fmla="*/ 384955 w 477076"/>
                    <a:gd name="connsiteY3" fmla="*/ 499588 h 883264"/>
                    <a:gd name="connsiteX4" fmla="*/ 396096 w 477076"/>
                    <a:gd name="connsiteY4" fmla="*/ 499836 h 883264"/>
                    <a:gd name="connsiteX5" fmla="*/ 402315 w 477076"/>
                    <a:gd name="connsiteY5" fmla="*/ 490591 h 883264"/>
                    <a:gd name="connsiteX6" fmla="*/ 391479 w 477076"/>
                    <a:gd name="connsiteY6" fmla="*/ 474407 h 883264"/>
                    <a:gd name="connsiteX7" fmla="*/ 390705 w 477076"/>
                    <a:gd name="connsiteY7" fmla="*/ 473637 h 883264"/>
                    <a:gd name="connsiteX8" fmla="*/ 345617 w 477076"/>
                    <a:gd name="connsiteY8" fmla="*/ 402773 h 883264"/>
                    <a:gd name="connsiteX9" fmla="*/ 341547 w 477076"/>
                    <a:gd name="connsiteY9" fmla="*/ 378508 h 883264"/>
                    <a:gd name="connsiteX10" fmla="*/ 345861 w 477076"/>
                    <a:gd name="connsiteY10" fmla="*/ 363437 h 883264"/>
                    <a:gd name="connsiteX11" fmla="*/ 349007 w 477076"/>
                    <a:gd name="connsiteY11" fmla="*/ 354032 h 883264"/>
                    <a:gd name="connsiteX12" fmla="*/ 344979 w 477076"/>
                    <a:gd name="connsiteY12" fmla="*/ 323156 h 883264"/>
                    <a:gd name="connsiteX13" fmla="*/ 308312 w 477076"/>
                    <a:gd name="connsiteY13" fmla="*/ 276128 h 883264"/>
                    <a:gd name="connsiteX14" fmla="*/ 307169 w 477076"/>
                    <a:gd name="connsiteY14" fmla="*/ 275309 h 883264"/>
                    <a:gd name="connsiteX15" fmla="*/ 297911 w 477076"/>
                    <a:gd name="connsiteY15" fmla="*/ 266835 h 883264"/>
                    <a:gd name="connsiteX16" fmla="*/ 293353 w 477076"/>
                    <a:gd name="connsiteY16" fmla="*/ 254810 h 883264"/>
                    <a:gd name="connsiteX17" fmla="*/ 298729 w 477076"/>
                    <a:gd name="connsiteY17" fmla="*/ 207472 h 883264"/>
                    <a:gd name="connsiteX18" fmla="*/ 300429 w 477076"/>
                    <a:gd name="connsiteY18" fmla="*/ 203793 h 883264"/>
                    <a:gd name="connsiteX19" fmla="*/ 304603 w 477076"/>
                    <a:gd name="connsiteY19" fmla="*/ 190739 h 883264"/>
                    <a:gd name="connsiteX20" fmla="*/ 287293 w 477076"/>
                    <a:gd name="connsiteY20" fmla="*/ 167861 h 883264"/>
                    <a:gd name="connsiteX21" fmla="*/ 244160 w 477076"/>
                    <a:gd name="connsiteY21" fmla="*/ 98814 h 883264"/>
                    <a:gd name="connsiteX22" fmla="*/ 261551 w 477076"/>
                    <a:gd name="connsiteY22" fmla="*/ 49095 h 883264"/>
                    <a:gd name="connsiteX23" fmla="*/ 258254 w 477076"/>
                    <a:gd name="connsiteY23" fmla="*/ 26350 h 883264"/>
                    <a:gd name="connsiteX24" fmla="*/ 243474 w 477076"/>
                    <a:gd name="connsiteY24" fmla="*/ 19687 h 883264"/>
                    <a:gd name="connsiteX25" fmla="*/ 237047 w 477076"/>
                    <a:gd name="connsiteY25" fmla="*/ 23096 h 883264"/>
                    <a:gd name="connsiteX26" fmla="*/ 233038 w 477076"/>
                    <a:gd name="connsiteY26" fmla="*/ 222 h 883264"/>
                    <a:gd name="connsiteX27" fmla="*/ 222158 w 477076"/>
                    <a:gd name="connsiteY27" fmla="*/ 3303 h 883264"/>
                    <a:gd name="connsiteX28" fmla="*/ 218787 w 477076"/>
                    <a:gd name="connsiteY28" fmla="*/ 7507 h 883264"/>
                    <a:gd name="connsiteX29" fmla="*/ 214913 w 477076"/>
                    <a:gd name="connsiteY29" fmla="*/ 12428 h 883264"/>
                    <a:gd name="connsiteX30" fmla="*/ 192013 w 477076"/>
                    <a:gd name="connsiteY30" fmla="*/ 19266 h 883264"/>
                    <a:gd name="connsiteX31" fmla="*/ 177778 w 477076"/>
                    <a:gd name="connsiteY31" fmla="*/ 12034 h 883264"/>
                    <a:gd name="connsiteX32" fmla="*/ 164083 w 477076"/>
                    <a:gd name="connsiteY32" fmla="*/ 40936 h 883264"/>
                    <a:gd name="connsiteX33" fmla="*/ 163069 w 477076"/>
                    <a:gd name="connsiteY33" fmla="*/ 49033 h 883264"/>
                    <a:gd name="connsiteX34" fmla="*/ 165605 w 477076"/>
                    <a:gd name="connsiteY34" fmla="*/ 53441 h 883264"/>
                    <a:gd name="connsiteX35" fmla="*/ 167309 w 477076"/>
                    <a:gd name="connsiteY35" fmla="*/ 55971 h 883264"/>
                    <a:gd name="connsiteX36" fmla="*/ 161643 w 477076"/>
                    <a:gd name="connsiteY36" fmla="*/ 101989 h 883264"/>
                    <a:gd name="connsiteX37" fmla="*/ 125121 w 477076"/>
                    <a:gd name="connsiteY37" fmla="*/ 127914 h 883264"/>
                    <a:gd name="connsiteX38" fmla="*/ 108083 w 477076"/>
                    <a:gd name="connsiteY38" fmla="*/ 134507 h 883264"/>
                    <a:gd name="connsiteX39" fmla="*/ 81612 w 477076"/>
                    <a:gd name="connsiteY39" fmla="*/ 127258 h 883264"/>
                    <a:gd name="connsiteX40" fmla="*/ 48232 w 477076"/>
                    <a:gd name="connsiteY40" fmla="*/ 119995 h 883264"/>
                    <a:gd name="connsiteX41" fmla="*/ 26242 w 477076"/>
                    <a:gd name="connsiteY41" fmla="*/ 96340 h 883264"/>
                    <a:gd name="connsiteX42" fmla="*/ 24633 w 477076"/>
                    <a:gd name="connsiteY42" fmla="*/ 94215 h 883264"/>
                    <a:gd name="connsiteX43" fmla="*/ 7084 w 477076"/>
                    <a:gd name="connsiteY43" fmla="*/ 81537 h 883264"/>
                    <a:gd name="connsiteX44" fmla="*/ 2140 w 477076"/>
                    <a:gd name="connsiteY44" fmla="*/ 83116 h 883264"/>
                    <a:gd name="connsiteX45" fmla="*/ 8017 w 477076"/>
                    <a:gd name="connsiteY45" fmla="*/ 105583 h 883264"/>
                    <a:gd name="connsiteX46" fmla="*/ 28722 w 477076"/>
                    <a:gd name="connsiteY46" fmla="*/ 127985 h 883264"/>
                    <a:gd name="connsiteX47" fmla="*/ 70372 w 477076"/>
                    <a:gd name="connsiteY47" fmla="*/ 158055 h 883264"/>
                    <a:gd name="connsiteX48" fmla="*/ 72222 w 477076"/>
                    <a:gd name="connsiteY48" fmla="*/ 159364 h 883264"/>
                    <a:gd name="connsiteX49" fmla="*/ 107874 w 477076"/>
                    <a:gd name="connsiteY49" fmla="*/ 222723 h 883264"/>
                    <a:gd name="connsiteX50" fmla="*/ 108916 w 477076"/>
                    <a:gd name="connsiteY50" fmla="*/ 226345 h 883264"/>
                    <a:gd name="connsiteX51" fmla="*/ 114300 w 477076"/>
                    <a:gd name="connsiteY51" fmla="*/ 240925 h 883264"/>
                    <a:gd name="connsiteX52" fmla="*/ 120291 w 477076"/>
                    <a:gd name="connsiteY52" fmla="*/ 249382 h 883264"/>
                    <a:gd name="connsiteX53" fmla="*/ 130870 w 477076"/>
                    <a:gd name="connsiteY53" fmla="*/ 272457 h 883264"/>
                    <a:gd name="connsiteX54" fmla="*/ 126725 w 477076"/>
                    <a:gd name="connsiteY54" fmla="*/ 288344 h 883264"/>
                    <a:gd name="connsiteX55" fmla="*/ 124755 w 477076"/>
                    <a:gd name="connsiteY55" fmla="*/ 302777 h 883264"/>
                    <a:gd name="connsiteX56" fmla="*/ 131592 w 477076"/>
                    <a:gd name="connsiteY56" fmla="*/ 307075 h 883264"/>
                    <a:gd name="connsiteX57" fmla="*/ 138570 w 477076"/>
                    <a:gd name="connsiteY57" fmla="*/ 310756 h 883264"/>
                    <a:gd name="connsiteX58" fmla="*/ 148175 w 477076"/>
                    <a:gd name="connsiteY58" fmla="*/ 348791 h 883264"/>
                    <a:gd name="connsiteX59" fmla="*/ 150098 w 477076"/>
                    <a:gd name="connsiteY59" fmla="*/ 376403 h 883264"/>
                    <a:gd name="connsiteX60" fmla="*/ 147365 w 477076"/>
                    <a:gd name="connsiteY60" fmla="*/ 377930 h 883264"/>
                    <a:gd name="connsiteX61" fmla="*/ 175385 w 477076"/>
                    <a:gd name="connsiteY61" fmla="*/ 395111 h 883264"/>
                    <a:gd name="connsiteX62" fmla="*/ 165062 w 477076"/>
                    <a:gd name="connsiteY62" fmla="*/ 458904 h 883264"/>
                    <a:gd name="connsiteX63" fmla="*/ 127785 w 477076"/>
                    <a:gd name="connsiteY63" fmla="*/ 501565 h 883264"/>
                    <a:gd name="connsiteX64" fmla="*/ 112609 w 477076"/>
                    <a:gd name="connsiteY64" fmla="*/ 517859 h 883264"/>
                    <a:gd name="connsiteX65" fmla="*/ 102488 w 477076"/>
                    <a:gd name="connsiteY65" fmla="*/ 547359 h 883264"/>
                    <a:gd name="connsiteX66" fmla="*/ 43150 w 477076"/>
                    <a:gd name="connsiteY66" fmla="*/ 603419 h 883264"/>
                    <a:gd name="connsiteX67" fmla="*/ 43163 w 477076"/>
                    <a:gd name="connsiteY67" fmla="*/ 740344 h 883264"/>
                    <a:gd name="connsiteX68" fmla="*/ 55491 w 477076"/>
                    <a:gd name="connsiteY68" fmla="*/ 809422 h 883264"/>
                    <a:gd name="connsiteX69" fmla="*/ 83775 w 477076"/>
                    <a:gd name="connsiteY69" fmla="*/ 821370 h 883264"/>
                    <a:gd name="connsiteX70" fmla="*/ 93982 w 477076"/>
                    <a:gd name="connsiteY70" fmla="*/ 846554 h 883264"/>
                    <a:gd name="connsiteX71" fmla="*/ 126671 w 477076"/>
                    <a:gd name="connsiteY71" fmla="*/ 870647 h 883264"/>
                    <a:gd name="connsiteX72" fmla="*/ 162782 w 477076"/>
                    <a:gd name="connsiteY72" fmla="*/ 878072 h 883264"/>
                    <a:gd name="connsiteX73" fmla="*/ 171508 w 477076"/>
                    <a:gd name="connsiteY73" fmla="*/ 857775 h 883264"/>
                    <a:gd name="connsiteX74" fmla="*/ 201870 w 477076"/>
                    <a:gd name="connsiteY74" fmla="*/ 846717 h 883264"/>
                    <a:gd name="connsiteX75" fmla="*/ 226163 w 477076"/>
                    <a:gd name="connsiteY75" fmla="*/ 833637 h 883264"/>
                    <a:gd name="connsiteX76" fmla="*/ 307798 w 477076"/>
                    <a:gd name="connsiteY76" fmla="*/ 809539 h 883264"/>
                    <a:gd name="connsiteX77" fmla="*/ 346923 w 477076"/>
                    <a:gd name="connsiteY77" fmla="*/ 791304 h 883264"/>
                    <a:gd name="connsiteX78" fmla="*/ 342131 w 477076"/>
                    <a:gd name="connsiteY78" fmla="*/ 788544 h 883264"/>
                    <a:gd name="connsiteX79" fmla="*/ 391426 w 477076"/>
                    <a:gd name="connsiteY79" fmla="*/ 702959 h 883264"/>
                    <a:gd name="connsiteX80" fmla="*/ 402779 w 477076"/>
                    <a:gd name="connsiteY80" fmla="*/ 690017 h 883264"/>
                    <a:gd name="connsiteX81" fmla="*/ 411225 w 477076"/>
                    <a:gd name="connsiteY81" fmla="*/ 686706 h 883264"/>
                    <a:gd name="connsiteX82" fmla="*/ 418843 w 477076"/>
                    <a:gd name="connsiteY82" fmla="*/ 683340 h 883264"/>
                    <a:gd name="connsiteX83" fmla="*/ 417292 w 477076"/>
                    <a:gd name="connsiteY83" fmla="*/ 680626 h 883264"/>
                    <a:gd name="connsiteX84" fmla="*/ 413945 w 477076"/>
                    <a:gd name="connsiteY84" fmla="*/ 674202 h 883264"/>
                    <a:gd name="connsiteX85" fmla="*/ 416934 w 477076"/>
                    <a:gd name="connsiteY85" fmla="*/ 661897 h 883264"/>
                    <a:gd name="connsiteX86" fmla="*/ 453954 w 477076"/>
                    <a:gd name="connsiteY86" fmla="*/ 604254 h 883264"/>
                    <a:gd name="connsiteX87" fmla="*/ 477068 w 477076"/>
                    <a:gd name="connsiteY87" fmla="*/ 584501 h 883264"/>
                    <a:gd name="connsiteX88" fmla="*/ 455800 w 477076"/>
                    <a:gd name="connsiteY88" fmla="*/ 562674 h 88326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  <a:cxn ang="0">
                      <a:pos x="connsiteX86" y="connsiteY86"/>
                    </a:cxn>
                    <a:cxn ang="0">
                      <a:pos x="connsiteX87" y="connsiteY87"/>
                    </a:cxn>
                    <a:cxn ang="0">
                      <a:pos x="connsiteX88" y="connsiteY88"/>
                    </a:cxn>
                  </a:cxnLst>
                  <a:rect l="l" t="t" r="r" b="b"/>
                  <a:pathLst>
                    <a:path w="477076" h="883264">
                      <a:moveTo>
                        <a:pt x="455800" y="562674"/>
                      </a:moveTo>
                      <a:lnTo>
                        <a:pt x="370234" y="521265"/>
                      </a:lnTo>
                      <a:lnTo>
                        <a:pt x="378969" y="494621"/>
                      </a:lnTo>
                      <a:lnTo>
                        <a:pt x="384955" y="499588"/>
                      </a:lnTo>
                      <a:cubicBezTo>
                        <a:pt x="388244" y="502315"/>
                        <a:pt x="393027" y="501427"/>
                        <a:pt x="396096" y="499836"/>
                      </a:cubicBezTo>
                      <a:cubicBezTo>
                        <a:pt x="399177" y="498235"/>
                        <a:pt x="402657" y="494857"/>
                        <a:pt x="402315" y="490591"/>
                      </a:cubicBezTo>
                      <a:cubicBezTo>
                        <a:pt x="401858" y="484687"/>
                        <a:pt x="396584" y="479463"/>
                        <a:pt x="391479" y="474407"/>
                      </a:cubicBezTo>
                      <a:lnTo>
                        <a:pt x="390705" y="473637"/>
                      </a:lnTo>
                      <a:cubicBezTo>
                        <a:pt x="370732" y="453793"/>
                        <a:pt x="355136" y="429289"/>
                        <a:pt x="345617" y="402773"/>
                      </a:cubicBezTo>
                      <a:cubicBezTo>
                        <a:pt x="342923" y="395243"/>
                        <a:pt x="340566" y="387094"/>
                        <a:pt x="341547" y="378508"/>
                      </a:cubicBezTo>
                      <a:cubicBezTo>
                        <a:pt x="342159" y="373068"/>
                        <a:pt x="344035" y="368172"/>
                        <a:pt x="345861" y="363437"/>
                      </a:cubicBezTo>
                      <a:cubicBezTo>
                        <a:pt x="347108" y="360190"/>
                        <a:pt x="348285" y="357125"/>
                        <a:pt x="349007" y="354032"/>
                      </a:cubicBezTo>
                      <a:cubicBezTo>
                        <a:pt x="351041" y="345343"/>
                        <a:pt x="349679" y="334958"/>
                        <a:pt x="344979" y="323156"/>
                      </a:cubicBezTo>
                      <a:cubicBezTo>
                        <a:pt x="337558" y="304557"/>
                        <a:pt x="324545" y="287859"/>
                        <a:pt x="308312" y="276128"/>
                      </a:cubicBezTo>
                      <a:lnTo>
                        <a:pt x="307169" y="275309"/>
                      </a:lnTo>
                      <a:cubicBezTo>
                        <a:pt x="304041" y="273073"/>
                        <a:pt x="300483" y="270539"/>
                        <a:pt x="297911" y="266835"/>
                      </a:cubicBezTo>
                      <a:cubicBezTo>
                        <a:pt x="295162" y="262898"/>
                        <a:pt x="294031" y="258342"/>
                        <a:pt x="293353" y="254810"/>
                      </a:cubicBezTo>
                      <a:cubicBezTo>
                        <a:pt x="290265" y="239004"/>
                        <a:pt x="292178" y="222186"/>
                        <a:pt x="298729" y="207472"/>
                      </a:cubicBezTo>
                      <a:lnTo>
                        <a:pt x="300429" y="203793"/>
                      </a:lnTo>
                      <a:cubicBezTo>
                        <a:pt x="302587" y="199241"/>
                        <a:pt x="304623" y="194943"/>
                        <a:pt x="304603" y="190739"/>
                      </a:cubicBezTo>
                      <a:cubicBezTo>
                        <a:pt x="304555" y="181799"/>
                        <a:pt x="295387" y="174394"/>
                        <a:pt x="287293" y="167861"/>
                      </a:cubicBezTo>
                      <a:cubicBezTo>
                        <a:pt x="260039" y="145865"/>
                        <a:pt x="245528" y="122641"/>
                        <a:pt x="244160" y="98814"/>
                      </a:cubicBezTo>
                      <a:cubicBezTo>
                        <a:pt x="243166" y="81544"/>
                        <a:pt x="249607" y="63599"/>
                        <a:pt x="261551" y="49095"/>
                      </a:cubicBezTo>
                      <a:cubicBezTo>
                        <a:pt x="261699" y="41500"/>
                        <a:pt x="261844" y="32931"/>
                        <a:pt x="258254" y="26350"/>
                      </a:cubicBezTo>
                      <a:cubicBezTo>
                        <a:pt x="255411" y="21152"/>
                        <a:pt x="248328" y="17141"/>
                        <a:pt x="243474" y="19687"/>
                      </a:cubicBezTo>
                      <a:lnTo>
                        <a:pt x="237047" y="23096"/>
                      </a:lnTo>
                      <a:lnTo>
                        <a:pt x="233038" y="222"/>
                      </a:lnTo>
                      <a:cubicBezTo>
                        <a:pt x="229163" y="-520"/>
                        <a:pt x="224931" y="619"/>
                        <a:pt x="222158" y="3303"/>
                      </a:cubicBezTo>
                      <a:cubicBezTo>
                        <a:pt x="220866" y="4550"/>
                        <a:pt x="219842" y="6037"/>
                        <a:pt x="218787" y="7507"/>
                      </a:cubicBezTo>
                      <a:cubicBezTo>
                        <a:pt x="217569" y="9213"/>
                        <a:pt x="216341" y="10908"/>
                        <a:pt x="214913" y="12428"/>
                      </a:cubicBezTo>
                      <a:cubicBezTo>
                        <a:pt x="209384" y="18294"/>
                        <a:pt x="200816" y="20844"/>
                        <a:pt x="192013" y="19266"/>
                      </a:cubicBezTo>
                      <a:cubicBezTo>
                        <a:pt x="186380" y="18254"/>
                        <a:pt x="181438" y="15694"/>
                        <a:pt x="177778" y="12034"/>
                      </a:cubicBezTo>
                      <a:cubicBezTo>
                        <a:pt x="171919" y="20994"/>
                        <a:pt x="167316" y="30689"/>
                        <a:pt x="164083" y="40936"/>
                      </a:cubicBezTo>
                      <a:cubicBezTo>
                        <a:pt x="163173" y="43828"/>
                        <a:pt x="162421" y="46814"/>
                        <a:pt x="163069" y="49033"/>
                      </a:cubicBezTo>
                      <a:cubicBezTo>
                        <a:pt x="163472" y="50384"/>
                        <a:pt x="164507" y="51871"/>
                        <a:pt x="165605" y="53441"/>
                      </a:cubicBezTo>
                      <a:cubicBezTo>
                        <a:pt x="166190" y="54280"/>
                        <a:pt x="166775" y="55114"/>
                        <a:pt x="167309" y="55971"/>
                      </a:cubicBezTo>
                      <a:cubicBezTo>
                        <a:pt x="176784" y="71110"/>
                        <a:pt x="171012" y="90438"/>
                        <a:pt x="161643" y="101989"/>
                      </a:cubicBezTo>
                      <a:cubicBezTo>
                        <a:pt x="151795" y="114149"/>
                        <a:pt x="137629" y="121459"/>
                        <a:pt x="125121" y="127914"/>
                      </a:cubicBezTo>
                      <a:cubicBezTo>
                        <a:pt x="120115" y="130496"/>
                        <a:pt x="114437" y="133424"/>
                        <a:pt x="108083" y="134507"/>
                      </a:cubicBezTo>
                      <a:cubicBezTo>
                        <a:pt x="98695" y="136103"/>
                        <a:pt x="88858" y="133353"/>
                        <a:pt x="81612" y="127258"/>
                      </a:cubicBezTo>
                      <a:cubicBezTo>
                        <a:pt x="71230" y="130170"/>
                        <a:pt x="58747" y="127538"/>
                        <a:pt x="48232" y="119995"/>
                      </a:cubicBezTo>
                      <a:cubicBezTo>
                        <a:pt x="39216" y="113537"/>
                        <a:pt x="32625" y="104793"/>
                        <a:pt x="26242" y="96340"/>
                      </a:cubicBezTo>
                      <a:lnTo>
                        <a:pt x="24633" y="94215"/>
                      </a:lnTo>
                      <a:cubicBezTo>
                        <a:pt x="19336" y="87233"/>
                        <a:pt x="12119" y="82022"/>
                        <a:pt x="7084" y="81537"/>
                      </a:cubicBezTo>
                      <a:cubicBezTo>
                        <a:pt x="5111" y="81344"/>
                        <a:pt x="3552" y="81852"/>
                        <a:pt x="2140" y="83116"/>
                      </a:cubicBezTo>
                      <a:cubicBezTo>
                        <a:pt x="-3283" y="87976"/>
                        <a:pt x="2686" y="99216"/>
                        <a:pt x="8017" y="105583"/>
                      </a:cubicBezTo>
                      <a:cubicBezTo>
                        <a:pt x="14524" y="113348"/>
                        <a:pt x="21491" y="120888"/>
                        <a:pt x="28722" y="127985"/>
                      </a:cubicBezTo>
                      <a:cubicBezTo>
                        <a:pt x="44040" y="143043"/>
                        <a:pt x="56883" y="152318"/>
                        <a:pt x="70372" y="158055"/>
                      </a:cubicBezTo>
                      <a:lnTo>
                        <a:pt x="72222" y="159364"/>
                      </a:lnTo>
                      <a:cubicBezTo>
                        <a:pt x="88617" y="177429"/>
                        <a:pt x="100945" y="199336"/>
                        <a:pt x="107874" y="222723"/>
                      </a:cubicBezTo>
                      <a:lnTo>
                        <a:pt x="108916" y="226345"/>
                      </a:lnTo>
                      <a:cubicBezTo>
                        <a:pt x="110424" y="231614"/>
                        <a:pt x="111836" y="236594"/>
                        <a:pt x="114300" y="240925"/>
                      </a:cubicBezTo>
                      <a:cubicBezTo>
                        <a:pt x="115904" y="243747"/>
                        <a:pt x="118036" y="246487"/>
                        <a:pt x="120291" y="249382"/>
                      </a:cubicBezTo>
                      <a:cubicBezTo>
                        <a:pt x="125283" y="255800"/>
                        <a:pt x="130942" y="263068"/>
                        <a:pt x="130870" y="272457"/>
                      </a:cubicBezTo>
                      <a:cubicBezTo>
                        <a:pt x="130818" y="278093"/>
                        <a:pt x="128644" y="283535"/>
                        <a:pt x="126725" y="288344"/>
                      </a:cubicBezTo>
                      <a:cubicBezTo>
                        <a:pt x="123995" y="295195"/>
                        <a:pt x="122434" y="299556"/>
                        <a:pt x="124755" y="302777"/>
                      </a:cubicBezTo>
                      <a:cubicBezTo>
                        <a:pt x="126072" y="304609"/>
                        <a:pt x="128636" y="305753"/>
                        <a:pt x="131592" y="307075"/>
                      </a:cubicBezTo>
                      <a:cubicBezTo>
                        <a:pt x="133906" y="308102"/>
                        <a:pt x="136295" y="309170"/>
                        <a:pt x="138570" y="310756"/>
                      </a:cubicBezTo>
                      <a:cubicBezTo>
                        <a:pt x="151297" y="319648"/>
                        <a:pt x="149634" y="335135"/>
                        <a:pt x="148175" y="348791"/>
                      </a:cubicBezTo>
                      <a:cubicBezTo>
                        <a:pt x="147101" y="358765"/>
                        <a:pt x="145998" y="369080"/>
                        <a:pt x="150098" y="376403"/>
                      </a:cubicBezTo>
                      <a:lnTo>
                        <a:pt x="147365" y="377930"/>
                      </a:lnTo>
                      <a:cubicBezTo>
                        <a:pt x="158245" y="381367"/>
                        <a:pt x="168839" y="386031"/>
                        <a:pt x="175385" y="395111"/>
                      </a:cubicBezTo>
                      <a:cubicBezTo>
                        <a:pt x="188859" y="413794"/>
                        <a:pt x="178287" y="440042"/>
                        <a:pt x="165062" y="458904"/>
                      </a:cubicBezTo>
                      <a:cubicBezTo>
                        <a:pt x="154202" y="474395"/>
                        <a:pt x="141681" y="488724"/>
                        <a:pt x="127785" y="501565"/>
                      </a:cubicBezTo>
                      <a:cubicBezTo>
                        <a:pt x="122315" y="506620"/>
                        <a:pt x="116550" y="511540"/>
                        <a:pt x="112609" y="517859"/>
                      </a:cubicBezTo>
                      <a:cubicBezTo>
                        <a:pt x="107086" y="526712"/>
                        <a:pt x="105668" y="537421"/>
                        <a:pt x="102488" y="547359"/>
                      </a:cubicBezTo>
                      <a:cubicBezTo>
                        <a:pt x="93833" y="574406"/>
                        <a:pt x="70646" y="596314"/>
                        <a:pt x="43150" y="603419"/>
                      </a:cubicBezTo>
                      <a:cubicBezTo>
                        <a:pt x="50731" y="648641"/>
                        <a:pt x="50737" y="695122"/>
                        <a:pt x="43163" y="740344"/>
                      </a:cubicBezTo>
                      <a:cubicBezTo>
                        <a:pt x="39068" y="764805"/>
                        <a:pt x="35087" y="795323"/>
                        <a:pt x="55491" y="809422"/>
                      </a:cubicBezTo>
                      <a:cubicBezTo>
                        <a:pt x="63935" y="815254"/>
                        <a:pt x="74749" y="816489"/>
                        <a:pt x="83775" y="821370"/>
                      </a:cubicBezTo>
                      <a:cubicBezTo>
                        <a:pt x="92803" y="826253"/>
                        <a:pt x="99954" y="838207"/>
                        <a:pt x="93982" y="846554"/>
                      </a:cubicBezTo>
                      <a:cubicBezTo>
                        <a:pt x="107984" y="846565"/>
                        <a:pt x="117305" y="860238"/>
                        <a:pt x="126671" y="870647"/>
                      </a:cubicBezTo>
                      <a:cubicBezTo>
                        <a:pt x="136038" y="881056"/>
                        <a:pt x="153877" y="888879"/>
                        <a:pt x="162782" y="878072"/>
                      </a:cubicBezTo>
                      <a:cubicBezTo>
                        <a:pt x="167496" y="872352"/>
                        <a:pt x="167120" y="863750"/>
                        <a:pt x="171508" y="857775"/>
                      </a:cubicBezTo>
                      <a:cubicBezTo>
                        <a:pt x="178045" y="848877"/>
                        <a:pt x="191254" y="849747"/>
                        <a:pt x="201870" y="846717"/>
                      </a:cubicBezTo>
                      <a:cubicBezTo>
                        <a:pt x="210749" y="844183"/>
                        <a:pt x="218332" y="838527"/>
                        <a:pt x="226163" y="833637"/>
                      </a:cubicBezTo>
                      <a:cubicBezTo>
                        <a:pt x="250525" y="818424"/>
                        <a:pt x="279077" y="809997"/>
                        <a:pt x="307798" y="809539"/>
                      </a:cubicBezTo>
                      <a:cubicBezTo>
                        <a:pt x="310469" y="793183"/>
                        <a:pt x="328985" y="789459"/>
                        <a:pt x="346923" y="791304"/>
                      </a:cubicBezTo>
                      <a:lnTo>
                        <a:pt x="342131" y="788544"/>
                      </a:lnTo>
                      <a:lnTo>
                        <a:pt x="391426" y="702959"/>
                      </a:lnTo>
                      <a:cubicBezTo>
                        <a:pt x="393815" y="698808"/>
                        <a:pt x="397082" y="693121"/>
                        <a:pt x="402779" y="690017"/>
                      </a:cubicBezTo>
                      <a:cubicBezTo>
                        <a:pt x="405394" y="688586"/>
                        <a:pt x="408357" y="687633"/>
                        <a:pt x="411225" y="686706"/>
                      </a:cubicBezTo>
                      <a:cubicBezTo>
                        <a:pt x="413668" y="685916"/>
                        <a:pt x="418220" y="684446"/>
                        <a:pt x="418843" y="683340"/>
                      </a:cubicBezTo>
                      <a:cubicBezTo>
                        <a:pt x="418713" y="682555"/>
                        <a:pt x="417961" y="681531"/>
                        <a:pt x="417292" y="680626"/>
                      </a:cubicBezTo>
                      <a:cubicBezTo>
                        <a:pt x="416070" y="678986"/>
                        <a:pt x="414565" y="676943"/>
                        <a:pt x="413945" y="674202"/>
                      </a:cubicBezTo>
                      <a:cubicBezTo>
                        <a:pt x="412789" y="669065"/>
                        <a:pt x="415383" y="664578"/>
                        <a:pt x="416934" y="661897"/>
                      </a:cubicBezTo>
                      <a:cubicBezTo>
                        <a:pt x="428157" y="642472"/>
                        <a:pt x="439775" y="622388"/>
                        <a:pt x="453954" y="604254"/>
                      </a:cubicBezTo>
                      <a:cubicBezTo>
                        <a:pt x="459927" y="596608"/>
                        <a:pt x="467292" y="588442"/>
                        <a:pt x="477068" y="584501"/>
                      </a:cubicBezTo>
                      <a:cubicBezTo>
                        <a:pt x="477502" y="574062"/>
                        <a:pt x="461158" y="565265"/>
                        <a:pt x="455800" y="562674"/>
                      </a:cubicBezTo>
                      <a:close/>
                    </a:path>
                  </a:pathLst>
                </a:custGeom>
                <a:grpFill/>
                <a:ln w="164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s-ES_tradnl" sz="2400"/>
                </a:p>
              </p:txBody>
            </p:sp>
            <p:grpSp>
              <p:nvGrpSpPr>
                <p:cNvPr id="203" name="Gráfico 16">
                  <a:extLst>
                    <a:ext uri="{FF2B5EF4-FFF2-40B4-BE49-F238E27FC236}">
                      <a16:creationId xmlns:a16="http://schemas.microsoft.com/office/drawing/2014/main" id="{FCC1FEE4-8DE7-7448-8A2F-DEE956E5BDBD}"/>
                    </a:ext>
                  </a:extLst>
                </p:cNvPr>
                <p:cNvGrpSpPr/>
                <p:nvPr/>
              </p:nvGrpSpPr>
              <p:grpSpPr>
                <a:xfrm>
                  <a:off x="6113793" y="2112049"/>
                  <a:ext cx="363475" cy="333736"/>
                  <a:chOff x="6113793" y="2112049"/>
                  <a:chExt cx="363475" cy="333736"/>
                </a:xfrm>
                <a:grpFill/>
              </p:grpSpPr>
              <p:sp>
                <p:nvSpPr>
                  <p:cNvPr id="231" name="Forma libre 230">
                    <a:extLst>
                      <a:ext uri="{FF2B5EF4-FFF2-40B4-BE49-F238E27FC236}">
                        <a16:creationId xmlns:a16="http://schemas.microsoft.com/office/drawing/2014/main" id="{472449C3-D885-4340-B6E7-F5E3D3138D02}"/>
                      </a:ext>
                    </a:extLst>
                  </p:cNvPr>
                  <p:cNvSpPr/>
                  <p:nvPr/>
                </p:nvSpPr>
                <p:spPr>
                  <a:xfrm>
                    <a:off x="6113793" y="2265136"/>
                    <a:ext cx="363475" cy="180649"/>
                  </a:xfrm>
                  <a:custGeom>
                    <a:avLst/>
                    <a:gdLst>
                      <a:gd name="connsiteX0" fmla="*/ 358906 w 363475"/>
                      <a:gd name="connsiteY0" fmla="*/ 118688 h 180649"/>
                      <a:gd name="connsiteX1" fmla="*/ 357889 w 363475"/>
                      <a:gd name="connsiteY1" fmla="*/ 96231 h 180649"/>
                      <a:gd name="connsiteX2" fmla="*/ 354995 w 363475"/>
                      <a:gd name="connsiteY2" fmla="*/ 77263 h 180649"/>
                      <a:gd name="connsiteX3" fmla="*/ 352969 w 363475"/>
                      <a:gd name="connsiteY3" fmla="*/ 75955 h 180649"/>
                      <a:gd name="connsiteX4" fmla="*/ 346179 w 363475"/>
                      <a:gd name="connsiteY4" fmla="*/ 69495 h 180649"/>
                      <a:gd name="connsiteX5" fmla="*/ 346842 w 363475"/>
                      <a:gd name="connsiteY5" fmla="*/ 56090 h 180649"/>
                      <a:gd name="connsiteX6" fmla="*/ 336607 w 363475"/>
                      <a:gd name="connsiteY6" fmla="*/ 17061 h 180649"/>
                      <a:gd name="connsiteX7" fmla="*/ 336034 w 363475"/>
                      <a:gd name="connsiteY7" fmla="*/ 18811 h 180649"/>
                      <a:gd name="connsiteX8" fmla="*/ 292058 w 363475"/>
                      <a:gd name="connsiteY8" fmla="*/ 13752 h 180649"/>
                      <a:gd name="connsiteX9" fmla="*/ 280637 w 363475"/>
                      <a:gd name="connsiteY9" fmla="*/ 19075 h 180649"/>
                      <a:gd name="connsiteX10" fmla="*/ 270363 w 363475"/>
                      <a:gd name="connsiteY10" fmla="*/ 24090 h 180649"/>
                      <a:gd name="connsiteX11" fmla="*/ 257165 w 363475"/>
                      <a:gd name="connsiteY11" fmla="*/ 26837 h 180649"/>
                      <a:gd name="connsiteX12" fmla="*/ 241819 w 363475"/>
                      <a:gd name="connsiteY12" fmla="*/ 21723 h 180649"/>
                      <a:gd name="connsiteX13" fmla="*/ 233990 w 363475"/>
                      <a:gd name="connsiteY13" fmla="*/ 10663 h 180649"/>
                      <a:gd name="connsiteX14" fmla="*/ 228718 w 363475"/>
                      <a:gd name="connsiteY14" fmla="*/ 2801 h 180649"/>
                      <a:gd name="connsiteX15" fmla="*/ 213373 w 363475"/>
                      <a:gd name="connsiteY15" fmla="*/ 567 h 180649"/>
                      <a:gd name="connsiteX16" fmla="*/ 206640 w 363475"/>
                      <a:gd name="connsiteY16" fmla="*/ 2123 h 180649"/>
                      <a:gd name="connsiteX17" fmla="*/ 192251 w 363475"/>
                      <a:gd name="connsiteY17" fmla="*/ 4609 h 180649"/>
                      <a:gd name="connsiteX18" fmla="*/ 181310 w 363475"/>
                      <a:gd name="connsiteY18" fmla="*/ 3506 h 180649"/>
                      <a:gd name="connsiteX19" fmla="*/ 159153 w 363475"/>
                      <a:gd name="connsiteY19" fmla="*/ 89488 h 180649"/>
                      <a:gd name="connsiteX20" fmla="*/ 111875 w 363475"/>
                      <a:gd name="connsiteY20" fmla="*/ 49437 h 180649"/>
                      <a:gd name="connsiteX21" fmla="*/ 60423 w 363475"/>
                      <a:gd name="connsiteY21" fmla="*/ 18175 h 180649"/>
                      <a:gd name="connsiteX22" fmla="*/ 17552 w 363475"/>
                      <a:gd name="connsiteY22" fmla="*/ 93547 h 180649"/>
                      <a:gd name="connsiteX23" fmla="*/ 2438 w 363475"/>
                      <a:gd name="connsiteY23" fmla="*/ 117575 h 180649"/>
                      <a:gd name="connsiteX24" fmla="*/ 0 w 363475"/>
                      <a:gd name="connsiteY24" fmla="*/ 130834 h 180649"/>
                      <a:gd name="connsiteX25" fmla="*/ 142 w 363475"/>
                      <a:gd name="connsiteY25" fmla="*/ 130668 h 180649"/>
                      <a:gd name="connsiteX26" fmla="*/ 18444 w 363475"/>
                      <a:gd name="connsiteY26" fmla="*/ 125653 h 180649"/>
                      <a:gd name="connsiteX27" fmla="*/ 48383 w 363475"/>
                      <a:gd name="connsiteY27" fmla="*/ 115702 h 180649"/>
                      <a:gd name="connsiteX28" fmla="*/ 55720 w 363475"/>
                      <a:gd name="connsiteY28" fmla="*/ 120285 h 180649"/>
                      <a:gd name="connsiteX29" fmla="*/ 59869 w 363475"/>
                      <a:gd name="connsiteY29" fmla="*/ 123126 h 180649"/>
                      <a:gd name="connsiteX30" fmla="*/ 82161 w 363475"/>
                      <a:gd name="connsiteY30" fmla="*/ 116597 h 180649"/>
                      <a:gd name="connsiteX31" fmla="*/ 90120 w 363475"/>
                      <a:gd name="connsiteY31" fmla="*/ 112023 h 180649"/>
                      <a:gd name="connsiteX32" fmla="*/ 151605 w 363475"/>
                      <a:gd name="connsiteY32" fmla="*/ 108572 h 180649"/>
                      <a:gd name="connsiteX33" fmla="*/ 242036 w 363475"/>
                      <a:gd name="connsiteY33" fmla="*/ 146334 h 180649"/>
                      <a:gd name="connsiteX34" fmla="*/ 242892 w 363475"/>
                      <a:gd name="connsiteY34" fmla="*/ 147326 h 180649"/>
                      <a:gd name="connsiteX35" fmla="*/ 249077 w 363475"/>
                      <a:gd name="connsiteY35" fmla="*/ 152607 h 180649"/>
                      <a:gd name="connsiteX36" fmla="*/ 253647 w 363475"/>
                      <a:gd name="connsiteY36" fmla="*/ 152531 h 180649"/>
                      <a:gd name="connsiteX37" fmla="*/ 259374 w 363475"/>
                      <a:gd name="connsiteY37" fmla="*/ 152287 h 180649"/>
                      <a:gd name="connsiteX38" fmla="*/ 279714 w 363475"/>
                      <a:gd name="connsiteY38" fmla="*/ 168125 h 180649"/>
                      <a:gd name="connsiteX39" fmla="*/ 290713 w 363475"/>
                      <a:gd name="connsiteY39" fmla="*/ 179726 h 180649"/>
                      <a:gd name="connsiteX40" fmla="*/ 310227 w 363475"/>
                      <a:gd name="connsiteY40" fmla="*/ 176394 h 180649"/>
                      <a:gd name="connsiteX41" fmla="*/ 326995 w 363475"/>
                      <a:gd name="connsiteY41" fmla="*/ 171257 h 180649"/>
                      <a:gd name="connsiteX42" fmla="*/ 335683 w 363475"/>
                      <a:gd name="connsiteY42" fmla="*/ 171113 h 180649"/>
                      <a:gd name="connsiteX43" fmla="*/ 347691 w 363475"/>
                      <a:gd name="connsiteY43" fmla="*/ 169442 h 180649"/>
                      <a:gd name="connsiteX44" fmla="*/ 352971 w 363475"/>
                      <a:gd name="connsiteY44" fmla="*/ 151095 h 180649"/>
                      <a:gd name="connsiteX45" fmla="*/ 353317 w 363475"/>
                      <a:gd name="connsiteY45" fmla="*/ 144684 h 180649"/>
                      <a:gd name="connsiteX46" fmla="*/ 363476 w 363475"/>
                      <a:gd name="connsiteY46" fmla="*/ 126274 h 180649"/>
                      <a:gd name="connsiteX47" fmla="*/ 358906 w 363475"/>
                      <a:gd name="connsiteY47" fmla="*/ 118688 h 1806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  <a:cxn ang="0">
                        <a:pos x="connsiteX25" y="connsiteY25"/>
                      </a:cxn>
                      <a:cxn ang="0">
                        <a:pos x="connsiteX26" y="connsiteY26"/>
                      </a:cxn>
                      <a:cxn ang="0">
                        <a:pos x="connsiteX27" y="connsiteY27"/>
                      </a:cxn>
                      <a:cxn ang="0">
                        <a:pos x="connsiteX28" y="connsiteY28"/>
                      </a:cxn>
                      <a:cxn ang="0">
                        <a:pos x="connsiteX29" y="connsiteY29"/>
                      </a:cxn>
                      <a:cxn ang="0">
                        <a:pos x="connsiteX30" y="connsiteY30"/>
                      </a:cxn>
                      <a:cxn ang="0">
                        <a:pos x="connsiteX31" y="connsiteY31"/>
                      </a:cxn>
                      <a:cxn ang="0">
                        <a:pos x="connsiteX32" y="connsiteY32"/>
                      </a:cxn>
                      <a:cxn ang="0">
                        <a:pos x="connsiteX33" y="connsiteY33"/>
                      </a:cxn>
                      <a:cxn ang="0">
                        <a:pos x="connsiteX34" y="connsiteY34"/>
                      </a:cxn>
                      <a:cxn ang="0">
                        <a:pos x="connsiteX35" y="connsiteY35"/>
                      </a:cxn>
                      <a:cxn ang="0">
                        <a:pos x="connsiteX36" y="connsiteY36"/>
                      </a:cxn>
                      <a:cxn ang="0">
                        <a:pos x="connsiteX37" y="connsiteY37"/>
                      </a:cxn>
                      <a:cxn ang="0">
                        <a:pos x="connsiteX38" y="connsiteY38"/>
                      </a:cxn>
                      <a:cxn ang="0">
                        <a:pos x="connsiteX39" y="connsiteY39"/>
                      </a:cxn>
                      <a:cxn ang="0">
                        <a:pos x="connsiteX40" y="connsiteY40"/>
                      </a:cxn>
                      <a:cxn ang="0">
                        <a:pos x="connsiteX41" y="connsiteY41"/>
                      </a:cxn>
                      <a:cxn ang="0">
                        <a:pos x="connsiteX42" y="connsiteY42"/>
                      </a:cxn>
                      <a:cxn ang="0">
                        <a:pos x="connsiteX43" y="connsiteY43"/>
                      </a:cxn>
                      <a:cxn ang="0">
                        <a:pos x="connsiteX44" y="connsiteY44"/>
                      </a:cxn>
                      <a:cxn ang="0">
                        <a:pos x="connsiteX45" y="connsiteY45"/>
                      </a:cxn>
                      <a:cxn ang="0">
                        <a:pos x="connsiteX46" y="connsiteY46"/>
                      </a:cxn>
                      <a:cxn ang="0">
                        <a:pos x="connsiteX47" y="connsiteY47"/>
                      </a:cxn>
                    </a:cxnLst>
                    <a:rect l="l" t="t" r="r" b="b"/>
                    <a:pathLst>
                      <a:path w="363475" h="180649">
                        <a:moveTo>
                          <a:pt x="358906" y="118688"/>
                        </a:moveTo>
                        <a:cubicBezTo>
                          <a:pt x="356163" y="111454"/>
                          <a:pt x="357074" y="103364"/>
                          <a:pt x="357889" y="96231"/>
                        </a:cubicBezTo>
                        <a:cubicBezTo>
                          <a:pt x="358965" y="86661"/>
                          <a:pt x="359407" y="80627"/>
                          <a:pt x="354995" y="77263"/>
                        </a:cubicBezTo>
                        <a:cubicBezTo>
                          <a:pt x="354361" y="76781"/>
                          <a:pt x="353665" y="76373"/>
                          <a:pt x="352969" y="75955"/>
                        </a:cubicBezTo>
                        <a:cubicBezTo>
                          <a:pt x="350684" y="74571"/>
                          <a:pt x="347828" y="72850"/>
                          <a:pt x="346179" y="69495"/>
                        </a:cubicBezTo>
                        <a:cubicBezTo>
                          <a:pt x="343774" y="64610"/>
                          <a:pt x="345546" y="59684"/>
                          <a:pt x="346842" y="56090"/>
                        </a:cubicBezTo>
                        <a:cubicBezTo>
                          <a:pt x="351672" y="42478"/>
                          <a:pt x="347972" y="24787"/>
                          <a:pt x="336607" y="17061"/>
                        </a:cubicBezTo>
                        <a:lnTo>
                          <a:pt x="336034" y="18811"/>
                        </a:lnTo>
                        <a:cubicBezTo>
                          <a:pt x="319795" y="13482"/>
                          <a:pt x="305295" y="9428"/>
                          <a:pt x="292058" y="13752"/>
                        </a:cubicBezTo>
                        <a:cubicBezTo>
                          <a:pt x="288211" y="15007"/>
                          <a:pt x="284533" y="16983"/>
                          <a:pt x="280637" y="19075"/>
                        </a:cubicBezTo>
                        <a:cubicBezTo>
                          <a:pt x="277269" y="20880"/>
                          <a:pt x="273900" y="22679"/>
                          <a:pt x="270363" y="24090"/>
                        </a:cubicBezTo>
                        <a:cubicBezTo>
                          <a:pt x="265836" y="25899"/>
                          <a:pt x="261344" y="26805"/>
                          <a:pt x="257165" y="26837"/>
                        </a:cubicBezTo>
                        <a:cubicBezTo>
                          <a:pt x="251219" y="26881"/>
                          <a:pt x="245869" y="25157"/>
                          <a:pt x="241819" y="21723"/>
                        </a:cubicBezTo>
                        <a:cubicBezTo>
                          <a:pt x="238081" y="18556"/>
                          <a:pt x="235910" y="14362"/>
                          <a:pt x="233990" y="10663"/>
                        </a:cubicBezTo>
                        <a:cubicBezTo>
                          <a:pt x="232384" y="7557"/>
                          <a:pt x="230862" y="4621"/>
                          <a:pt x="228718" y="2801"/>
                        </a:cubicBezTo>
                        <a:cubicBezTo>
                          <a:pt x="224428" y="-829"/>
                          <a:pt x="217278" y="-145"/>
                          <a:pt x="213373" y="567"/>
                        </a:cubicBezTo>
                        <a:cubicBezTo>
                          <a:pt x="211121" y="987"/>
                          <a:pt x="208879" y="1558"/>
                          <a:pt x="206640" y="2123"/>
                        </a:cubicBezTo>
                        <a:cubicBezTo>
                          <a:pt x="202067" y="3280"/>
                          <a:pt x="197331" y="4474"/>
                          <a:pt x="192251" y="4609"/>
                        </a:cubicBezTo>
                        <a:cubicBezTo>
                          <a:pt x="188430" y="4706"/>
                          <a:pt x="184834" y="4153"/>
                          <a:pt x="181310" y="3506"/>
                        </a:cubicBezTo>
                        <a:cubicBezTo>
                          <a:pt x="180718" y="33378"/>
                          <a:pt x="173202" y="63113"/>
                          <a:pt x="159153" y="89488"/>
                        </a:cubicBezTo>
                        <a:cubicBezTo>
                          <a:pt x="137757" y="88016"/>
                          <a:pt x="123886" y="67205"/>
                          <a:pt x="111875" y="49437"/>
                        </a:cubicBezTo>
                        <a:cubicBezTo>
                          <a:pt x="99865" y="31670"/>
                          <a:pt x="81206" y="12883"/>
                          <a:pt x="60423" y="18175"/>
                        </a:cubicBezTo>
                        <a:cubicBezTo>
                          <a:pt x="31205" y="25613"/>
                          <a:pt x="32912" y="67602"/>
                          <a:pt x="17552" y="93547"/>
                        </a:cubicBezTo>
                        <a:cubicBezTo>
                          <a:pt x="12720" y="101712"/>
                          <a:pt x="5745" y="108683"/>
                          <a:pt x="2438" y="117575"/>
                        </a:cubicBezTo>
                        <a:cubicBezTo>
                          <a:pt x="864" y="121810"/>
                          <a:pt x="229" y="126306"/>
                          <a:pt x="0" y="130834"/>
                        </a:cubicBezTo>
                        <a:lnTo>
                          <a:pt x="142" y="130668"/>
                        </a:lnTo>
                        <a:cubicBezTo>
                          <a:pt x="4431" y="134260"/>
                          <a:pt x="12695" y="130231"/>
                          <a:pt x="18444" y="125653"/>
                        </a:cubicBezTo>
                        <a:cubicBezTo>
                          <a:pt x="25711" y="119870"/>
                          <a:pt x="36735" y="111160"/>
                          <a:pt x="48383" y="115702"/>
                        </a:cubicBezTo>
                        <a:cubicBezTo>
                          <a:pt x="51329" y="116853"/>
                          <a:pt x="53661" y="118678"/>
                          <a:pt x="55720" y="120285"/>
                        </a:cubicBezTo>
                        <a:cubicBezTo>
                          <a:pt x="57165" y="121413"/>
                          <a:pt x="58529" y="122478"/>
                          <a:pt x="59869" y="123126"/>
                        </a:cubicBezTo>
                        <a:cubicBezTo>
                          <a:pt x="66242" y="126195"/>
                          <a:pt x="73976" y="121530"/>
                          <a:pt x="82161" y="116597"/>
                        </a:cubicBezTo>
                        <a:cubicBezTo>
                          <a:pt x="84836" y="114974"/>
                          <a:pt x="87504" y="113371"/>
                          <a:pt x="90120" y="112023"/>
                        </a:cubicBezTo>
                        <a:cubicBezTo>
                          <a:pt x="109944" y="101800"/>
                          <a:pt x="134021" y="105709"/>
                          <a:pt x="151605" y="108572"/>
                        </a:cubicBezTo>
                        <a:cubicBezTo>
                          <a:pt x="186938" y="114316"/>
                          <a:pt x="220432" y="121528"/>
                          <a:pt x="242036" y="146334"/>
                        </a:cubicBezTo>
                        <a:lnTo>
                          <a:pt x="242892" y="147326"/>
                        </a:lnTo>
                        <a:cubicBezTo>
                          <a:pt x="245000" y="149778"/>
                          <a:pt x="246982" y="152084"/>
                          <a:pt x="249077" y="152607"/>
                        </a:cubicBezTo>
                        <a:cubicBezTo>
                          <a:pt x="250258" y="152903"/>
                          <a:pt x="251829" y="152725"/>
                          <a:pt x="253647" y="152531"/>
                        </a:cubicBezTo>
                        <a:cubicBezTo>
                          <a:pt x="255569" y="152310"/>
                          <a:pt x="257491" y="152135"/>
                          <a:pt x="259374" y="152287"/>
                        </a:cubicBezTo>
                        <a:cubicBezTo>
                          <a:pt x="269404" y="153070"/>
                          <a:pt x="274884" y="161070"/>
                          <a:pt x="279714" y="168125"/>
                        </a:cubicBezTo>
                        <a:cubicBezTo>
                          <a:pt x="283145" y="173136"/>
                          <a:pt x="286386" y="177874"/>
                          <a:pt x="290713" y="179726"/>
                        </a:cubicBezTo>
                        <a:cubicBezTo>
                          <a:pt x="296297" y="182109"/>
                          <a:pt x="302761" y="179480"/>
                          <a:pt x="310227" y="176394"/>
                        </a:cubicBezTo>
                        <a:cubicBezTo>
                          <a:pt x="315549" y="174191"/>
                          <a:pt x="321063" y="171911"/>
                          <a:pt x="326995" y="171257"/>
                        </a:cubicBezTo>
                        <a:cubicBezTo>
                          <a:pt x="329807" y="170950"/>
                          <a:pt x="332755" y="171021"/>
                          <a:pt x="335683" y="171113"/>
                        </a:cubicBezTo>
                        <a:cubicBezTo>
                          <a:pt x="340556" y="171263"/>
                          <a:pt x="344725" y="171397"/>
                          <a:pt x="347691" y="169442"/>
                        </a:cubicBezTo>
                        <a:cubicBezTo>
                          <a:pt x="352394" y="166329"/>
                          <a:pt x="352679" y="158927"/>
                          <a:pt x="352971" y="151095"/>
                        </a:cubicBezTo>
                        <a:cubicBezTo>
                          <a:pt x="353058" y="148912"/>
                          <a:pt x="353146" y="146749"/>
                          <a:pt x="353317" y="144684"/>
                        </a:cubicBezTo>
                        <a:cubicBezTo>
                          <a:pt x="353909" y="137648"/>
                          <a:pt x="358086" y="130493"/>
                          <a:pt x="363476" y="126274"/>
                        </a:cubicBezTo>
                        <a:cubicBezTo>
                          <a:pt x="361585" y="124087"/>
                          <a:pt x="360009" y="121581"/>
                          <a:pt x="358906" y="118688"/>
                        </a:cubicBezTo>
                        <a:close/>
                      </a:path>
                    </a:pathLst>
                  </a:custGeom>
                  <a:grpFill/>
                  <a:ln w="1649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s-ES_tradnl" sz="2400"/>
                  </a:p>
                </p:txBody>
              </p:sp>
              <p:sp>
                <p:nvSpPr>
                  <p:cNvPr id="232" name="Forma libre 231">
                    <a:extLst>
                      <a:ext uri="{FF2B5EF4-FFF2-40B4-BE49-F238E27FC236}">
                        <a16:creationId xmlns:a16="http://schemas.microsoft.com/office/drawing/2014/main" id="{C787D2B2-232E-0A49-9F55-B43AFD473BD2}"/>
                      </a:ext>
                    </a:extLst>
                  </p:cNvPr>
                  <p:cNvSpPr/>
                  <p:nvPr/>
                </p:nvSpPr>
                <p:spPr>
                  <a:xfrm>
                    <a:off x="6252697" y="2112049"/>
                    <a:ext cx="206361" cy="169327"/>
                  </a:xfrm>
                  <a:custGeom>
                    <a:avLst/>
                    <a:gdLst>
                      <a:gd name="connsiteX0" fmla="*/ 1851 w 206361"/>
                      <a:gd name="connsiteY0" fmla="*/ 125145 h 169327"/>
                      <a:gd name="connsiteX1" fmla="*/ 21097 w 206361"/>
                      <a:gd name="connsiteY1" fmla="*/ 113083 h 169327"/>
                      <a:gd name="connsiteX2" fmla="*/ 41690 w 206361"/>
                      <a:gd name="connsiteY2" fmla="*/ 134662 h 169327"/>
                      <a:gd name="connsiteX3" fmla="*/ 42360 w 206361"/>
                      <a:gd name="connsiteY3" fmla="*/ 145840 h 169327"/>
                      <a:gd name="connsiteX4" fmla="*/ 53072 w 206361"/>
                      <a:gd name="connsiteY4" fmla="*/ 147111 h 169327"/>
                      <a:gd name="connsiteX5" fmla="*/ 65146 w 206361"/>
                      <a:gd name="connsiteY5" fmla="*/ 144948 h 169327"/>
                      <a:gd name="connsiteX6" fmla="*/ 72530 w 206361"/>
                      <a:gd name="connsiteY6" fmla="*/ 143248 h 169327"/>
                      <a:gd name="connsiteX7" fmla="*/ 96653 w 206361"/>
                      <a:gd name="connsiteY7" fmla="*/ 147805 h 169327"/>
                      <a:gd name="connsiteX8" fmla="*/ 104494 w 206361"/>
                      <a:gd name="connsiteY8" fmla="*/ 158885 h 169327"/>
                      <a:gd name="connsiteX9" fmla="*/ 109764 w 206361"/>
                      <a:gd name="connsiteY9" fmla="*/ 166738 h 169327"/>
                      <a:gd name="connsiteX10" fmla="*/ 127537 w 206361"/>
                      <a:gd name="connsiteY10" fmla="*/ 167345 h 169327"/>
                      <a:gd name="connsiteX11" fmla="*/ 136720 w 206361"/>
                      <a:gd name="connsiteY11" fmla="*/ 162835 h 169327"/>
                      <a:gd name="connsiteX12" fmla="*/ 149872 w 206361"/>
                      <a:gd name="connsiteY12" fmla="*/ 156773 h 169327"/>
                      <a:gd name="connsiteX13" fmla="*/ 190689 w 206361"/>
                      <a:gd name="connsiteY13" fmla="*/ 158778 h 169327"/>
                      <a:gd name="connsiteX14" fmla="*/ 191854 w 206361"/>
                      <a:gd name="connsiteY14" fmla="*/ 158077 h 169327"/>
                      <a:gd name="connsiteX15" fmla="*/ 204401 w 206361"/>
                      <a:gd name="connsiteY15" fmla="*/ 120918 h 169327"/>
                      <a:gd name="connsiteX16" fmla="*/ 203422 w 206361"/>
                      <a:gd name="connsiteY16" fmla="*/ 118624 h 169327"/>
                      <a:gd name="connsiteX17" fmla="*/ 200585 w 206361"/>
                      <a:gd name="connsiteY17" fmla="*/ 108706 h 169327"/>
                      <a:gd name="connsiteX18" fmla="*/ 201162 w 206361"/>
                      <a:gd name="connsiteY18" fmla="*/ 102750 h 169327"/>
                      <a:gd name="connsiteX19" fmla="*/ 201566 w 206361"/>
                      <a:gd name="connsiteY19" fmla="*/ 98749 h 169327"/>
                      <a:gd name="connsiteX20" fmla="*/ 197605 w 206361"/>
                      <a:gd name="connsiteY20" fmla="*/ 91813 h 169327"/>
                      <a:gd name="connsiteX21" fmla="*/ 195369 w 206361"/>
                      <a:gd name="connsiteY21" fmla="*/ 88861 h 169327"/>
                      <a:gd name="connsiteX22" fmla="*/ 195852 w 206361"/>
                      <a:gd name="connsiteY22" fmla="*/ 35792 h 169327"/>
                      <a:gd name="connsiteX23" fmla="*/ 197565 w 206361"/>
                      <a:gd name="connsiteY23" fmla="*/ 32645 h 169327"/>
                      <a:gd name="connsiteX24" fmla="*/ 202451 w 206361"/>
                      <a:gd name="connsiteY24" fmla="*/ 20797 h 169327"/>
                      <a:gd name="connsiteX25" fmla="*/ 192914 w 206361"/>
                      <a:gd name="connsiteY25" fmla="*/ 5472 h 169327"/>
                      <a:gd name="connsiteX26" fmla="*/ 194795 w 206361"/>
                      <a:gd name="connsiteY26" fmla="*/ 0 h 169327"/>
                      <a:gd name="connsiteX27" fmla="*/ 106044 w 206361"/>
                      <a:gd name="connsiteY27" fmla="*/ 16428 h 169327"/>
                      <a:gd name="connsiteX28" fmla="*/ 449 w 206361"/>
                      <a:gd name="connsiteY28" fmla="*/ 53306 h 169327"/>
                      <a:gd name="connsiteX29" fmla="*/ 16800 w 206361"/>
                      <a:gd name="connsiteY29" fmla="*/ 63552 h 169327"/>
                      <a:gd name="connsiteX30" fmla="*/ 1851 w 206361"/>
                      <a:gd name="connsiteY30" fmla="*/ 125145 h 16932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  <a:cxn ang="0">
                        <a:pos x="connsiteX25" y="connsiteY25"/>
                      </a:cxn>
                      <a:cxn ang="0">
                        <a:pos x="connsiteX26" y="connsiteY26"/>
                      </a:cxn>
                      <a:cxn ang="0">
                        <a:pos x="connsiteX27" y="connsiteY27"/>
                      </a:cxn>
                      <a:cxn ang="0">
                        <a:pos x="connsiteX28" y="connsiteY28"/>
                      </a:cxn>
                      <a:cxn ang="0">
                        <a:pos x="connsiteX29" y="connsiteY29"/>
                      </a:cxn>
                      <a:cxn ang="0">
                        <a:pos x="connsiteX30" y="connsiteY30"/>
                      </a:cxn>
                    </a:cxnLst>
                    <a:rect l="l" t="t" r="r" b="b"/>
                    <a:pathLst>
                      <a:path w="206361" h="169327">
                        <a:moveTo>
                          <a:pt x="1851" y="125145"/>
                        </a:moveTo>
                        <a:cubicBezTo>
                          <a:pt x="9049" y="122606"/>
                          <a:pt x="15674" y="118455"/>
                          <a:pt x="21097" y="113083"/>
                        </a:cubicBezTo>
                        <a:cubicBezTo>
                          <a:pt x="31530" y="107498"/>
                          <a:pt x="40541" y="122883"/>
                          <a:pt x="41690" y="134662"/>
                        </a:cubicBezTo>
                        <a:cubicBezTo>
                          <a:pt x="42055" y="138378"/>
                          <a:pt x="42221" y="142109"/>
                          <a:pt x="42360" y="145840"/>
                        </a:cubicBezTo>
                        <a:cubicBezTo>
                          <a:pt x="45945" y="146563"/>
                          <a:pt x="49576" y="147272"/>
                          <a:pt x="53072" y="147111"/>
                        </a:cubicBezTo>
                        <a:cubicBezTo>
                          <a:pt x="56971" y="147008"/>
                          <a:pt x="60946" y="146006"/>
                          <a:pt x="65146" y="144948"/>
                        </a:cubicBezTo>
                        <a:cubicBezTo>
                          <a:pt x="67593" y="144323"/>
                          <a:pt x="70051" y="143711"/>
                          <a:pt x="72530" y="143248"/>
                        </a:cubicBezTo>
                        <a:cubicBezTo>
                          <a:pt x="82579" y="141367"/>
                          <a:pt x="90916" y="142955"/>
                          <a:pt x="96653" y="147805"/>
                        </a:cubicBezTo>
                        <a:cubicBezTo>
                          <a:pt x="100400" y="150978"/>
                          <a:pt x="102573" y="155182"/>
                          <a:pt x="104494" y="158885"/>
                        </a:cubicBezTo>
                        <a:cubicBezTo>
                          <a:pt x="106101" y="161986"/>
                          <a:pt x="107620" y="164917"/>
                          <a:pt x="109764" y="166738"/>
                        </a:cubicBezTo>
                        <a:cubicBezTo>
                          <a:pt x="114314" y="170593"/>
                          <a:pt x="121929" y="169579"/>
                          <a:pt x="127537" y="167345"/>
                        </a:cubicBezTo>
                        <a:cubicBezTo>
                          <a:pt x="130704" y="166079"/>
                          <a:pt x="133713" y="164455"/>
                          <a:pt x="136720" y="162835"/>
                        </a:cubicBezTo>
                        <a:cubicBezTo>
                          <a:pt x="140851" y="160616"/>
                          <a:pt x="145116" y="158324"/>
                          <a:pt x="149872" y="156773"/>
                        </a:cubicBezTo>
                        <a:cubicBezTo>
                          <a:pt x="163649" y="152274"/>
                          <a:pt x="178295" y="155136"/>
                          <a:pt x="190689" y="158778"/>
                        </a:cubicBezTo>
                        <a:lnTo>
                          <a:pt x="191854" y="158077"/>
                        </a:lnTo>
                        <a:cubicBezTo>
                          <a:pt x="204016" y="150761"/>
                          <a:pt x="209641" y="134092"/>
                          <a:pt x="204401" y="120918"/>
                        </a:cubicBezTo>
                        <a:lnTo>
                          <a:pt x="203422" y="118624"/>
                        </a:lnTo>
                        <a:cubicBezTo>
                          <a:pt x="202169" y="115758"/>
                          <a:pt x="200748" y="112511"/>
                          <a:pt x="200585" y="108706"/>
                        </a:cubicBezTo>
                        <a:cubicBezTo>
                          <a:pt x="200496" y="106518"/>
                          <a:pt x="200854" y="104515"/>
                          <a:pt x="201162" y="102750"/>
                        </a:cubicBezTo>
                        <a:cubicBezTo>
                          <a:pt x="201429" y="101248"/>
                          <a:pt x="201676" y="99833"/>
                          <a:pt x="201566" y="98749"/>
                        </a:cubicBezTo>
                        <a:cubicBezTo>
                          <a:pt x="201332" y="96584"/>
                          <a:pt x="199517" y="94266"/>
                          <a:pt x="197605" y="91813"/>
                        </a:cubicBezTo>
                        <a:cubicBezTo>
                          <a:pt x="196831" y="90830"/>
                          <a:pt x="196069" y="89855"/>
                          <a:pt x="195369" y="88861"/>
                        </a:cubicBezTo>
                        <a:cubicBezTo>
                          <a:pt x="183788" y="72429"/>
                          <a:pt x="188020" y="50677"/>
                          <a:pt x="195852" y="35792"/>
                        </a:cubicBezTo>
                        <a:lnTo>
                          <a:pt x="197565" y="32645"/>
                        </a:lnTo>
                        <a:cubicBezTo>
                          <a:pt x="199810" y="28568"/>
                          <a:pt x="201942" y="24720"/>
                          <a:pt x="202451" y="20797"/>
                        </a:cubicBezTo>
                        <a:cubicBezTo>
                          <a:pt x="203262" y="14430"/>
                          <a:pt x="198989" y="7552"/>
                          <a:pt x="192914" y="5472"/>
                        </a:cubicBezTo>
                        <a:lnTo>
                          <a:pt x="194795" y="0"/>
                        </a:lnTo>
                        <a:cubicBezTo>
                          <a:pt x="170124" y="15076"/>
                          <a:pt x="136286" y="16406"/>
                          <a:pt x="106044" y="16428"/>
                        </a:cubicBezTo>
                        <a:cubicBezTo>
                          <a:pt x="67078" y="16456"/>
                          <a:pt x="21627" y="20600"/>
                          <a:pt x="449" y="53306"/>
                        </a:cubicBezTo>
                        <a:cubicBezTo>
                          <a:pt x="5900" y="56722"/>
                          <a:pt x="11350" y="60136"/>
                          <a:pt x="16800" y="63552"/>
                        </a:cubicBezTo>
                        <a:cubicBezTo>
                          <a:pt x="2455" y="80153"/>
                          <a:pt x="-3287" y="103813"/>
                          <a:pt x="1851" y="125145"/>
                        </a:cubicBezTo>
                        <a:close/>
                      </a:path>
                    </a:pathLst>
                  </a:custGeom>
                  <a:grpFill/>
                  <a:ln w="1649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s-ES_tradnl" sz="2400"/>
                  </a:p>
                </p:txBody>
              </p:sp>
            </p:grpSp>
            <p:sp>
              <p:nvSpPr>
                <p:cNvPr id="204" name="Forma libre 203">
                  <a:extLst>
                    <a:ext uri="{FF2B5EF4-FFF2-40B4-BE49-F238E27FC236}">
                      <a16:creationId xmlns:a16="http://schemas.microsoft.com/office/drawing/2014/main" id="{BC4FC19B-9192-CB40-B1A4-E0E27B7FC0DA}"/>
                    </a:ext>
                  </a:extLst>
                </p:cNvPr>
                <p:cNvSpPr/>
                <p:nvPr/>
              </p:nvSpPr>
              <p:spPr>
                <a:xfrm>
                  <a:off x="6328498" y="879375"/>
                  <a:ext cx="1972055" cy="2506837"/>
                </a:xfrm>
                <a:custGeom>
                  <a:avLst/>
                  <a:gdLst>
                    <a:gd name="connsiteX0" fmla="*/ 1963591 w 1972055"/>
                    <a:gd name="connsiteY0" fmla="*/ 1346145 h 2506837"/>
                    <a:gd name="connsiteX1" fmla="*/ 1846862 w 1972055"/>
                    <a:gd name="connsiteY1" fmla="*/ 1352231 h 2506837"/>
                    <a:gd name="connsiteX2" fmla="*/ 1852599 w 1972055"/>
                    <a:gd name="connsiteY2" fmla="*/ 1312404 h 2506837"/>
                    <a:gd name="connsiteX3" fmla="*/ 1782729 w 1972055"/>
                    <a:gd name="connsiteY3" fmla="*/ 1351024 h 2506837"/>
                    <a:gd name="connsiteX4" fmla="*/ 1725246 w 1972055"/>
                    <a:gd name="connsiteY4" fmla="*/ 1183528 h 2506837"/>
                    <a:gd name="connsiteX5" fmla="*/ 1700902 w 1972055"/>
                    <a:gd name="connsiteY5" fmla="*/ 1136268 h 2506837"/>
                    <a:gd name="connsiteX6" fmla="*/ 1639928 w 1972055"/>
                    <a:gd name="connsiteY6" fmla="*/ 1206602 h 2506837"/>
                    <a:gd name="connsiteX7" fmla="*/ 1620871 w 1972055"/>
                    <a:gd name="connsiteY7" fmla="*/ 1214941 h 2506837"/>
                    <a:gd name="connsiteX8" fmla="*/ 1592593 w 1972055"/>
                    <a:gd name="connsiteY8" fmla="*/ 1176740 h 2506837"/>
                    <a:gd name="connsiteX9" fmla="*/ 1640091 w 1972055"/>
                    <a:gd name="connsiteY9" fmla="*/ 1175029 h 2506837"/>
                    <a:gd name="connsiteX10" fmla="*/ 1646951 w 1972055"/>
                    <a:gd name="connsiteY10" fmla="*/ 1107228 h 2506837"/>
                    <a:gd name="connsiteX11" fmla="*/ 1646181 w 1972055"/>
                    <a:gd name="connsiteY11" fmla="*/ 1093215 h 2506837"/>
                    <a:gd name="connsiteX12" fmla="*/ 1598392 w 1972055"/>
                    <a:gd name="connsiteY12" fmla="*/ 1087387 h 2506837"/>
                    <a:gd name="connsiteX13" fmla="*/ 1503600 w 1972055"/>
                    <a:gd name="connsiteY13" fmla="*/ 1050100 h 2506837"/>
                    <a:gd name="connsiteX14" fmla="*/ 1530833 w 1972055"/>
                    <a:gd name="connsiteY14" fmla="*/ 1046102 h 2506837"/>
                    <a:gd name="connsiteX15" fmla="*/ 1505030 w 1972055"/>
                    <a:gd name="connsiteY15" fmla="*/ 935299 h 2506837"/>
                    <a:gd name="connsiteX16" fmla="*/ 1505419 w 1972055"/>
                    <a:gd name="connsiteY16" fmla="*/ 876823 h 2506837"/>
                    <a:gd name="connsiteX17" fmla="*/ 1492969 w 1972055"/>
                    <a:gd name="connsiteY17" fmla="*/ 881597 h 2506837"/>
                    <a:gd name="connsiteX18" fmla="*/ 1462301 w 1972055"/>
                    <a:gd name="connsiteY18" fmla="*/ 817366 h 2506837"/>
                    <a:gd name="connsiteX19" fmla="*/ 1442897 w 1972055"/>
                    <a:gd name="connsiteY19" fmla="*/ 801753 h 2506837"/>
                    <a:gd name="connsiteX20" fmla="*/ 1413016 w 1972055"/>
                    <a:gd name="connsiteY20" fmla="*/ 736614 h 2506837"/>
                    <a:gd name="connsiteX21" fmla="*/ 1411885 w 1972055"/>
                    <a:gd name="connsiteY21" fmla="*/ 722998 h 2506837"/>
                    <a:gd name="connsiteX22" fmla="*/ 1390899 w 1972055"/>
                    <a:gd name="connsiteY22" fmla="*/ 706260 h 2506837"/>
                    <a:gd name="connsiteX23" fmla="*/ 1383677 w 1972055"/>
                    <a:gd name="connsiteY23" fmla="*/ 683753 h 2506837"/>
                    <a:gd name="connsiteX24" fmla="*/ 1345685 w 1972055"/>
                    <a:gd name="connsiteY24" fmla="*/ 594274 h 2506837"/>
                    <a:gd name="connsiteX25" fmla="*/ 1328134 w 1972055"/>
                    <a:gd name="connsiteY25" fmla="*/ 556741 h 2506837"/>
                    <a:gd name="connsiteX26" fmla="*/ 1288166 w 1972055"/>
                    <a:gd name="connsiteY26" fmla="*/ 528407 h 2506837"/>
                    <a:gd name="connsiteX27" fmla="*/ 1244061 w 1972055"/>
                    <a:gd name="connsiteY27" fmla="*/ 454098 h 2506837"/>
                    <a:gd name="connsiteX28" fmla="*/ 1183568 w 1972055"/>
                    <a:gd name="connsiteY28" fmla="*/ 396617 h 2506837"/>
                    <a:gd name="connsiteX29" fmla="*/ 1225322 w 1972055"/>
                    <a:gd name="connsiteY29" fmla="*/ 398690 h 2506837"/>
                    <a:gd name="connsiteX30" fmla="*/ 1233062 w 1972055"/>
                    <a:gd name="connsiteY30" fmla="*/ 295479 h 2506837"/>
                    <a:gd name="connsiteX31" fmla="*/ 1247275 w 1972055"/>
                    <a:gd name="connsiteY31" fmla="*/ 251506 h 2506837"/>
                    <a:gd name="connsiteX32" fmla="*/ 1227805 w 1972055"/>
                    <a:gd name="connsiteY32" fmla="*/ 230641 h 2506837"/>
                    <a:gd name="connsiteX33" fmla="*/ 1235599 w 1972055"/>
                    <a:gd name="connsiteY33" fmla="*/ 174404 h 2506837"/>
                    <a:gd name="connsiteX34" fmla="*/ 1239323 w 1972055"/>
                    <a:gd name="connsiteY34" fmla="*/ 118582 h 2506837"/>
                    <a:gd name="connsiteX35" fmla="*/ 1196105 w 1972055"/>
                    <a:gd name="connsiteY35" fmla="*/ 76228 h 2506837"/>
                    <a:gd name="connsiteX36" fmla="*/ 1120769 w 1972055"/>
                    <a:gd name="connsiteY36" fmla="*/ 39204 h 2506837"/>
                    <a:gd name="connsiteX37" fmla="*/ 1096985 w 1972055"/>
                    <a:gd name="connsiteY37" fmla="*/ 0 h 2506837"/>
                    <a:gd name="connsiteX38" fmla="*/ 1038536 w 1972055"/>
                    <a:gd name="connsiteY38" fmla="*/ 2283 h 2506837"/>
                    <a:gd name="connsiteX39" fmla="*/ 996938 w 1972055"/>
                    <a:gd name="connsiteY39" fmla="*/ 9755 h 2506837"/>
                    <a:gd name="connsiteX40" fmla="*/ 975723 w 1972055"/>
                    <a:gd name="connsiteY40" fmla="*/ 43494 h 2506837"/>
                    <a:gd name="connsiteX41" fmla="*/ 1005095 w 1972055"/>
                    <a:gd name="connsiteY41" fmla="*/ 82484 h 2506837"/>
                    <a:gd name="connsiteX42" fmla="*/ 998390 w 1972055"/>
                    <a:gd name="connsiteY42" fmla="*/ 121810 h 2506837"/>
                    <a:gd name="connsiteX43" fmla="*/ 1005170 w 1972055"/>
                    <a:gd name="connsiteY43" fmla="*/ 177223 h 2506837"/>
                    <a:gd name="connsiteX44" fmla="*/ 972803 w 1972055"/>
                    <a:gd name="connsiteY44" fmla="*/ 113650 h 2506837"/>
                    <a:gd name="connsiteX45" fmla="*/ 953511 w 1972055"/>
                    <a:gd name="connsiteY45" fmla="*/ 192833 h 2506837"/>
                    <a:gd name="connsiteX46" fmla="*/ 908826 w 1972055"/>
                    <a:gd name="connsiteY46" fmla="*/ 193030 h 2506837"/>
                    <a:gd name="connsiteX47" fmla="*/ 898811 w 1972055"/>
                    <a:gd name="connsiteY47" fmla="*/ 237650 h 2506837"/>
                    <a:gd name="connsiteX48" fmla="*/ 876038 w 1972055"/>
                    <a:gd name="connsiteY48" fmla="*/ 275761 h 2506837"/>
                    <a:gd name="connsiteX49" fmla="*/ 840160 w 1972055"/>
                    <a:gd name="connsiteY49" fmla="*/ 261161 h 2506837"/>
                    <a:gd name="connsiteX50" fmla="*/ 848780 w 1972055"/>
                    <a:gd name="connsiteY50" fmla="*/ 213897 h 2506837"/>
                    <a:gd name="connsiteX51" fmla="*/ 835922 w 1972055"/>
                    <a:gd name="connsiteY51" fmla="*/ 207604 h 2506837"/>
                    <a:gd name="connsiteX52" fmla="*/ 798514 w 1972055"/>
                    <a:gd name="connsiteY52" fmla="*/ 248484 h 2506837"/>
                    <a:gd name="connsiteX53" fmla="*/ 801212 w 1972055"/>
                    <a:gd name="connsiteY53" fmla="*/ 296783 h 2506837"/>
                    <a:gd name="connsiteX54" fmla="*/ 770708 w 1972055"/>
                    <a:gd name="connsiteY54" fmla="*/ 275654 h 2506837"/>
                    <a:gd name="connsiteX55" fmla="*/ 730725 w 1972055"/>
                    <a:gd name="connsiteY55" fmla="*/ 336606 h 2506837"/>
                    <a:gd name="connsiteX56" fmla="*/ 724080 w 1972055"/>
                    <a:gd name="connsiteY56" fmla="*/ 351008 h 2506837"/>
                    <a:gd name="connsiteX57" fmla="*/ 727456 w 1972055"/>
                    <a:gd name="connsiteY57" fmla="*/ 368372 h 2506837"/>
                    <a:gd name="connsiteX58" fmla="*/ 717258 w 1972055"/>
                    <a:gd name="connsiteY58" fmla="*/ 448960 h 2506837"/>
                    <a:gd name="connsiteX59" fmla="*/ 630864 w 1972055"/>
                    <a:gd name="connsiteY59" fmla="*/ 462844 h 2506837"/>
                    <a:gd name="connsiteX60" fmla="*/ 605949 w 1972055"/>
                    <a:gd name="connsiteY60" fmla="*/ 406135 h 2506837"/>
                    <a:gd name="connsiteX61" fmla="*/ 661347 w 1972055"/>
                    <a:gd name="connsiteY61" fmla="*/ 381506 h 2506837"/>
                    <a:gd name="connsiteX62" fmla="*/ 531108 w 1972055"/>
                    <a:gd name="connsiteY62" fmla="*/ 354221 h 2506837"/>
                    <a:gd name="connsiteX63" fmla="*/ 556290 w 1972055"/>
                    <a:gd name="connsiteY63" fmla="*/ 377591 h 2506837"/>
                    <a:gd name="connsiteX64" fmla="*/ 577200 w 1972055"/>
                    <a:gd name="connsiteY64" fmla="*/ 489493 h 2506837"/>
                    <a:gd name="connsiteX65" fmla="*/ 629403 w 1972055"/>
                    <a:gd name="connsiteY65" fmla="*/ 495629 h 2506837"/>
                    <a:gd name="connsiteX66" fmla="*/ 647206 w 1972055"/>
                    <a:gd name="connsiteY66" fmla="*/ 557358 h 2506837"/>
                    <a:gd name="connsiteX67" fmla="*/ 593015 w 1972055"/>
                    <a:gd name="connsiteY67" fmla="*/ 550091 h 2506837"/>
                    <a:gd name="connsiteX68" fmla="*/ 588179 w 1972055"/>
                    <a:gd name="connsiteY68" fmla="*/ 522840 h 2506837"/>
                    <a:gd name="connsiteX69" fmla="*/ 538258 w 1972055"/>
                    <a:gd name="connsiteY69" fmla="*/ 553764 h 2506837"/>
                    <a:gd name="connsiteX70" fmla="*/ 504448 w 1972055"/>
                    <a:gd name="connsiteY70" fmla="*/ 606071 h 2506837"/>
                    <a:gd name="connsiteX71" fmla="*/ 474205 w 1972055"/>
                    <a:gd name="connsiteY71" fmla="*/ 644883 h 2506837"/>
                    <a:gd name="connsiteX72" fmla="*/ 512638 w 1972055"/>
                    <a:gd name="connsiteY72" fmla="*/ 683611 h 2506837"/>
                    <a:gd name="connsiteX73" fmla="*/ 567127 w 1972055"/>
                    <a:gd name="connsiteY73" fmla="*/ 729164 h 2506837"/>
                    <a:gd name="connsiteX74" fmla="*/ 400552 w 1972055"/>
                    <a:gd name="connsiteY74" fmla="*/ 710363 h 2506837"/>
                    <a:gd name="connsiteX75" fmla="*/ 389767 w 1972055"/>
                    <a:gd name="connsiteY75" fmla="*/ 736825 h 2506837"/>
                    <a:gd name="connsiteX76" fmla="*/ 473626 w 1972055"/>
                    <a:gd name="connsiteY76" fmla="*/ 790060 h 2506837"/>
                    <a:gd name="connsiteX77" fmla="*/ 469325 w 1972055"/>
                    <a:gd name="connsiteY77" fmla="*/ 803504 h 2506837"/>
                    <a:gd name="connsiteX78" fmla="*/ 456996 w 1972055"/>
                    <a:gd name="connsiteY78" fmla="*/ 806684 h 2506837"/>
                    <a:gd name="connsiteX79" fmla="*/ 398036 w 1972055"/>
                    <a:gd name="connsiteY79" fmla="*/ 789143 h 2506837"/>
                    <a:gd name="connsiteX80" fmla="*/ 357215 w 1972055"/>
                    <a:gd name="connsiteY80" fmla="*/ 785073 h 2506837"/>
                    <a:gd name="connsiteX81" fmla="*/ 305689 w 1972055"/>
                    <a:gd name="connsiteY81" fmla="*/ 709549 h 2506837"/>
                    <a:gd name="connsiteX82" fmla="*/ 296812 w 1972055"/>
                    <a:gd name="connsiteY82" fmla="*/ 662857 h 2506837"/>
                    <a:gd name="connsiteX83" fmla="*/ 257512 w 1972055"/>
                    <a:gd name="connsiteY83" fmla="*/ 650488 h 2506837"/>
                    <a:gd name="connsiteX84" fmla="*/ 224142 w 1972055"/>
                    <a:gd name="connsiteY84" fmla="*/ 620413 h 2506837"/>
                    <a:gd name="connsiteX85" fmla="*/ 194553 w 1972055"/>
                    <a:gd name="connsiteY85" fmla="*/ 588232 h 2506837"/>
                    <a:gd name="connsiteX86" fmla="*/ 226669 w 1972055"/>
                    <a:gd name="connsiteY86" fmla="*/ 581542 h 2506837"/>
                    <a:gd name="connsiteX87" fmla="*/ 256722 w 1972055"/>
                    <a:gd name="connsiteY87" fmla="*/ 602813 h 2506837"/>
                    <a:gd name="connsiteX88" fmla="*/ 372119 w 1972055"/>
                    <a:gd name="connsiteY88" fmla="*/ 612836 h 2506837"/>
                    <a:gd name="connsiteX89" fmla="*/ 393190 w 1972055"/>
                    <a:gd name="connsiteY89" fmla="*/ 628460 h 2506837"/>
                    <a:gd name="connsiteX90" fmla="*/ 436527 w 1972055"/>
                    <a:gd name="connsiteY90" fmla="*/ 615885 h 2506837"/>
                    <a:gd name="connsiteX91" fmla="*/ 467531 w 1972055"/>
                    <a:gd name="connsiteY91" fmla="*/ 579379 h 2506837"/>
                    <a:gd name="connsiteX92" fmla="*/ 504810 w 1972055"/>
                    <a:gd name="connsiteY92" fmla="*/ 541601 h 2506837"/>
                    <a:gd name="connsiteX93" fmla="*/ 505742 w 1972055"/>
                    <a:gd name="connsiteY93" fmla="*/ 507827 h 2506837"/>
                    <a:gd name="connsiteX94" fmla="*/ 455879 w 1972055"/>
                    <a:gd name="connsiteY94" fmla="*/ 439855 h 2506837"/>
                    <a:gd name="connsiteX95" fmla="*/ 431103 w 1972055"/>
                    <a:gd name="connsiteY95" fmla="*/ 446278 h 2506837"/>
                    <a:gd name="connsiteX96" fmla="*/ 331230 w 1972055"/>
                    <a:gd name="connsiteY96" fmla="*/ 396289 h 2506837"/>
                    <a:gd name="connsiteX97" fmla="*/ 196490 w 1972055"/>
                    <a:gd name="connsiteY97" fmla="*/ 388621 h 2506837"/>
                    <a:gd name="connsiteX98" fmla="*/ 99517 w 1972055"/>
                    <a:gd name="connsiteY98" fmla="*/ 363802 h 2506837"/>
                    <a:gd name="connsiteX99" fmla="*/ 74781 w 1972055"/>
                    <a:gd name="connsiteY99" fmla="*/ 381555 h 2506837"/>
                    <a:gd name="connsiteX100" fmla="*/ 68376 w 1972055"/>
                    <a:gd name="connsiteY100" fmla="*/ 372773 h 2506837"/>
                    <a:gd name="connsiteX101" fmla="*/ 21249 w 1972055"/>
                    <a:gd name="connsiteY101" fmla="*/ 395651 h 2506837"/>
                    <a:gd name="connsiteX102" fmla="*/ 83 w 1972055"/>
                    <a:gd name="connsiteY102" fmla="*/ 444730 h 2506837"/>
                    <a:gd name="connsiteX103" fmla="*/ 39297 w 1972055"/>
                    <a:gd name="connsiteY103" fmla="*/ 506137 h 2506837"/>
                    <a:gd name="connsiteX104" fmla="*/ 60547 w 1972055"/>
                    <a:gd name="connsiteY104" fmla="*/ 537214 h 2506837"/>
                    <a:gd name="connsiteX105" fmla="*/ 55354 w 1972055"/>
                    <a:gd name="connsiteY105" fmla="*/ 554845 h 2506837"/>
                    <a:gd name="connsiteX106" fmla="*/ 53767 w 1972055"/>
                    <a:gd name="connsiteY106" fmla="*/ 558292 h 2506837"/>
                    <a:gd name="connsiteX107" fmla="*/ 49099 w 1972055"/>
                    <a:gd name="connsiteY107" fmla="*/ 599317 h 2506837"/>
                    <a:gd name="connsiteX108" fmla="*/ 51950 w 1972055"/>
                    <a:gd name="connsiteY108" fmla="*/ 607301 h 2506837"/>
                    <a:gd name="connsiteX109" fmla="*/ 58676 w 1972055"/>
                    <a:gd name="connsiteY109" fmla="*/ 613212 h 2506837"/>
                    <a:gd name="connsiteX110" fmla="*/ 59873 w 1972055"/>
                    <a:gd name="connsiteY110" fmla="*/ 614071 h 2506837"/>
                    <a:gd name="connsiteX111" fmla="*/ 100173 w 1972055"/>
                    <a:gd name="connsiteY111" fmla="*/ 665758 h 2506837"/>
                    <a:gd name="connsiteX112" fmla="*/ 104681 w 1972055"/>
                    <a:gd name="connsiteY112" fmla="*/ 702965 h 2506837"/>
                    <a:gd name="connsiteX113" fmla="*/ 101101 w 1972055"/>
                    <a:gd name="connsiteY113" fmla="*/ 713764 h 2506837"/>
                    <a:gd name="connsiteX114" fmla="*/ 97419 w 1972055"/>
                    <a:gd name="connsiteY114" fmla="*/ 726219 h 2506837"/>
                    <a:gd name="connsiteX115" fmla="*/ 100938 w 1972055"/>
                    <a:gd name="connsiteY115" fmla="*/ 745720 h 2506837"/>
                    <a:gd name="connsiteX116" fmla="*/ 143526 w 1972055"/>
                    <a:gd name="connsiteY116" fmla="*/ 812645 h 2506837"/>
                    <a:gd name="connsiteX117" fmla="*/ 144286 w 1972055"/>
                    <a:gd name="connsiteY117" fmla="*/ 813405 h 2506837"/>
                    <a:gd name="connsiteX118" fmla="*/ 158234 w 1972055"/>
                    <a:gd name="connsiteY118" fmla="*/ 836287 h 2506837"/>
                    <a:gd name="connsiteX119" fmla="*/ 146330 w 1972055"/>
                    <a:gd name="connsiteY119" fmla="*/ 855760 h 2506837"/>
                    <a:gd name="connsiteX120" fmla="*/ 130043 w 1972055"/>
                    <a:gd name="connsiteY120" fmla="*/ 857670 h 2506837"/>
                    <a:gd name="connsiteX121" fmla="*/ 128539 w 1972055"/>
                    <a:gd name="connsiteY121" fmla="*/ 862285 h 2506837"/>
                    <a:gd name="connsiteX122" fmla="*/ 205780 w 1972055"/>
                    <a:gd name="connsiteY122" fmla="*/ 899666 h 2506837"/>
                    <a:gd name="connsiteX123" fmla="*/ 232154 w 1972055"/>
                    <a:gd name="connsiteY123" fmla="*/ 936531 h 2506837"/>
                    <a:gd name="connsiteX124" fmla="*/ 231324 w 1972055"/>
                    <a:gd name="connsiteY124" fmla="*/ 939289 h 2506837"/>
                    <a:gd name="connsiteX125" fmla="*/ 228558 w 1972055"/>
                    <a:gd name="connsiteY125" fmla="*/ 940090 h 2506837"/>
                    <a:gd name="connsiteX126" fmla="*/ 207659 w 1972055"/>
                    <a:gd name="connsiteY126" fmla="*/ 957298 h 2506837"/>
                    <a:gd name="connsiteX127" fmla="*/ 171459 w 1972055"/>
                    <a:gd name="connsiteY127" fmla="*/ 1013716 h 2506837"/>
                    <a:gd name="connsiteX128" fmla="*/ 169632 w 1972055"/>
                    <a:gd name="connsiteY128" fmla="*/ 1018388 h 2506837"/>
                    <a:gd name="connsiteX129" fmla="*/ 171160 w 1972055"/>
                    <a:gd name="connsiteY129" fmla="*/ 1020840 h 2506837"/>
                    <a:gd name="connsiteX130" fmla="*/ 174606 w 1972055"/>
                    <a:gd name="connsiteY130" fmla="*/ 1027831 h 2506837"/>
                    <a:gd name="connsiteX131" fmla="*/ 159849 w 1972055"/>
                    <a:gd name="connsiteY131" fmla="*/ 1043301 h 2506837"/>
                    <a:gd name="connsiteX132" fmla="*/ 153217 w 1972055"/>
                    <a:gd name="connsiteY132" fmla="*/ 1045833 h 2506837"/>
                    <a:gd name="connsiteX133" fmla="*/ 145972 w 1972055"/>
                    <a:gd name="connsiteY133" fmla="*/ 1054764 h 2506837"/>
                    <a:gd name="connsiteX134" fmla="*/ 97711 w 1972055"/>
                    <a:gd name="connsiteY134" fmla="*/ 1138563 h 2506837"/>
                    <a:gd name="connsiteX135" fmla="*/ 108751 w 1972055"/>
                    <a:gd name="connsiteY135" fmla="*/ 1141054 h 2506837"/>
                    <a:gd name="connsiteX136" fmla="*/ 127310 w 1972055"/>
                    <a:gd name="connsiteY136" fmla="*/ 1146527 h 2506837"/>
                    <a:gd name="connsiteX137" fmla="*/ 131003 w 1972055"/>
                    <a:gd name="connsiteY137" fmla="*/ 1169200 h 2506837"/>
                    <a:gd name="connsiteX138" fmla="*/ 229569 w 1972055"/>
                    <a:gd name="connsiteY138" fmla="*/ 1185259 h 2506837"/>
                    <a:gd name="connsiteX139" fmla="*/ 137772 w 1972055"/>
                    <a:gd name="connsiteY139" fmla="*/ 1215950 h 2506837"/>
                    <a:gd name="connsiteX140" fmla="*/ 123713 w 1972055"/>
                    <a:gd name="connsiteY140" fmla="*/ 1229555 h 2506837"/>
                    <a:gd name="connsiteX141" fmla="*/ 137147 w 1972055"/>
                    <a:gd name="connsiteY141" fmla="*/ 1254820 h 2506837"/>
                    <a:gd name="connsiteX142" fmla="*/ 131028 w 1972055"/>
                    <a:gd name="connsiteY142" fmla="*/ 1270441 h 2506837"/>
                    <a:gd name="connsiteX143" fmla="*/ 129414 w 1972055"/>
                    <a:gd name="connsiteY143" fmla="*/ 1273402 h 2506837"/>
                    <a:gd name="connsiteX144" fmla="*/ 128229 w 1972055"/>
                    <a:gd name="connsiteY144" fmla="*/ 1315429 h 2506837"/>
                    <a:gd name="connsiteX145" fmla="*/ 130141 w 1972055"/>
                    <a:gd name="connsiteY145" fmla="*/ 1317964 h 2506837"/>
                    <a:gd name="connsiteX146" fmla="*/ 136293 w 1972055"/>
                    <a:gd name="connsiteY146" fmla="*/ 1330297 h 2506837"/>
                    <a:gd name="connsiteX147" fmla="*/ 135787 w 1972055"/>
                    <a:gd name="connsiteY147" fmla="*/ 1337257 h 2506837"/>
                    <a:gd name="connsiteX148" fmla="*/ 135369 w 1972055"/>
                    <a:gd name="connsiteY148" fmla="*/ 1340947 h 2506837"/>
                    <a:gd name="connsiteX149" fmla="*/ 137319 w 1972055"/>
                    <a:gd name="connsiteY149" fmla="*/ 1347045 h 2506837"/>
                    <a:gd name="connsiteX150" fmla="*/ 138435 w 1972055"/>
                    <a:gd name="connsiteY150" fmla="*/ 1349679 h 2506837"/>
                    <a:gd name="connsiteX151" fmla="*/ 128469 w 1972055"/>
                    <a:gd name="connsiteY151" fmla="*/ 1394409 h 2506837"/>
                    <a:gd name="connsiteX152" fmla="*/ 142312 w 1972055"/>
                    <a:gd name="connsiteY152" fmla="*/ 1444831 h 2506837"/>
                    <a:gd name="connsiteX153" fmla="*/ 140970 w 1972055"/>
                    <a:gd name="connsiteY153" fmla="*/ 1450583 h 2506837"/>
                    <a:gd name="connsiteX154" fmla="*/ 143738 w 1972055"/>
                    <a:gd name="connsiteY154" fmla="*/ 1452650 h 2506837"/>
                    <a:gd name="connsiteX155" fmla="*/ 146711 w 1972055"/>
                    <a:gd name="connsiteY155" fmla="*/ 1454603 h 2506837"/>
                    <a:gd name="connsiteX156" fmla="*/ 153699 w 1972055"/>
                    <a:gd name="connsiteY156" fmla="*/ 1483181 h 2506837"/>
                    <a:gd name="connsiteX157" fmla="*/ 154099 w 1972055"/>
                    <a:gd name="connsiteY157" fmla="*/ 1500689 h 2506837"/>
                    <a:gd name="connsiteX158" fmla="*/ 174157 w 1972055"/>
                    <a:gd name="connsiteY158" fmla="*/ 1514911 h 2506837"/>
                    <a:gd name="connsiteX159" fmla="*/ 210675 w 1972055"/>
                    <a:gd name="connsiteY159" fmla="*/ 1524288 h 2506837"/>
                    <a:gd name="connsiteX160" fmla="*/ 260369 w 1972055"/>
                    <a:gd name="connsiteY160" fmla="*/ 1535892 h 2506837"/>
                    <a:gd name="connsiteX161" fmla="*/ 276361 w 1972055"/>
                    <a:gd name="connsiteY161" fmla="*/ 1523811 h 2506837"/>
                    <a:gd name="connsiteX162" fmla="*/ 299702 w 1972055"/>
                    <a:gd name="connsiteY162" fmla="*/ 1530364 h 2506837"/>
                    <a:gd name="connsiteX163" fmla="*/ 300682 w 1972055"/>
                    <a:gd name="connsiteY163" fmla="*/ 1531510 h 2506837"/>
                    <a:gd name="connsiteX164" fmla="*/ 300912 w 1972055"/>
                    <a:gd name="connsiteY164" fmla="*/ 1532999 h 2506837"/>
                    <a:gd name="connsiteX165" fmla="*/ 317127 w 1972055"/>
                    <a:gd name="connsiteY165" fmla="*/ 1607073 h 2506837"/>
                    <a:gd name="connsiteX166" fmla="*/ 330693 w 1972055"/>
                    <a:gd name="connsiteY166" fmla="*/ 1626096 h 2506837"/>
                    <a:gd name="connsiteX167" fmla="*/ 334479 w 1972055"/>
                    <a:gd name="connsiteY167" fmla="*/ 1626150 h 2506837"/>
                    <a:gd name="connsiteX168" fmla="*/ 343060 w 1972055"/>
                    <a:gd name="connsiteY168" fmla="*/ 1626996 h 2506837"/>
                    <a:gd name="connsiteX169" fmla="*/ 355476 w 1972055"/>
                    <a:gd name="connsiteY169" fmla="*/ 1641347 h 2506837"/>
                    <a:gd name="connsiteX170" fmla="*/ 358750 w 1972055"/>
                    <a:gd name="connsiteY170" fmla="*/ 1647684 h 2506837"/>
                    <a:gd name="connsiteX171" fmla="*/ 370543 w 1972055"/>
                    <a:gd name="connsiteY171" fmla="*/ 1656448 h 2506837"/>
                    <a:gd name="connsiteX172" fmla="*/ 422691 w 1972055"/>
                    <a:gd name="connsiteY172" fmla="*/ 1684811 h 2506837"/>
                    <a:gd name="connsiteX173" fmla="*/ 432462 w 1972055"/>
                    <a:gd name="connsiteY173" fmla="*/ 1694114 h 2506837"/>
                    <a:gd name="connsiteX174" fmla="*/ 432639 w 1972055"/>
                    <a:gd name="connsiteY174" fmla="*/ 1705423 h 2506837"/>
                    <a:gd name="connsiteX175" fmla="*/ 414769 w 1972055"/>
                    <a:gd name="connsiteY175" fmla="*/ 1748754 h 2506837"/>
                    <a:gd name="connsiteX176" fmla="*/ 407158 w 1972055"/>
                    <a:gd name="connsiteY176" fmla="*/ 1755721 h 2506837"/>
                    <a:gd name="connsiteX177" fmla="*/ 400091 w 1972055"/>
                    <a:gd name="connsiteY177" fmla="*/ 1762232 h 2506837"/>
                    <a:gd name="connsiteX178" fmla="*/ 392403 w 1972055"/>
                    <a:gd name="connsiteY178" fmla="*/ 1786855 h 2506837"/>
                    <a:gd name="connsiteX179" fmla="*/ 403996 w 1972055"/>
                    <a:gd name="connsiteY179" fmla="*/ 1809905 h 2506837"/>
                    <a:gd name="connsiteX180" fmla="*/ 410536 w 1972055"/>
                    <a:gd name="connsiteY180" fmla="*/ 1814403 h 2506837"/>
                    <a:gd name="connsiteX181" fmla="*/ 418714 w 1972055"/>
                    <a:gd name="connsiteY181" fmla="*/ 1820229 h 2506837"/>
                    <a:gd name="connsiteX182" fmla="*/ 472264 w 1972055"/>
                    <a:gd name="connsiteY182" fmla="*/ 1807884 h 2506837"/>
                    <a:gd name="connsiteX183" fmla="*/ 488580 w 1972055"/>
                    <a:gd name="connsiteY183" fmla="*/ 1805988 h 2506837"/>
                    <a:gd name="connsiteX184" fmla="*/ 541245 w 1972055"/>
                    <a:gd name="connsiteY184" fmla="*/ 1812710 h 2506837"/>
                    <a:gd name="connsiteX185" fmla="*/ 545061 w 1972055"/>
                    <a:gd name="connsiteY185" fmla="*/ 1813981 h 2506837"/>
                    <a:gd name="connsiteX186" fmla="*/ 542536 w 1972055"/>
                    <a:gd name="connsiteY186" fmla="*/ 1866232 h 2506837"/>
                    <a:gd name="connsiteX187" fmla="*/ 543405 w 1972055"/>
                    <a:gd name="connsiteY187" fmla="*/ 1875978 h 2506837"/>
                    <a:gd name="connsiteX188" fmla="*/ 557510 w 1972055"/>
                    <a:gd name="connsiteY188" fmla="*/ 1883759 h 2506837"/>
                    <a:gd name="connsiteX189" fmla="*/ 585501 w 1972055"/>
                    <a:gd name="connsiteY189" fmla="*/ 1882923 h 2506837"/>
                    <a:gd name="connsiteX190" fmla="*/ 589671 w 1972055"/>
                    <a:gd name="connsiteY190" fmla="*/ 1881878 h 2506837"/>
                    <a:gd name="connsiteX191" fmla="*/ 609340 w 1972055"/>
                    <a:gd name="connsiteY191" fmla="*/ 1879931 h 2506837"/>
                    <a:gd name="connsiteX192" fmla="*/ 635926 w 1972055"/>
                    <a:gd name="connsiteY192" fmla="*/ 1920637 h 2506837"/>
                    <a:gd name="connsiteX193" fmla="*/ 678489 w 1972055"/>
                    <a:gd name="connsiteY193" fmla="*/ 1931935 h 2506837"/>
                    <a:gd name="connsiteX194" fmla="*/ 691285 w 1972055"/>
                    <a:gd name="connsiteY194" fmla="*/ 1923868 h 2506837"/>
                    <a:gd name="connsiteX195" fmla="*/ 695942 w 1972055"/>
                    <a:gd name="connsiteY195" fmla="*/ 1920105 h 2506837"/>
                    <a:gd name="connsiteX196" fmla="*/ 716830 w 1972055"/>
                    <a:gd name="connsiteY196" fmla="*/ 1913743 h 2506837"/>
                    <a:gd name="connsiteX197" fmla="*/ 727497 w 1972055"/>
                    <a:gd name="connsiteY197" fmla="*/ 1919952 h 2506837"/>
                    <a:gd name="connsiteX198" fmla="*/ 729931 w 1972055"/>
                    <a:gd name="connsiteY198" fmla="*/ 1924180 h 2506837"/>
                    <a:gd name="connsiteX199" fmla="*/ 731762 w 1972055"/>
                    <a:gd name="connsiteY199" fmla="*/ 1927149 h 2506837"/>
                    <a:gd name="connsiteX200" fmla="*/ 734728 w 1972055"/>
                    <a:gd name="connsiteY200" fmla="*/ 1926801 h 2506837"/>
                    <a:gd name="connsiteX201" fmla="*/ 740909 w 1972055"/>
                    <a:gd name="connsiteY201" fmla="*/ 1926247 h 2506837"/>
                    <a:gd name="connsiteX202" fmla="*/ 754188 w 1972055"/>
                    <a:gd name="connsiteY202" fmla="*/ 1936946 h 2506837"/>
                    <a:gd name="connsiteX203" fmla="*/ 759282 w 1972055"/>
                    <a:gd name="connsiteY203" fmla="*/ 1943104 h 2506837"/>
                    <a:gd name="connsiteX204" fmla="*/ 771356 w 1972055"/>
                    <a:gd name="connsiteY204" fmla="*/ 1941027 h 2506837"/>
                    <a:gd name="connsiteX205" fmla="*/ 778153 w 1972055"/>
                    <a:gd name="connsiteY205" fmla="*/ 1938556 h 2506837"/>
                    <a:gd name="connsiteX206" fmla="*/ 798154 w 1972055"/>
                    <a:gd name="connsiteY206" fmla="*/ 1946469 h 2506837"/>
                    <a:gd name="connsiteX207" fmla="*/ 799081 w 1972055"/>
                    <a:gd name="connsiteY207" fmla="*/ 1948452 h 2506837"/>
                    <a:gd name="connsiteX208" fmla="*/ 912573 w 1972055"/>
                    <a:gd name="connsiteY208" fmla="*/ 1960587 h 2506837"/>
                    <a:gd name="connsiteX209" fmla="*/ 920740 w 1972055"/>
                    <a:gd name="connsiteY209" fmla="*/ 1965635 h 2506837"/>
                    <a:gd name="connsiteX210" fmla="*/ 915006 w 1972055"/>
                    <a:gd name="connsiteY210" fmla="*/ 1991430 h 2506837"/>
                    <a:gd name="connsiteX211" fmla="*/ 910367 w 1972055"/>
                    <a:gd name="connsiteY211" fmla="*/ 1997531 h 2506837"/>
                    <a:gd name="connsiteX212" fmla="*/ 911688 w 1972055"/>
                    <a:gd name="connsiteY212" fmla="*/ 2023173 h 2506837"/>
                    <a:gd name="connsiteX213" fmla="*/ 918917 w 1972055"/>
                    <a:gd name="connsiteY213" fmla="*/ 2035441 h 2506837"/>
                    <a:gd name="connsiteX214" fmla="*/ 927919 w 1972055"/>
                    <a:gd name="connsiteY214" fmla="*/ 2051297 h 2506837"/>
                    <a:gd name="connsiteX215" fmla="*/ 930085 w 1972055"/>
                    <a:gd name="connsiteY215" fmla="*/ 2094746 h 2506837"/>
                    <a:gd name="connsiteX216" fmla="*/ 911308 w 1972055"/>
                    <a:gd name="connsiteY216" fmla="*/ 2112231 h 2506837"/>
                    <a:gd name="connsiteX217" fmla="*/ 903512 w 1972055"/>
                    <a:gd name="connsiteY217" fmla="*/ 2111153 h 2506837"/>
                    <a:gd name="connsiteX218" fmla="*/ 839489 w 1972055"/>
                    <a:gd name="connsiteY218" fmla="*/ 2151256 h 2506837"/>
                    <a:gd name="connsiteX219" fmla="*/ 846121 w 1972055"/>
                    <a:gd name="connsiteY219" fmla="*/ 2187295 h 2506837"/>
                    <a:gd name="connsiteX220" fmla="*/ 902070 w 1972055"/>
                    <a:gd name="connsiteY220" fmla="*/ 2176395 h 2506837"/>
                    <a:gd name="connsiteX221" fmla="*/ 878922 w 1972055"/>
                    <a:gd name="connsiteY221" fmla="*/ 2205330 h 2506837"/>
                    <a:gd name="connsiteX222" fmla="*/ 885535 w 1972055"/>
                    <a:gd name="connsiteY222" fmla="*/ 2225029 h 2506837"/>
                    <a:gd name="connsiteX223" fmla="*/ 847456 w 1972055"/>
                    <a:gd name="connsiteY223" fmla="*/ 2226575 h 2506837"/>
                    <a:gd name="connsiteX224" fmla="*/ 836637 w 1972055"/>
                    <a:gd name="connsiteY224" fmla="*/ 2242391 h 2506837"/>
                    <a:gd name="connsiteX225" fmla="*/ 863670 w 1972055"/>
                    <a:gd name="connsiteY225" fmla="*/ 2296853 h 2506837"/>
                    <a:gd name="connsiteX226" fmla="*/ 846017 w 1972055"/>
                    <a:gd name="connsiteY226" fmla="*/ 2310652 h 2506837"/>
                    <a:gd name="connsiteX227" fmla="*/ 842046 w 1972055"/>
                    <a:gd name="connsiteY227" fmla="*/ 2336338 h 2506837"/>
                    <a:gd name="connsiteX228" fmla="*/ 824836 w 1972055"/>
                    <a:gd name="connsiteY228" fmla="*/ 2355916 h 2506837"/>
                    <a:gd name="connsiteX229" fmla="*/ 852850 w 1972055"/>
                    <a:gd name="connsiteY229" fmla="*/ 2386309 h 2506837"/>
                    <a:gd name="connsiteX230" fmla="*/ 885809 w 1972055"/>
                    <a:gd name="connsiteY230" fmla="*/ 2413723 h 2506837"/>
                    <a:gd name="connsiteX231" fmla="*/ 986402 w 1972055"/>
                    <a:gd name="connsiteY231" fmla="*/ 2446625 h 2506837"/>
                    <a:gd name="connsiteX232" fmla="*/ 989661 w 1972055"/>
                    <a:gd name="connsiteY232" fmla="*/ 2445434 h 2506837"/>
                    <a:gd name="connsiteX233" fmla="*/ 1007978 w 1972055"/>
                    <a:gd name="connsiteY233" fmla="*/ 2448278 h 2506837"/>
                    <a:gd name="connsiteX234" fmla="*/ 1022833 w 1972055"/>
                    <a:gd name="connsiteY234" fmla="*/ 2466379 h 2506837"/>
                    <a:gd name="connsiteX235" fmla="*/ 1052056 w 1972055"/>
                    <a:gd name="connsiteY235" fmla="*/ 2433776 h 2506837"/>
                    <a:gd name="connsiteX236" fmla="*/ 1052931 w 1972055"/>
                    <a:gd name="connsiteY236" fmla="*/ 2427719 h 2506837"/>
                    <a:gd name="connsiteX237" fmla="*/ 1058798 w 1972055"/>
                    <a:gd name="connsiteY237" fmla="*/ 2429453 h 2506837"/>
                    <a:gd name="connsiteX238" fmla="*/ 1081975 w 1972055"/>
                    <a:gd name="connsiteY238" fmla="*/ 2420851 h 2506837"/>
                    <a:gd name="connsiteX239" fmla="*/ 1083416 w 1972055"/>
                    <a:gd name="connsiteY239" fmla="*/ 2418617 h 2506837"/>
                    <a:gd name="connsiteX240" fmla="*/ 1086062 w 1972055"/>
                    <a:gd name="connsiteY240" fmla="*/ 2418443 h 2506837"/>
                    <a:gd name="connsiteX241" fmla="*/ 1105754 w 1972055"/>
                    <a:gd name="connsiteY241" fmla="*/ 2437566 h 2506837"/>
                    <a:gd name="connsiteX242" fmla="*/ 1112513 w 1972055"/>
                    <a:gd name="connsiteY242" fmla="*/ 2450588 h 2506837"/>
                    <a:gd name="connsiteX243" fmla="*/ 1134584 w 1972055"/>
                    <a:gd name="connsiteY243" fmla="*/ 2454651 h 2506837"/>
                    <a:gd name="connsiteX244" fmla="*/ 1206695 w 1972055"/>
                    <a:gd name="connsiteY244" fmla="*/ 2449002 h 2506837"/>
                    <a:gd name="connsiteX245" fmla="*/ 1293887 w 1972055"/>
                    <a:gd name="connsiteY245" fmla="*/ 2457274 h 2506837"/>
                    <a:gd name="connsiteX246" fmla="*/ 1300716 w 1972055"/>
                    <a:gd name="connsiteY246" fmla="*/ 2460431 h 2506837"/>
                    <a:gd name="connsiteX247" fmla="*/ 1295442 w 1972055"/>
                    <a:gd name="connsiteY247" fmla="*/ 2465796 h 2506837"/>
                    <a:gd name="connsiteX248" fmla="*/ 1295270 w 1972055"/>
                    <a:gd name="connsiteY248" fmla="*/ 2468062 h 2506837"/>
                    <a:gd name="connsiteX249" fmla="*/ 1302386 w 1972055"/>
                    <a:gd name="connsiteY249" fmla="*/ 2473368 h 2506837"/>
                    <a:gd name="connsiteX250" fmla="*/ 1314972 w 1972055"/>
                    <a:gd name="connsiteY250" fmla="*/ 2470553 h 2506837"/>
                    <a:gd name="connsiteX251" fmla="*/ 1325096 w 1972055"/>
                    <a:gd name="connsiteY251" fmla="*/ 2467612 h 2506837"/>
                    <a:gd name="connsiteX252" fmla="*/ 1335683 w 1972055"/>
                    <a:gd name="connsiteY252" fmla="*/ 2466778 h 2506837"/>
                    <a:gd name="connsiteX253" fmla="*/ 1347576 w 1972055"/>
                    <a:gd name="connsiteY253" fmla="*/ 2465323 h 2506837"/>
                    <a:gd name="connsiteX254" fmla="*/ 1359307 w 1972055"/>
                    <a:gd name="connsiteY254" fmla="*/ 2457199 h 2506837"/>
                    <a:gd name="connsiteX255" fmla="*/ 1371506 w 1972055"/>
                    <a:gd name="connsiteY255" fmla="*/ 2448275 h 2506837"/>
                    <a:gd name="connsiteX256" fmla="*/ 1395518 w 1972055"/>
                    <a:gd name="connsiteY256" fmla="*/ 2451943 h 2506837"/>
                    <a:gd name="connsiteX257" fmla="*/ 1397188 w 1972055"/>
                    <a:gd name="connsiteY257" fmla="*/ 2453793 h 2506837"/>
                    <a:gd name="connsiteX258" fmla="*/ 1401467 w 1972055"/>
                    <a:gd name="connsiteY258" fmla="*/ 2452240 h 2506837"/>
                    <a:gd name="connsiteX259" fmla="*/ 1432462 w 1972055"/>
                    <a:gd name="connsiteY259" fmla="*/ 2461130 h 2506837"/>
                    <a:gd name="connsiteX260" fmla="*/ 1434499 w 1972055"/>
                    <a:gd name="connsiteY260" fmla="*/ 2462781 h 2506837"/>
                    <a:gd name="connsiteX261" fmla="*/ 1462899 w 1972055"/>
                    <a:gd name="connsiteY261" fmla="*/ 2474948 h 2506837"/>
                    <a:gd name="connsiteX262" fmla="*/ 1467271 w 1972055"/>
                    <a:gd name="connsiteY262" fmla="*/ 2473107 h 2506837"/>
                    <a:gd name="connsiteX263" fmla="*/ 1486080 w 1972055"/>
                    <a:gd name="connsiteY263" fmla="*/ 2506838 h 2506837"/>
                    <a:gd name="connsiteX264" fmla="*/ 1489398 w 1972055"/>
                    <a:gd name="connsiteY264" fmla="*/ 2497092 h 2506837"/>
                    <a:gd name="connsiteX265" fmla="*/ 1496268 w 1972055"/>
                    <a:gd name="connsiteY265" fmla="*/ 2480532 h 2506837"/>
                    <a:gd name="connsiteX266" fmla="*/ 1541962 w 1972055"/>
                    <a:gd name="connsiteY266" fmla="*/ 2487224 h 2506837"/>
                    <a:gd name="connsiteX267" fmla="*/ 1566442 w 1972055"/>
                    <a:gd name="connsiteY267" fmla="*/ 2496587 h 2506837"/>
                    <a:gd name="connsiteX268" fmla="*/ 1571946 w 1972055"/>
                    <a:gd name="connsiteY268" fmla="*/ 2492791 h 2506837"/>
                    <a:gd name="connsiteX269" fmla="*/ 1582700 w 1972055"/>
                    <a:gd name="connsiteY269" fmla="*/ 2474579 h 2506837"/>
                    <a:gd name="connsiteX270" fmla="*/ 1581795 w 1972055"/>
                    <a:gd name="connsiteY270" fmla="*/ 2495715 h 2506837"/>
                    <a:gd name="connsiteX271" fmla="*/ 1584875 w 1972055"/>
                    <a:gd name="connsiteY271" fmla="*/ 2502509 h 2506837"/>
                    <a:gd name="connsiteX272" fmla="*/ 1591846 w 1972055"/>
                    <a:gd name="connsiteY272" fmla="*/ 2505147 h 2506837"/>
                    <a:gd name="connsiteX273" fmla="*/ 1598115 w 1972055"/>
                    <a:gd name="connsiteY273" fmla="*/ 2501108 h 2506837"/>
                    <a:gd name="connsiteX274" fmla="*/ 1599695 w 1972055"/>
                    <a:gd name="connsiteY274" fmla="*/ 2493824 h 2506837"/>
                    <a:gd name="connsiteX275" fmla="*/ 1598312 w 1972055"/>
                    <a:gd name="connsiteY275" fmla="*/ 2490184 h 2506837"/>
                    <a:gd name="connsiteX276" fmla="*/ 1595948 w 1972055"/>
                    <a:gd name="connsiteY276" fmla="*/ 2479724 h 2506837"/>
                    <a:gd name="connsiteX277" fmla="*/ 1608414 w 1972055"/>
                    <a:gd name="connsiteY277" fmla="*/ 2464871 h 2506837"/>
                    <a:gd name="connsiteX278" fmla="*/ 1616059 w 1972055"/>
                    <a:gd name="connsiteY278" fmla="*/ 2457998 h 2506837"/>
                    <a:gd name="connsiteX279" fmla="*/ 1613802 w 1972055"/>
                    <a:gd name="connsiteY279" fmla="*/ 2450817 h 2506837"/>
                    <a:gd name="connsiteX280" fmla="*/ 1611434 w 1972055"/>
                    <a:gd name="connsiteY280" fmla="*/ 2445495 h 2506837"/>
                    <a:gd name="connsiteX281" fmla="*/ 1614129 w 1972055"/>
                    <a:gd name="connsiteY281" fmla="*/ 2430810 h 2506837"/>
                    <a:gd name="connsiteX282" fmla="*/ 1528714 w 1972055"/>
                    <a:gd name="connsiteY282" fmla="*/ 2379446 h 2506837"/>
                    <a:gd name="connsiteX283" fmla="*/ 1510385 w 1972055"/>
                    <a:gd name="connsiteY283" fmla="*/ 2355454 h 2506837"/>
                    <a:gd name="connsiteX284" fmla="*/ 1479575 w 1972055"/>
                    <a:gd name="connsiteY284" fmla="*/ 2290994 h 2506837"/>
                    <a:gd name="connsiteX285" fmla="*/ 1418146 w 1972055"/>
                    <a:gd name="connsiteY285" fmla="*/ 2270557 h 2506837"/>
                    <a:gd name="connsiteX286" fmla="*/ 1428756 w 1972055"/>
                    <a:gd name="connsiteY286" fmla="*/ 2127322 h 2506837"/>
                    <a:gd name="connsiteX287" fmla="*/ 1457805 w 1972055"/>
                    <a:gd name="connsiteY287" fmla="*/ 2136927 h 2506837"/>
                    <a:gd name="connsiteX288" fmla="*/ 1498736 w 1972055"/>
                    <a:gd name="connsiteY288" fmla="*/ 2065463 h 2506837"/>
                    <a:gd name="connsiteX289" fmla="*/ 1462539 w 1972055"/>
                    <a:gd name="connsiteY289" fmla="*/ 2027812 h 2506837"/>
                    <a:gd name="connsiteX290" fmla="*/ 1494151 w 1972055"/>
                    <a:gd name="connsiteY290" fmla="*/ 2031363 h 2506837"/>
                    <a:gd name="connsiteX291" fmla="*/ 1402643 w 1972055"/>
                    <a:gd name="connsiteY291" fmla="*/ 1942421 h 2506837"/>
                    <a:gd name="connsiteX292" fmla="*/ 1392559 w 1972055"/>
                    <a:gd name="connsiteY292" fmla="*/ 1974034 h 2506837"/>
                    <a:gd name="connsiteX293" fmla="*/ 1360251 w 1972055"/>
                    <a:gd name="connsiteY293" fmla="*/ 1961139 h 2506837"/>
                    <a:gd name="connsiteX294" fmla="*/ 1336227 w 1972055"/>
                    <a:gd name="connsiteY294" fmla="*/ 1929607 h 2506837"/>
                    <a:gd name="connsiteX295" fmla="*/ 1312482 w 1972055"/>
                    <a:gd name="connsiteY295" fmla="*/ 1928791 h 2506837"/>
                    <a:gd name="connsiteX296" fmla="*/ 1310714 w 1972055"/>
                    <a:gd name="connsiteY296" fmla="*/ 1885495 h 2506837"/>
                    <a:gd name="connsiteX297" fmla="*/ 1283004 w 1972055"/>
                    <a:gd name="connsiteY297" fmla="*/ 1787838 h 2506837"/>
                    <a:gd name="connsiteX298" fmla="*/ 1289750 w 1972055"/>
                    <a:gd name="connsiteY298" fmla="*/ 1761423 h 2506837"/>
                    <a:gd name="connsiteX299" fmla="*/ 1321724 w 1972055"/>
                    <a:gd name="connsiteY299" fmla="*/ 1766957 h 2506837"/>
                    <a:gd name="connsiteX300" fmla="*/ 1332391 w 1972055"/>
                    <a:gd name="connsiteY300" fmla="*/ 1801346 h 2506837"/>
                    <a:gd name="connsiteX301" fmla="*/ 1363331 w 1972055"/>
                    <a:gd name="connsiteY301" fmla="*/ 1795578 h 2506837"/>
                    <a:gd name="connsiteX302" fmla="*/ 1355928 w 1972055"/>
                    <a:gd name="connsiteY302" fmla="*/ 1758063 h 2506837"/>
                    <a:gd name="connsiteX303" fmla="*/ 1340973 w 1972055"/>
                    <a:gd name="connsiteY303" fmla="*/ 1721897 h 2506837"/>
                    <a:gd name="connsiteX304" fmla="*/ 1373397 w 1972055"/>
                    <a:gd name="connsiteY304" fmla="*/ 1726877 h 2506837"/>
                    <a:gd name="connsiteX305" fmla="*/ 1379323 w 1972055"/>
                    <a:gd name="connsiteY305" fmla="*/ 1659554 h 2506837"/>
                    <a:gd name="connsiteX306" fmla="*/ 1429925 w 1972055"/>
                    <a:gd name="connsiteY306" fmla="*/ 1591491 h 2506837"/>
                    <a:gd name="connsiteX307" fmla="*/ 1445299 w 1972055"/>
                    <a:gd name="connsiteY307" fmla="*/ 1617987 h 2506837"/>
                    <a:gd name="connsiteX308" fmla="*/ 1488403 w 1972055"/>
                    <a:gd name="connsiteY308" fmla="*/ 1557328 h 2506837"/>
                    <a:gd name="connsiteX309" fmla="*/ 1510149 w 1972055"/>
                    <a:gd name="connsiteY309" fmla="*/ 1572404 h 2506837"/>
                    <a:gd name="connsiteX310" fmla="*/ 1519337 w 1972055"/>
                    <a:gd name="connsiteY310" fmla="*/ 1551951 h 2506837"/>
                    <a:gd name="connsiteX311" fmla="*/ 1547970 w 1972055"/>
                    <a:gd name="connsiteY311" fmla="*/ 1555450 h 2506837"/>
                    <a:gd name="connsiteX312" fmla="*/ 1664695 w 1972055"/>
                    <a:gd name="connsiteY312" fmla="*/ 1598946 h 2506837"/>
                    <a:gd name="connsiteX313" fmla="*/ 1632139 w 1972055"/>
                    <a:gd name="connsiteY313" fmla="*/ 1556698 h 2506837"/>
                    <a:gd name="connsiteX314" fmla="*/ 1706426 w 1972055"/>
                    <a:gd name="connsiteY314" fmla="*/ 1566845 h 2506837"/>
                    <a:gd name="connsiteX315" fmla="*/ 1763899 w 1972055"/>
                    <a:gd name="connsiteY315" fmla="*/ 1499772 h 2506837"/>
                    <a:gd name="connsiteX316" fmla="*/ 1780311 w 1972055"/>
                    <a:gd name="connsiteY316" fmla="*/ 1503442 h 2506837"/>
                    <a:gd name="connsiteX317" fmla="*/ 1833375 w 1972055"/>
                    <a:gd name="connsiteY317" fmla="*/ 1450259 h 2506837"/>
                    <a:gd name="connsiteX318" fmla="*/ 1838629 w 1972055"/>
                    <a:gd name="connsiteY318" fmla="*/ 1468789 h 2506837"/>
                    <a:gd name="connsiteX319" fmla="*/ 1891787 w 1972055"/>
                    <a:gd name="connsiteY319" fmla="*/ 1458438 h 2506837"/>
                    <a:gd name="connsiteX320" fmla="*/ 1892509 w 1972055"/>
                    <a:gd name="connsiteY320" fmla="*/ 1434997 h 2506837"/>
                    <a:gd name="connsiteX321" fmla="*/ 1942815 w 1972055"/>
                    <a:gd name="connsiteY321" fmla="*/ 1419641 h 2506837"/>
                    <a:gd name="connsiteX322" fmla="*/ 1963591 w 1972055"/>
                    <a:gd name="connsiteY322" fmla="*/ 1346145 h 250683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  <a:cxn ang="0">
                      <a:pos x="connsiteX86" y="connsiteY86"/>
                    </a:cxn>
                    <a:cxn ang="0">
                      <a:pos x="connsiteX87" y="connsiteY87"/>
                    </a:cxn>
                    <a:cxn ang="0">
                      <a:pos x="connsiteX88" y="connsiteY88"/>
                    </a:cxn>
                    <a:cxn ang="0">
                      <a:pos x="connsiteX89" y="connsiteY89"/>
                    </a:cxn>
                    <a:cxn ang="0">
                      <a:pos x="connsiteX90" y="connsiteY90"/>
                    </a:cxn>
                    <a:cxn ang="0">
                      <a:pos x="connsiteX91" y="connsiteY91"/>
                    </a:cxn>
                    <a:cxn ang="0">
                      <a:pos x="connsiteX92" y="connsiteY92"/>
                    </a:cxn>
                    <a:cxn ang="0">
                      <a:pos x="connsiteX93" y="connsiteY93"/>
                    </a:cxn>
                    <a:cxn ang="0">
                      <a:pos x="connsiteX94" y="connsiteY94"/>
                    </a:cxn>
                    <a:cxn ang="0">
                      <a:pos x="connsiteX95" y="connsiteY95"/>
                    </a:cxn>
                    <a:cxn ang="0">
                      <a:pos x="connsiteX96" y="connsiteY96"/>
                    </a:cxn>
                    <a:cxn ang="0">
                      <a:pos x="connsiteX97" y="connsiteY97"/>
                    </a:cxn>
                    <a:cxn ang="0">
                      <a:pos x="connsiteX98" y="connsiteY98"/>
                    </a:cxn>
                    <a:cxn ang="0">
                      <a:pos x="connsiteX99" y="connsiteY99"/>
                    </a:cxn>
                    <a:cxn ang="0">
                      <a:pos x="connsiteX100" y="connsiteY100"/>
                    </a:cxn>
                    <a:cxn ang="0">
                      <a:pos x="connsiteX101" y="connsiteY101"/>
                    </a:cxn>
                    <a:cxn ang="0">
                      <a:pos x="connsiteX102" y="connsiteY102"/>
                    </a:cxn>
                    <a:cxn ang="0">
                      <a:pos x="connsiteX103" y="connsiteY103"/>
                    </a:cxn>
                    <a:cxn ang="0">
                      <a:pos x="connsiteX104" y="connsiteY104"/>
                    </a:cxn>
                    <a:cxn ang="0">
                      <a:pos x="connsiteX105" y="connsiteY105"/>
                    </a:cxn>
                    <a:cxn ang="0">
                      <a:pos x="connsiteX106" y="connsiteY106"/>
                    </a:cxn>
                    <a:cxn ang="0">
                      <a:pos x="connsiteX107" y="connsiteY107"/>
                    </a:cxn>
                    <a:cxn ang="0">
                      <a:pos x="connsiteX108" y="connsiteY108"/>
                    </a:cxn>
                    <a:cxn ang="0">
                      <a:pos x="connsiteX109" y="connsiteY109"/>
                    </a:cxn>
                    <a:cxn ang="0">
                      <a:pos x="connsiteX110" y="connsiteY110"/>
                    </a:cxn>
                    <a:cxn ang="0">
                      <a:pos x="connsiteX111" y="connsiteY111"/>
                    </a:cxn>
                    <a:cxn ang="0">
                      <a:pos x="connsiteX112" y="connsiteY112"/>
                    </a:cxn>
                    <a:cxn ang="0">
                      <a:pos x="connsiteX113" y="connsiteY113"/>
                    </a:cxn>
                    <a:cxn ang="0">
                      <a:pos x="connsiteX114" y="connsiteY114"/>
                    </a:cxn>
                    <a:cxn ang="0">
                      <a:pos x="connsiteX115" y="connsiteY115"/>
                    </a:cxn>
                    <a:cxn ang="0">
                      <a:pos x="connsiteX116" y="connsiteY116"/>
                    </a:cxn>
                    <a:cxn ang="0">
                      <a:pos x="connsiteX117" y="connsiteY117"/>
                    </a:cxn>
                    <a:cxn ang="0">
                      <a:pos x="connsiteX118" y="connsiteY118"/>
                    </a:cxn>
                    <a:cxn ang="0">
                      <a:pos x="connsiteX119" y="connsiteY119"/>
                    </a:cxn>
                    <a:cxn ang="0">
                      <a:pos x="connsiteX120" y="connsiteY120"/>
                    </a:cxn>
                    <a:cxn ang="0">
                      <a:pos x="connsiteX121" y="connsiteY121"/>
                    </a:cxn>
                    <a:cxn ang="0">
                      <a:pos x="connsiteX122" y="connsiteY122"/>
                    </a:cxn>
                    <a:cxn ang="0">
                      <a:pos x="connsiteX123" y="connsiteY123"/>
                    </a:cxn>
                    <a:cxn ang="0">
                      <a:pos x="connsiteX124" y="connsiteY124"/>
                    </a:cxn>
                    <a:cxn ang="0">
                      <a:pos x="connsiteX125" y="connsiteY125"/>
                    </a:cxn>
                    <a:cxn ang="0">
                      <a:pos x="connsiteX126" y="connsiteY126"/>
                    </a:cxn>
                    <a:cxn ang="0">
                      <a:pos x="connsiteX127" y="connsiteY127"/>
                    </a:cxn>
                    <a:cxn ang="0">
                      <a:pos x="connsiteX128" y="connsiteY128"/>
                    </a:cxn>
                    <a:cxn ang="0">
                      <a:pos x="connsiteX129" y="connsiteY129"/>
                    </a:cxn>
                    <a:cxn ang="0">
                      <a:pos x="connsiteX130" y="connsiteY130"/>
                    </a:cxn>
                    <a:cxn ang="0">
                      <a:pos x="connsiteX131" y="connsiteY131"/>
                    </a:cxn>
                    <a:cxn ang="0">
                      <a:pos x="connsiteX132" y="connsiteY132"/>
                    </a:cxn>
                    <a:cxn ang="0">
                      <a:pos x="connsiteX133" y="connsiteY133"/>
                    </a:cxn>
                    <a:cxn ang="0">
                      <a:pos x="connsiteX134" y="connsiteY134"/>
                    </a:cxn>
                    <a:cxn ang="0">
                      <a:pos x="connsiteX135" y="connsiteY135"/>
                    </a:cxn>
                    <a:cxn ang="0">
                      <a:pos x="connsiteX136" y="connsiteY136"/>
                    </a:cxn>
                    <a:cxn ang="0">
                      <a:pos x="connsiteX137" y="connsiteY137"/>
                    </a:cxn>
                    <a:cxn ang="0">
                      <a:pos x="connsiteX138" y="connsiteY138"/>
                    </a:cxn>
                    <a:cxn ang="0">
                      <a:pos x="connsiteX139" y="connsiteY139"/>
                    </a:cxn>
                    <a:cxn ang="0">
                      <a:pos x="connsiteX140" y="connsiteY140"/>
                    </a:cxn>
                    <a:cxn ang="0">
                      <a:pos x="connsiteX141" y="connsiteY141"/>
                    </a:cxn>
                    <a:cxn ang="0">
                      <a:pos x="connsiteX142" y="connsiteY142"/>
                    </a:cxn>
                    <a:cxn ang="0">
                      <a:pos x="connsiteX143" y="connsiteY143"/>
                    </a:cxn>
                    <a:cxn ang="0">
                      <a:pos x="connsiteX144" y="connsiteY144"/>
                    </a:cxn>
                    <a:cxn ang="0">
                      <a:pos x="connsiteX145" y="connsiteY145"/>
                    </a:cxn>
                    <a:cxn ang="0">
                      <a:pos x="connsiteX146" y="connsiteY146"/>
                    </a:cxn>
                    <a:cxn ang="0">
                      <a:pos x="connsiteX147" y="connsiteY147"/>
                    </a:cxn>
                    <a:cxn ang="0">
                      <a:pos x="connsiteX148" y="connsiteY148"/>
                    </a:cxn>
                    <a:cxn ang="0">
                      <a:pos x="connsiteX149" y="connsiteY149"/>
                    </a:cxn>
                    <a:cxn ang="0">
                      <a:pos x="connsiteX150" y="connsiteY150"/>
                    </a:cxn>
                    <a:cxn ang="0">
                      <a:pos x="connsiteX151" y="connsiteY151"/>
                    </a:cxn>
                    <a:cxn ang="0">
                      <a:pos x="connsiteX152" y="connsiteY152"/>
                    </a:cxn>
                    <a:cxn ang="0">
                      <a:pos x="connsiteX153" y="connsiteY153"/>
                    </a:cxn>
                    <a:cxn ang="0">
                      <a:pos x="connsiteX154" y="connsiteY154"/>
                    </a:cxn>
                    <a:cxn ang="0">
                      <a:pos x="connsiteX155" y="connsiteY155"/>
                    </a:cxn>
                    <a:cxn ang="0">
                      <a:pos x="connsiteX156" y="connsiteY156"/>
                    </a:cxn>
                    <a:cxn ang="0">
                      <a:pos x="connsiteX157" y="connsiteY157"/>
                    </a:cxn>
                    <a:cxn ang="0">
                      <a:pos x="connsiteX158" y="connsiteY158"/>
                    </a:cxn>
                    <a:cxn ang="0">
                      <a:pos x="connsiteX159" y="connsiteY159"/>
                    </a:cxn>
                    <a:cxn ang="0">
                      <a:pos x="connsiteX160" y="connsiteY160"/>
                    </a:cxn>
                    <a:cxn ang="0">
                      <a:pos x="connsiteX161" y="connsiteY161"/>
                    </a:cxn>
                    <a:cxn ang="0">
                      <a:pos x="connsiteX162" y="connsiteY162"/>
                    </a:cxn>
                    <a:cxn ang="0">
                      <a:pos x="connsiteX163" y="connsiteY163"/>
                    </a:cxn>
                    <a:cxn ang="0">
                      <a:pos x="connsiteX164" y="connsiteY164"/>
                    </a:cxn>
                    <a:cxn ang="0">
                      <a:pos x="connsiteX165" y="connsiteY165"/>
                    </a:cxn>
                    <a:cxn ang="0">
                      <a:pos x="connsiteX166" y="connsiteY166"/>
                    </a:cxn>
                    <a:cxn ang="0">
                      <a:pos x="connsiteX167" y="connsiteY167"/>
                    </a:cxn>
                    <a:cxn ang="0">
                      <a:pos x="connsiteX168" y="connsiteY168"/>
                    </a:cxn>
                    <a:cxn ang="0">
                      <a:pos x="connsiteX169" y="connsiteY169"/>
                    </a:cxn>
                    <a:cxn ang="0">
                      <a:pos x="connsiteX170" y="connsiteY170"/>
                    </a:cxn>
                    <a:cxn ang="0">
                      <a:pos x="connsiteX171" y="connsiteY171"/>
                    </a:cxn>
                    <a:cxn ang="0">
                      <a:pos x="connsiteX172" y="connsiteY172"/>
                    </a:cxn>
                    <a:cxn ang="0">
                      <a:pos x="connsiteX173" y="connsiteY173"/>
                    </a:cxn>
                    <a:cxn ang="0">
                      <a:pos x="connsiteX174" y="connsiteY174"/>
                    </a:cxn>
                    <a:cxn ang="0">
                      <a:pos x="connsiteX175" y="connsiteY175"/>
                    </a:cxn>
                    <a:cxn ang="0">
                      <a:pos x="connsiteX176" y="connsiteY176"/>
                    </a:cxn>
                    <a:cxn ang="0">
                      <a:pos x="connsiteX177" y="connsiteY177"/>
                    </a:cxn>
                    <a:cxn ang="0">
                      <a:pos x="connsiteX178" y="connsiteY178"/>
                    </a:cxn>
                    <a:cxn ang="0">
                      <a:pos x="connsiteX179" y="connsiteY179"/>
                    </a:cxn>
                    <a:cxn ang="0">
                      <a:pos x="connsiteX180" y="connsiteY180"/>
                    </a:cxn>
                    <a:cxn ang="0">
                      <a:pos x="connsiteX181" y="connsiteY181"/>
                    </a:cxn>
                    <a:cxn ang="0">
                      <a:pos x="connsiteX182" y="connsiteY182"/>
                    </a:cxn>
                    <a:cxn ang="0">
                      <a:pos x="connsiteX183" y="connsiteY183"/>
                    </a:cxn>
                    <a:cxn ang="0">
                      <a:pos x="connsiteX184" y="connsiteY184"/>
                    </a:cxn>
                    <a:cxn ang="0">
                      <a:pos x="connsiteX185" y="connsiteY185"/>
                    </a:cxn>
                    <a:cxn ang="0">
                      <a:pos x="connsiteX186" y="connsiteY186"/>
                    </a:cxn>
                    <a:cxn ang="0">
                      <a:pos x="connsiteX187" y="connsiteY187"/>
                    </a:cxn>
                    <a:cxn ang="0">
                      <a:pos x="connsiteX188" y="connsiteY188"/>
                    </a:cxn>
                    <a:cxn ang="0">
                      <a:pos x="connsiteX189" y="connsiteY189"/>
                    </a:cxn>
                    <a:cxn ang="0">
                      <a:pos x="connsiteX190" y="connsiteY190"/>
                    </a:cxn>
                    <a:cxn ang="0">
                      <a:pos x="connsiteX191" y="connsiteY191"/>
                    </a:cxn>
                    <a:cxn ang="0">
                      <a:pos x="connsiteX192" y="connsiteY192"/>
                    </a:cxn>
                    <a:cxn ang="0">
                      <a:pos x="connsiteX193" y="connsiteY193"/>
                    </a:cxn>
                    <a:cxn ang="0">
                      <a:pos x="connsiteX194" y="connsiteY194"/>
                    </a:cxn>
                    <a:cxn ang="0">
                      <a:pos x="connsiteX195" y="connsiteY195"/>
                    </a:cxn>
                    <a:cxn ang="0">
                      <a:pos x="connsiteX196" y="connsiteY196"/>
                    </a:cxn>
                    <a:cxn ang="0">
                      <a:pos x="connsiteX197" y="connsiteY197"/>
                    </a:cxn>
                    <a:cxn ang="0">
                      <a:pos x="connsiteX198" y="connsiteY198"/>
                    </a:cxn>
                    <a:cxn ang="0">
                      <a:pos x="connsiteX199" y="connsiteY199"/>
                    </a:cxn>
                    <a:cxn ang="0">
                      <a:pos x="connsiteX200" y="connsiteY200"/>
                    </a:cxn>
                    <a:cxn ang="0">
                      <a:pos x="connsiteX201" y="connsiteY201"/>
                    </a:cxn>
                    <a:cxn ang="0">
                      <a:pos x="connsiteX202" y="connsiteY202"/>
                    </a:cxn>
                    <a:cxn ang="0">
                      <a:pos x="connsiteX203" y="connsiteY203"/>
                    </a:cxn>
                    <a:cxn ang="0">
                      <a:pos x="connsiteX204" y="connsiteY204"/>
                    </a:cxn>
                    <a:cxn ang="0">
                      <a:pos x="connsiteX205" y="connsiteY205"/>
                    </a:cxn>
                    <a:cxn ang="0">
                      <a:pos x="connsiteX206" y="connsiteY206"/>
                    </a:cxn>
                    <a:cxn ang="0">
                      <a:pos x="connsiteX207" y="connsiteY207"/>
                    </a:cxn>
                    <a:cxn ang="0">
                      <a:pos x="connsiteX208" y="connsiteY208"/>
                    </a:cxn>
                    <a:cxn ang="0">
                      <a:pos x="connsiteX209" y="connsiteY209"/>
                    </a:cxn>
                    <a:cxn ang="0">
                      <a:pos x="connsiteX210" y="connsiteY210"/>
                    </a:cxn>
                    <a:cxn ang="0">
                      <a:pos x="connsiteX211" y="connsiteY211"/>
                    </a:cxn>
                    <a:cxn ang="0">
                      <a:pos x="connsiteX212" y="connsiteY212"/>
                    </a:cxn>
                    <a:cxn ang="0">
                      <a:pos x="connsiteX213" y="connsiteY213"/>
                    </a:cxn>
                    <a:cxn ang="0">
                      <a:pos x="connsiteX214" y="connsiteY214"/>
                    </a:cxn>
                    <a:cxn ang="0">
                      <a:pos x="connsiteX215" y="connsiteY215"/>
                    </a:cxn>
                    <a:cxn ang="0">
                      <a:pos x="connsiteX216" y="connsiteY216"/>
                    </a:cxn>
                    <a:cxn ang="0">
                      <a:pos x="connsiteX217" y="connsiteY217"/>
                    </a:cxn>
                    <a:cxn ang="0">
                      <a:pos x="connsiteX218" y="connsiteY218"/>
                    </a:cxn>
                    <a:cxn ang="0">
                      <a:pos x="connsiteX219" y="connsiteY219"/>
                    </a:cxn>
                    <a:cxn ang="0">
                      <a:pos x="connsiteX220" y="connsiteY220"/>
                    </a:cxn>
                    <a:cxn ang="0">
                      <a:pos x="connsiteX221" y="connsiteY221"/>
                    </a:cxn>
                    <a:cxn ang="0">
                      <a:pos x="connsiteX222" y="connsiteY222"/>
                    </a:cxn>
                    <a:cxn ang="0">
                      <a:pos x="connsiteX223" y="connsiteY223"/>
                    </a:cxn>
                    <a:cxn ang="0">
                      <a:pos x="connsiteX224" y="connsiteY224"/>
                    </a:cxn>
                    <a:cxn ang="0">
                      <a:pos x="connsiteX225" y="connsiteY225"/>
                    </a:cxn>
                    <a:cxn ang="0">
                      <a:pos x="connsiteX226" y="connsiteY226"/>
                    </a:cxn>
                    <a:cxn ang="0">
                      <a:pos x="connsiteX227" y="connsiteY227"/>
                    </a:cxn>
                    <a:cxn ang="0">
                      <a:pos x="connsiteX228" y="connsiteY228"/>
                    </a:cxn>
                    <a:cxn ang="0">
                      <a:pos x="connsiteX229" y="connsiteY229"/>
                    </a:cxn>
                    <a:cxn ang="0">
                      <a:pos x="connsiteX230" y="connsiteY230"/>
                    </a:cxn>
                    <a:cxn ang="0">
                      <a:pos x="connsiteX231" y="connsiteY231"/>
                    </a:cxn>
                    <a:cxn ang="0">
                      <a:pos x="connsiteX232" y="connsiteY232"/>
                    </a:cxn>
                    <a:cxn ang="0">
                      <a:pos x="connsiteX233" y="connsiteY233"/>
                    </a:cxn>
                    <a:cxn ang="0">
                      <a:pos x="connsiteX234" y="connsiteY234"/>
                    </a:cxn>
                    <a:cxn ang="0">
                      <a:pos x="connsiteX235" y="connsiteY235"/>
                    </a:cxn>
                    <a:cxn ang="0">
                      <a:pos x="connsiteX236" y="connsiteY236"/>
                    </a:cxn>
                    <a:cxn ang="0">
                      <a:pos x="connsiteX237" y="connsiteY237"/>
                    </a:cxn>
                    <a:cxn ang="0">
                      <a:pos x="connsiteX238" y="connsiteY238"/>
                    </a:cxn>
                    <a:cxn ang="0">
                      <a:pos x="connsiteX239" y="connsiteY239"/>
                    </a:cxn>
                    <a:cxn ang="0">
                      <a:pos x="connsiteX240" y="connsiteY240"/>
                    </a:cxn>
                    <a:cxn ang="0">
                      <a:pos x="connsiteX241" y="connsiteY241"/>
                    </a:cxn>
                    <a:cxn ang="0">
                      <a:pos x="connsiteX242" y="connsiteY242"/>
                    </a:cxn>
                    <a:cxn ang="0">
                      <a:pos x="connsiteX243" y="connsiteY243"/>
                    </a:cxn>
                    <a:cxn ang="0">
                      <a:pos x="connsiteX244" y="connsiteY244"/>
                    </a:cxn>
                    <a:cxn ang="0">
                      <a:pos x="connsiteX245" y="connsiteY245"/>
                    </a:cxn>
                    <a:cxn ang="0">
                      <a:pos x="connsiteX246" y="connsiteY246"/>
                    </a:cxn>
                    <a:cxn ang="0">
                      <a:pos x="connsiteX247" y="connsiteY247"/>
                    </a:cxn>
                    <a:cxn ang="0">
                      <a:pos x="connsiteX248" y="connsiteY248"/>
                    </a:cxn>
                    <a:cxn ang="0">
                      <a:pos x="connsiteX249" y="connsiteY249"/>
                    </a:cxn>
                    <a:cxn ang="0">
                      <a:pos x="connsiteX250" y="connsiteY250"/>
                    </a:cxn>
                    <a:cxn ang="0">
                      <a:pos x="connsiteX251" y="connsiteY251"/>
                    </a:cxn>
                    <a:cxn ang="0">
                      <a:pos x="connsiteX252" y="connsiteY252"/>
                    </a:cxn>
                    <a:cxn ang="0">
                      <a:pos x="connsiteX253" y="connsiteY253"/>
                    </a:cxn>
                    <a:cxn ang="0">
                      <a:pos x="connsiteX254" y="connsiteY254"/>
                    </a:cxn>
                    <a:cxn ang="0">
                      <a:pos x="connsiteX255" y="connsiteY255"/>
                    </a:cxn>
                    <a:cxn ang="0">
                      <a:pos x="connsiteX256" y="connsiteY256"/>
                    </a:cxn>
                    <a:cxn ang="0">
                      <a:pos x="connsiteX257" y="connsiteY257"/>
                    </a:cxn>
                    <a:cxn ang="0">
                      <a:pos x="connsiteX258" y="connsiteY258"/>
                    </a:cxn>
                    <a:cxn ang="0">
                      <a:pos x="connsiteX259" y="connsiteY259"/>
                    </a:cxn>
                    <a:cxn ang="0">
                      <a:pos x="connsiteX260" y="connsiteY260"/>
                    </a:cxn>
                    <a:cxn ang="0">
                      <a:pos x="connsiteX261" y="connsiteY261"/>
                    </a:cxn>
                    <a:cxn ang="0">
                      <a:pos x="connsiteX262" y="connsiteY262"/>
                    </a:cxn>
                    <a:cxn ang="0">
                      <a:pos x="connsiteX263" y="connsiteY263"/>
                    </a:cxn>
                    <a:cxn ang="0">
                      <a:pos x="connsiteX264" y="connsiteY264"/>
                    </a:cxn>
                    <a:cxn ang="0">
                      <a:pos x="connsiteX265" y="connsiteY265"/>
                    </a:cxn>
                    <a:cxn ang="0">
                      <a:pos x="connsiteX266" y="connsiteY266"/>
                    </a:cxn>
                    <a:cxn ang="0">
                      <a:pos x="connsiteX267" y="connsiteY267"/>
                    </a:cxn>
                    <a:cxn ang="0">
                      <a:pos x="connsiteX268" y="connsiteY268"/>
                    </a:cxn>
                    <a:cxn ang="0">
                      <a:pos x="connsiteX269" y="connsiteY269"/>
                    </a:cxn>
                    <a:cxn ang="0">
                      <a:pos x="connsiteX270" y="connsiteY270"/>
                    </a:cxn>
                    <a:cxn ang="0">
                      <a:pos x="connsiteX271" y="connsiteY271"/>
                    </a:cxn>
                    <a:cxn ang="0">
                      <a:pos x="connsiteX272" y="connsiteY272"/>
                    </a:cxn>
                    <a:cxn ang="0">
                      <a:pos x="connsiteX273" y="connsiteY273"/>
                    </a:cxn>
                    <a:cxn ang="0">
                      <a:pos x="connsiteX274" y="connsiteY274"/>
                    </a:cxn>
                    <a:cxn ang="0">
                      <a:pos x="connsiteX275" y="connsiteY275"/>
                    </a:cxn>
                    <a:cxn ang="0">
                      <a:pos x="connsiteX276" y="connsiteY276"/>
                    </a:cxn>
                    <a:cxn ang="0">
                      <a:pos x="connsiteX277" y="connsiteY277"/>
                    </a:cxn>
                    <a:cxn ang="0">
                      <a:pos x="connsiteX278" y="connsiteY278"/>
                    </a:cxn>
                    <a:cxn ang="0">
                      <a:pos x="connsiteX279" y="connsiteY279"/>
                    </a:cxn>
                    <a:cxn ang="0">
                      <a:pos x="connsiteX280" y="connsiteY280"/>
                    </a:cxn>
                    <a:cxn ang="0">
                      <a:pos x="connsiteX281" y="connsiteY281"/>
                    </a:cxn>
                    <a:cxn ang="0">
                      <a:pos x="connsiteX282" y="connsiteY282"/>
                    </a:cxn>
                    <a:cxn ang="0">
                      <a:pos x="connsiteX283" y="connsiteY283"/>
                    </a:cxn>
                    <a:cxn ang="0">
                      <a:pos x="connsiteX284" y="connsiteY284"/>
                    </a:cxn>
                    <a:cxn ang="0">
                      <a:pos x="connsiteX285" y="connsiteY285"/>
                    </a:cxn>
                    <a:cxn ang="0">
                      <a:pos x="connsiteX286" y="connsiteY286"/>
                    </a:cxn>
                    <a:cxn ang="0">
                      <a:pos x="connsiteX287" y="connsiteY287"/>
                    </a:cxn>
                    <a:cxn ang="0">
                      <a:pos x="connsiteX288" y="connsiteY288"/>
                    </a:cxn>
                    <a:cxn ang="0">
                      <a:pos x="connsiteX289" y="connsiteY289"/>
                    </a:cxn>
                    <a:cxn ang="0">
                      <a:pos x="connsiteX290" y="connsiteY290"/>
                    </a:cxn>
                    <a:cxn ang="0">
                      <a:pos x="connsiteX291" y="connsiteY291"/>
                    </a:cxn>
                    <a:cxn ang="0">
                      <a:pos x="connsiteX292" y="connsiteY292"/>
                    </a:cxn>
                    <a:cxn ang="0">
                      <a:pos x="connsiteX293" y="connsiteY293"/>
                    </a:cxn>
                    <a:cxn ang="0">
                      <a:pos x="connsiteX294" y="connsiteY294"/>
                    </a:cxn>
                    <a:cxn ang="0">
                      <a:pos x="connsiteX295" y="connsiteY295"/>
                    </a:cxn>
                    <a:cxn ang="0">
                      <a:pos x="connsiteX296" y="connsiteY296"/>
                    </a:cxn>
                    <a:cxn ang="0">
                      <a:pos x="connsiteX297" y="connsiteY297"/>
                    </a:cxn>
                    <a:cxn ang="0">
                      <a:pos x="connsiteX298" y="connsiteY298"/>
                    </a:cxn>
                    <a:cxn ang="0">
                      <a:pos x="connsiteX299" y="connsiteY299"/>
                    </a:cxn>
                    <a:cxn ang="0">
                      <a:pos x="connsiteX300" y="connsiteY300"/>
                    </a:cxn>
                    <a:cxn ang="0">
                      <a:pos x="connsiteX301" y="connsiteY301"/>
                    </a:cxn>
                    <a:cxn ang="0">
                      <a:pos x="connsiteX302" y="connsiteY302"/>
                    </a:cxn>
                    <a:cxn ang="0">
                      <a:pos x="connsiteX303" y="connsiteY303"/>
                    </a:cxn>
                    <a:cxn ang="0">
                      <a:pos x="connsiteX304" y="connsiteY304"/>
                    </a:cxn>
                    <a:cxn ang="0">
                      <a:pos x="connsiteX305" y="connsiteY305"/>
                    </a:cxn>
                    <a:cxn ang="0">
                      <a:pos x="connsiteX306" y="connsiteY306"/>
                    </a:cxn>
                    <a:cxn ang="0">
                      <a:pos x="connsiteX307" y="connsiteY307"/>
                    </a:cxn>
                    <a:cxn ang="0">
                      <a:pos x="connsiteX308" y="connsiteY308"/>
                    </a:cxn>
                    <a:cxn ang="0">
                      <a:pos x="connsiteX309" y="connsiteY309"/>
                    </a:cxn>
                    <a:cxn ang="0">
                      <a:pos x="connsiteX310" y="connsiteY310"/>
                    </a:cxn>
                    <a:cxn ang="0">
                      <a:pos x="connsiteX311" y="connsiteY311"/>
                    </a:cxn>
                    <a:cxn ang="0">
                      <a:pos x="connsiteX312" y="connsiteY312"/>
                    </a:cxn>
                    <a:cxn ang="0">
                      <a:pos x="connsiteX313" y="connsiteY313"/>
                    </a:cxn>
                    <a:cxn ang="0">
                      <a:pos x="connsiteX314" y="connsiteY314"/>
                    </a:cxn>
                    <a:cxn ang="0">
                      <a:pos x="connsiteX315" y="connsiteY315"/>
                    </a:cxn>
                    <a:cxn ang="0">
                      <a:pos x="connsiteX316" y="connsiteY316"/>
                    </a:cxn>
                    <a:cxn ang="0">
                      <a:pos x="connsiteX317" y="connsiteY317"/>
                    </a:cxn>
                    <a:cxn ang="0">
                      <a:pos x="connsiteX318" y="connsiteY318"/>
                    </a:cxn>
                    <a:cxn ang="0">
                      <a:pos x="connsiteX319" y="connsiteY319"/>
                    </a:cxn>
                    <a:cxn ang="0">
                      <a:pos x="connsiteX320" y="connsiteY320"/>
                    </a:cxn>
                    <a:cxn ang="0">
                      <a:pos x="connsiteX321" y="connsiteY321"/>
                    </a:cxn>
                    <a:cxn ang="0">
                      <a:pos x="connsiteX322" y="connsiteY322"/>
                    </a:cxn>
                  </a:cxnLst>
                  <a:rect l="l" t="t" r="r" b="b"/>
                  <a:pathLst>
                    <a:path w="1972055" h="2506837">
                      <a:moveTo>
                        <a:pt x="1963591" y="1346145"/>
                      </a:moveTo>
                      <a:cubicBezTo>
                        <a:pt x="1930772" y="1320770"/>
                        <a:pt x="1875383" y="1382357"/>
                        <a:pt x="1846862" y="1352231"/>
                      </a:cubicBezTo>
                      <a:cubicBezTo>
                        <a:pt x="1836263" y="1341036"/>
                        <a:pt x="1839272" y="1320153"/>
                        <a:pt x="1852599" y="1312404"/>
                      </a:cubicBezTo>
                      <a:cubicBezTo>
                        <a:pt x="1824776" y="1312132"/>
                        <a:pt x="1797298" y="1327320"/>
                        <a:pt x="1782729" y="1351024"/>
                      </a:cubicBezTo>
                      <a:cubicBezTo>
                        <a:pt x="1748446" y="1302019"/>
                        <a:pt x="1728281" y="1243256"/>
                        <a:pt x="1725246" y="1183528"/>
                      </a:cubicBezTo>
                      <a:cubicBezTo>
                        <a:pt x="1709906" y="1173206"/>
                        <a:pt x="1700400" y="1154752"/>
                        <a:pt x="1700902" y="1136268"/>
                      </a:cubicBezTo>
                      <a:cubicBezTo>
                        <a:pt x="1698374" y="1168476"/>
                        <a:pt x="1667599" y="1189929"/>
                        <a:pt x="1639928" y="1206602"/>
                      </a:cubicBezTo>
                      <a:cubicBezTo>
                        <a:pt x="1633948" y="1210206"/>
                        <a:pt x="1627770" y="1213882"/>
                        <a:pt x="1620871" y="1214941"/>
                      </a:cubicBezTo>
                      <a:cubicBezTo>
                        <a:pt x="1601650" y="1217895"/>
                        <a:pt x="1584156" y="1194261"/>
                        <a:pt x="1592593" y="1176740"/>
                      </a:cubicBezTo>
                      <a:cubicBezTo>
                        <a:pt x="1601029" y="1159220"/>
                        <a:pt x="1630416" y="1158160"/>
                        <a:pt x="1640091" y="1175029"/>
                      </a:cubicBezTo>
                      <a:cubicBezTo>
                        <a:pt x="1642379" y="1152429"/>
                        <a:pt x="1644662" y="1129828"/>
                        <a:pt x="1646951" y="1107228"/>
                      </a:cubicBezTo>
                      <a:cubicBezTo>
                        <a:pt x="1647424" y="1102527"/>
                        <a:pt x="1647876" y="1097625"/>
                        <a:pt x="1646181" y="1093215"/>
                      </a:cubicBezTo>
                      <a:cubicBezTo>
                        <a:pt x="1639819" y="1076650"/>
                        <a:pt x="1615595" y="1083033"/>
                        <a:pt x="1598392" y="1087387"/>
                      </a:cubicBezTo>
                      <a:cubicBezTo>
                        <a:pt x="1563250" y="1096281"/>
                        <a:pt x="1523268" y="1080554"/>
                        <a:pt x="1503600" y="1050100"/>
                      </a:cubicBezTo>
                      <a:cubicBezTo>
                        <a:pt x="1512677" y="1048768"/>
                        <a:pt x="1521756" y="1047434"/>
                        <a:pt x="1530833" y="1046102"/>
                      </a:cubicBezTo>
                      <a:cubicBezTo>
                        <a:pt x="1509334" y="1013861"/>
                        <a:pt x="1499987" y="973721"/>
                        <a:pt x="1505030" y="935299"/>
                      </a:cubicBezTo>
                      <a:cubicBezTo>
                        <a:pt x="1507481" y="916618"/>
                        <a:pt x="1517772" y="891050"/>
                        <a:pt x="1505419" y="876823"/>
                      </a:cubicBezTo>
                      <a:cubicBezTo>
                        <a:pt x="1502526" y="880483"/>
                        <a:pt x="1497567" y="882386"/>
                        <a:pt x="1492969" y="881597"/>
                      </a:cubicBezTo>
                      <a:cubicBezTo>
                        <a:pt x="1480776" y="861062"/>
                        <a:pt x="1478952" y="834488"/>
                        <a:pt x="1462301" y="817366"/>
                      </a:cubicBezTo>
                      <a:cubicBezTo>
                        <a:pt x="1456508" y="811409"/>
                        <a:pt x="1449295" y="807055"/>
                        <a:pt x="1442897" y="801753"/>
                      </a:cubicBezTo>
                      <a:cubicBezTo>
                        <a:pt x="1423876" y="785981"/>
                        <a:pt x="1412564" y="761317"/>
                        <a:pt x="1413016" y="736614"/>
                      </a:cubicBezTo>
                      <a:cubicBezTo>
                        <a:pt x="1413099" y="732027"/>
                        <a:pt x="1413540" y="727274"/>
                        <a:pt x="1411885" y="722998"/>
                      </a:cubicBezTo>
                      <a:cubicBezTo>
                        <a:pt x="1408581" y="714475"/>
                        <a:pt x="1398638" y="711125"/>
                        <a:pt x="1390899" y="706260"/>
                      </a:cubicBezTo>
                      <a:cubicBezTo>
                        <a:pt x="1383160" y="701395"/>
                        <a:pt x="1376954" y="689941"/>
                        <a:pt x="1383677" y="683753"/>
                      </a:cubicBezTo>
                      <a:cubicBezTo>
                        <a:pt x="1375669" y="657183"/>
                        <a:pt x="1353693" y="620842"/>
                        <a:pt x="1345685" y="594274"/>
                      </a:cubicBezTo>
                      <a:cubicBezTo>
                        <a:pt x="1341666" y="580939"/>
                        <a:pt x="1337396" y="567143"/>
                        <a:pt x="1328134" y="556741"/>
                      </a:cubicBezTo>
                      <a:cubicBezTo>
                        <a:pt x="1317241" y="544505"/>
                        <a:pt x="1300960" y="538643"/>
                        <a:pt x="1288166" y="528407"/>
                      </a:cubicBezTo>
                      <a:cubicBezTo>
                        <a:pt x="1265432" y="510215"/>
                        <a:pt x="1256081" y="480619"/>
                        <a:pt x="1244061" y="454098"/>
                      </a:cubicBezTo>
                      <a:cubicBezTo>
                        <a:pt x="1232047" y="427576"/>
                        <a:pt x="1212472" y="400120"/>
                        <a:pt x="1183568" y="396617"/>
                      </a:cubicBezTo>
                      <a:cubicBezTo>
                        <a:pt x="1196853" y="391025"/>
                        <a:pt x="1212658" y="391811"/>
                        <a:pt x="1225322" y="398690"/>
                      </a:cubicBezTo>
                      <a:cubicBezTo>
                        <a:pt x="1210556" y="365894"/>
                        <a:pt x="1213570" y="325707"/>
                        <a:pt x="1233062" y="295479"/>
                      </a:cubicBezTo>
                      <a:cubicBezTo>
                        <a:pt x="1241832" y="281879"/>
                        <a:pt x="1254246" y="266112"/>
                        <a:pt x="1247275" y="251506"/>
                      </a:cubicBezTo>
                      <a:cubicBezTo>
                        <a:pt x="1243152" y="242869"/>
                        <a:pt x="1233416" y="238393"/>
                        <a:pt x="1227805" y="230641"/>
                      </a:cubicBezTo>
                      <a:cubicBezTo>
                        <a:pt x="1216057" y="214416"/>
                        <a:pt x="1226081" y="192029"/>
                        <a:pt x="1235599" y="174404"/>
                      </a:cubicBezTo>
                      <a:cubicBezTo>
                        <a:pt x="1245118" y="156779"/>
                        <a:pt x="1253287" y="132946"/>
                        <a:pt x="1239323" y="118582"/>
                      </a:cubicBezTo>
                      <a:cubicBezTo>
                        <a:pt x="1249211" y="95509"/>
                        <a:pt x="1217053" y="62398"/>
                        <a:pt x="1196105" y="76228"/>
                      </a:cubicBezTo>
                      <a:cubicBezTo>
                        <a:pt x="1188116" y="45499"/>
                        <a:pt x="1149978" y="26756"/>
                        <a:pt x="1120769" y="39204"/>
                      </a:cubicBezTo>
                      <a:cubicBezTo>
                        <a:pt x="1104335" y="35068"/>
                        <a:pt x="1093064" y="16487"/>
                        <a:pt x="1096985" y="0"/>
                      </a:cubicBezTo>
                      <a:cubicBezTo>
                        <a:pt x="1077503" y="762"/>
                        <a:pt x="1058018" y="1522"/>
                        <a:pt x="1038536" y="2283"/>
                      </a:cubicBezTo>
                      <a:cubicBezTo>
                        <a:pt x="1024350" y="2837"/>
                        <a:pt x="1009684" y="3506"/>
                        <a:pt x="996938" y="9755"/>
                      </a:cubicBezTo>
                      <a:cubicBezTo>
                        <a:pt x="984190" y="16004"/>
                        <a:pt x="973812" y="29425"/>
                        <a:pt x="975723" y="43494"/>
                      </a:cubicBezTo>
                      <a:cubicBezTo>
                        <a:pt x="977953" y="59913"/>
                        <a:pt x="994544" y="69706"/>
                        <a:pt x="1005095" y="82484"/>
                      </a:cubicBezTo>
                      <a:cubicBezTo>
                        <a:pt x="1015644" y="95260"/>
                        <a:pt x="1014950" y="121217"/>
                        <a:pt x="998390" y="121810"/>
                      </a:cubicBezTo>
                      <a:cubicBezTo>
                        <a:pt x="1022397" y="126685"/>
                        <a:pt x="1027293" y="166704"/>
                        <a:pt x="1005170" y="177223"/>
                      </a:cubicBezTo>
                      <a:cubicBezTo>
                        <a:pt x="980477" y="168422"/>
                        <a:pt x="965392" y="138795"/>
                        <a:pt x="972803" y="113650"/>
                      </a:cubicBezTo>
                      <a:cubicBezTo>
                        <a:pt x="949682" y="131664"/>
                        <a:pt x="941266" y="166203"/>
                        <a:pt x="953511" y="192833"/>
                      </a:cubicBezTo>
                      <a:cubicBezTo>
                        <a:pt x="938617" y="192899"/>
                        <a:pt x="923720" y="192965"/>
                        <a:pt x="908826" y="193030"/>
                      </a:cubicBezTo>
                      <a:cubicBezTo>
                        <a:pt x="902454" y="206930"/>
                        <a:pt x="901789" y="222652"/>
                        <a:pt x="898811" y="237650"/>
                      </a:cubicBezTo>
                      <a:cubicBezTo>
                        <a:pt x="895830" y="252648"/>
                        <a:pt x="889434" y="268389"/>
                        <a:pt x="876038" y="275761"/>
                      </a:cubicBezTo>
                      <a:cubicBezTo>
                        <a:pt x="862641" y="283135"/>
                        <a:pt x="841647" y="276379"/>
                        <a:pt x="840160" y="261161"/>
                      </a:cubicBezTo>
                      <a:cubicBezTo>
                        <a:pt x="838536" y="244504"/>
                        <a:pt x="859079" y="227094"/>
                        <a:pt x="848780" y="213897"/>
                      </a:cubicBezTo>
                      <a:cubicBezTo>
                        <a:pt x="845767" y="210034"/>
                        <a:pt x="840785" y="208198"/>
                        <a:pt x="835922" y="207604"/>
                      </a:cubicBezTo>
                      <a:cubicBezTo>
                        <a:pt x="814500" y="204985"/>
                        <a:pt x="794008" y="227377"/>
                        <a:pt x="798514" y="248484"/>
                      </a:cubicBezTo>
                      <a:cubicBezTo>
                        <a:pt x="802203" y="265764"/>
                        <a:pt x="816765" y="288400"/>
                        <a:pt x="801212" y="296783"/>
                      </a:cubicBezTo>
                      <a:cubicBezTo>
                        <a:pt x="788932" y="303402"/>
                        <a:pt x="776580" y="288306"/>
                        <a:pt x="770708" y="275654"/>
                      </a:cubicBezTo>
                      <a:cubicBezTo>
                        <a:pt x="757381" y="295972"/>
                        <a:pt x="744054" y="316289"/>
                        <a:pt x="730725" y="336606"/>
                      </a:cubicBezTo>
                      <a:cubicBezTo>
                        <a:pt x="727801" y="341067"/>
                        <a:pt x="724799" y="345722"/>
                        <a:pt x="724080" y="351008"/>
                      </a:cubicBezTo>
                      <a:cubicBezTo>
                        <a:pt x="723277" y="356913"/>
                        <a:pt x="725422" y="362772"/>
                        <a:pt x="727456" y="368372"/>
                      </a:cubicBezTo>
                      <a:cubicBezTo>
                        <a:pt x="737512" y="396056"/>
                        <a:pt x="742465" y="433721"/>
                        <a:pt x="717258" y="448960"/>
                      </a:cubicBezTo>
                      <a:cubicBezTo>
                        <a:pt x="691702" y="464412"/>
                        <a:pt x="653326" y="443165"/>
                        <a:pt x="630864" y="462844"/>
                      </a:cubicBezTo>
                      <a:cubicBezTo>
                        <a:pt x="612643" y="450829"/>
                        <a:pt x="602472" y="427682"/>
                        <a:pt x="605949" y="406135"/>
                      </a:cubicBezTo>
                      <a:cubicBezTo>
                        <a:pt x="627694" y="406167"/>
                        <a:pt x="655033" y="402316"/>
                        <a:pt x="661347" y="381506"/>
                      </a:cubicBezTo>
                      <a:cubicBezTo>
                        <a:pt x="623152" y="353014"/>
                        <a:pt x="569661" y="326215"/>
                        <a:pt x="531108" y="354221"/>
                      </a:cubicBezTo>
                      <a:cubicBezTo>
                        <a:pt x="536812" y="364234"/>
                        <a:pt x="547758" y="369844"/>
                        <a:pt x="556290" y="377591"/>
                      </a:cubicBezTo>
                      <a:cubicBezTo>
                        <a:pt x="585588" y="404195"/>
                        <a:pt x="582556" y="450282"/>
                        <a:pt x="577200" y="489493"/>
                      </a:cubicBezTo>
                      <a:cubicBezTo>
                        <a:pt x="595183" y="484153"/>
                        <a:pt x="618411" y="480429"/>
                        <a:pt x="629403" y="495629"/>
                      </a:cubicBezTo>
                      <a:cubicBezTo>
                        <a:pt x="642460" y="513681"/>
                        <a:pt x="627713" y="546569"/>
                        <a:pt x="647206" y="557358"/>
                      </a:cubicBezTo>
                      <a:cubicBezTo>
                        <a:pt x="631454" y="547000"/>
                        <a:pt x="610936" y="544248"/>
                        <a:pt x="593015" y="550091"/>
                      </a:cubicBezTo>
                      <a:cubicBezTo>
                        <a:pt x="591403" y="541007"/>
                        <a:pt x="589790" y="531924"/>
                        <a:pt x="588179" y="522840"/>
                      </a:cubicBezTo>
                      <a:cubicBezTo>
                        <a:pt x="567673" y="518821"/>
                        <a:pt x="548926" y="535798"/>
                        <a:pt x="538258" y="553764"/>
                      </a:cubicBezTo>
                      <a:cubicBezTo>
                        <a:pt x="527589" y="571728"/>
                        <a:pt x="520462" y="592648"/>
                        <a:pt x="504448" y="606071"/>
                      </a:cubicBezTo>
                      <a:cubicBezTo>
                        <a:pt x="491033" y="617312"/>
                        <a:pt x="469815" y="627942"/>
                        <a:pt x="474205" y="644883"/>
                      </a:cubicBezTo>
                      <a:cubicBezTo>
                        <a:pt x="495100" y="641902"/>
                        <a:pt x="515778" y="662740"/>
                        <a:pt x="512638" y="683611"/>
                      </a:cubicBezTo>
                      <a:cubicBezTo>
                        <a:pt x="535740" y="691047"/>
                        <a:pt x="555716" y="707746"/>
                        <a:pt x="567127" y="729164"/>
                      </a:cubicBezTo>
                      <a:cubicBezTo>
                        <a:pt x="517219" y="720716"/>
                        <a:pt x="449567" y="723006"/>
                        <a:pt x="400552" y="710363"/>
                      </a:cubicBezTo>
                      <a:cubicBezTo>
                        <a:pt x="396957" y="719185"/>
                        <a:pt x="393363" y="728005"/>
                        <a:pt x="389767" y="736825"/>
                      </a:cubicBezTo>
                      <a:cubicBezTo>
                        <a:pt x="425755" y="740628"/>
                        <a:pt x="471466" y="753933"/>
                        <a:pt x="473626" y="790060"/>
                      </a:cubicBezTo>
                      <a:cubicBezTo>
                        <a:pt x="473918" y="794931"/>
                        <a:pt x="473033" y="800330"/>
                        <a:pt x="469325" y="803504"/>
                      </a:cubicBezTo>
                      <a:cubicBezTo>
                        <a:pt x="466028" y="806324"/>
                        <a:pt x="461334" y="806699"/>
                        <a:pt x="456996" y="806684"/>
                      </a:cubicBezTo>
                      <a:cubicBezTo>
                        <a:pt x="436210" y="806605"/>
                        <a:pt x="415483" y="800439"/>
                        <a:pt x="398036" y="789143"/>
                      </a:cubicBezTo>
                      <a:cubicBezTo>
                        <a:pt x="384904" y="780642"/>
                        <a:pt x="364000" y="770979"/>
                        <a:pt x="357215" y="785073"/>
                      </a:cubicBezTo>
                      <a:cubicBezTo>
                        <a:pt x="330040" y="769159"/>
                        <a:pt x="310593" y="740659"/>
                        <a:pt x="305689" y="709549"/>
                      </a:cubicBezTo>
                      <a:cubicBezTo>
                        <a:pt x="303206" y="693807"/>
                        <a:pt x="304105" y="677026"/>
                        <a:pt x="296812" y="662857"/>
                      </a:cubicBezTo>
                      <a:cubicBezTo>
                        <a:pt x="289518" y="648689"/>
                        <a:pt x="269096" y="639543"/>
                        <a:pt x="257512" y="650488"/>
                      </a:cubicBezTo>
                      <a:cubicBezTo>
                        <a:pt x="260898" y="634200"/>
                        <a:pt x="240245" y="624586"/>
                        <a:pt x="224142" y="620413"/>
                      </a:cubicBezTo>
                      <a:cubicBezTo>
                        <a:pt x="208035" y="616241"/>
                        <a:pt x="188089" y="603563"/>
                        <a:pt x="194553" y="588232"/>
                      </a:cubicBezTo>
                      <a:cubicBezTo>
                        <a:pt x="199331" y="576901"/>
                        <a:pt x="215734" y="575922"/>
                        <a:pt x="226669" y="581542"/>
                      </a:cubicBezTo>
                      <a:cubicBezTo>
                        <a:pt x="237604" y="587165"/>
                        <a:pt x="245838" y="597093"/>
                        <a:pt x="256722" y="602813"/>
                      </a:cubicBezTo>
                      <a:cubicBezTo>
                        <a:pt x="291621" y="621155"/>
                        <a:pt x="339425" y="590804"/>
                        <a:pt x="372119" y="612836"/>
                      </a:cubicBezTo>
                      <a:cubicBezTo>
                        <a:pt x="379393" y="617738"/>
                        <a:pt x="385161" y="624925"/>
                        <a:pt x="393190" y="628460"/>
                      </a:cubicBezTo>
                      <a:cubicBezTo>
                        <a:pt x="407816" y="634897"/>
                        <a:pt x="425097" y="627054"/>
                        <a:pt x="436527" y="615885"/>
                      </a:cubicBezTo>
                      <a:cubicBezTo>
                        <a:pt x="447956" y="604716"/>
                        <a:pt x="455934" y="590377"/>
                        <a:pt x="467531" y="579379"/>
                      </a:cubicBezTo>
                      <a:cubicBezTo>
                        <a:pt x="480524" y="567061"/>
                        <a:pt x="498429" y="558329"/>
                        <a:pt x="504810" y="541601"/>
                      </a:cubicBezTo>
                      <a:cubicBezTo>
                        <a:pt x="508869" y="530958"/>
                        <a:pt x="507334" y="519104"/>
                        <a:pt x="505742" y="507827"/>
                      </a:cubicBezTo>
                      <a:cubicBezTo>
                        <a:pt x="501389" y="476994"/>
                        <a:pt x="486922" y="437420"/>
                        <a:pt x="455879" y="439855"/>
                      </a:cubicBezTo>
                      <a:cubicBezTo>
                        <a:pt x="447358" y="440524"/>
                        <a:pt x="439498" y="444664"/>
                        <a:pt x="431103" y="446278"/>
                      </a:cubicBezTo>
                      <a:cubicBezTo>
                        <a:pt x="393533" y="453502"/>
                        <a:pt x="366316" y="411541"/>
                        <a:pt x="331230" y="396289"/>
                      </a:cubicBezTo>
                      <a:cubicBezTo>
                        <a:pt x="289624" y="378202"/>
                        <a:pt x="240492" y="399666"/>
                        <a:pt x="196490" y="388621"/>
                      </a:cubicBezTo>
                      <a:cubicBezTo>
                        <a:pt x="163491" y="380337"/>
                        <a:pt x="132094" y="353990"/>
                        <a:pt x="99517" y="363802"/>
                      </a:cubicBezTo>
                      <a:cubicBezTo>
                        <a:pt x="89621" y="366783"/>
                        <a:pt x="80773" y="373133"/>
                        <a:pt x="74781" y="381555"/>
                      </a:cubicBezTo>
                      <a:cubicBezTo>
                        <a:pt x="72464" y="378763"/>
                        <a:pt x="70334" y="375823"/>
                        <a:pt x="68376" y="372773"/>
                      </a:cubicBezTo>
                      <a:cubicBezTo>
                        <a:pt x="49497" y="376685"/>
                        <a:pt x="33186" y="384450"/>
                        <a:pt x="21249" y="395651"/>
                      </a:cubicBezTo>
                      <a:cubicBezTo>
                        <a:pt x="7002" y="409015"/>
                        <a:pt x="-905" y="427367"/>
                        <a:pt x="83" y="444730"/>
                      </a:cubicBezTo>
                      <a:cubicBezTo>
                        <a:pt x="1283" y="465442"/>
                        <a:pt x="14470" y="486102"/>
                        <a:pt x="39297" y="506137"/>
                      </a:cubicBezTo>
                      <a:cubicBezTo>
                        <a:pt x="48737" y="513761"/>
                        <a:pt x="60484" y="523241"/>
                        <a:pt x="60547" y="537214"/>
                      </a:cubicBezTo>
                      <a:cubicBezTo>
                        <a:pt x="60578" y="543823"/>
                        <a:pt x="57807" y="549677"/>
                        <a:pt x="55354" y="554845"/>
                      </a:cubicBezTo>
                      <a:lnTo>
                        <a:pt x="53767" y="558292"/>
                      </a:lnTo>
                      <a:cubicBezTo>
                        <a:pt x="48081" y="571046"/>
                        <a:pt x="46430" y="585616"/>
                        <a:pt x="49099" y="599317"/>
                      </a:cubicBezTo>
                      <a:cubicBezTo>
                        <a:pt x="49582" y="601832"/>
                        <a:pt x="50342" y="605001"/>
                        <a:pt x="51950" y="607301"/>
                      </a:cubicBezTo>
                      <a:cubicBezTo>
                        <a:pt x="53488" y="609511"/>
                        <a:pt x="56004" y="611308"/>
                        <a:pt x="58676" y="613212"/>
                      </a:cubicBezTo>
                      <a:lnTo>
                        <a:pt x="59873" y="614071"/>
                      </a:lnTo>
                      <a:cubicBezTo>
                        <a:pt x="77707" y="626960"/>
                        <a:pt x="92025" y="645320"/>
                        <a:pt x="100173" y="665758"/>
                      </a:cubicBezTo>
                      <a:cubicBezTo>
                        <a:pt x="105696" y="679613"/>
                        <a:pt x="107208" y="692127"/>
                        <a:pt x="104681" y="702965"/>
                      </a:cubicBezTo>
                      <a:cubicBezTo>
                        <a:pt x="103790" y="706768"/>
                        <a:pt x="102420" y="710326"/>
                        <a:pt x="101101" y="713764"/>
                      </a:cubicBezTo>
                      <a:cubicBezTo>
                        <a:pt x="99446" y="718064"/>
                        <a:pt x="97885" y="722124"/>
                        <a:pt x="97419" y="726219"/>
                      </a:cubicBezTo>
                      <a:cubicBezTo>
                        <a:pt x="96692" y="732664"/>
                        <a:pt x="98677" y="739403"/>
                        <a:pt x="100938" y="745720"/>
                      </a:cubicBezTo>
                      <a:cubicBezTo>
                        <a:pt x="109928" y="770760"/>
                        <a:pt x="124653" y="793901"/>
                        <a:pt x="143526" y="812645"/>
                      </a:cubicBezTo>
                      <a:lnTo>
                        <a:pt x="144286" y="813405"/>
                      </a:lnTo>
                      <a:cubicBezTo>
                        <a:pt x="150466" y="819521"/>
                        <a:pt x="157466" y="826456"/>
                        <a:pt x="158234" y="836287"/>
                      </a:cubicBezTo>
                      <a:cubicBezTo>
                        <a:pt x="158840" y="844050"/>
                        <a:pt x="154172" y="851691"/>
                        <a:pt x="146330" y="855760"/>
                      </a:cubicBezTo>
                      <a:cubicBezTo>
                        <a:pt x="140984" y="858514"/>
                        <a:pt x="135154" y="859138"/>
                        <a:pt x="130043" y="857670"/>
                      </a:cubicBezTo>
                      <a:lnTo>
                        <a:pt x="128539" y="862285"/>
                      </a:lnTo>
                      <a:lnTo>
                        <a:pt x="205780" y="899666"/>
                      </a:lnTo>
                      <a:cubicBezTo>
                        <a:pt x="226562" y="909729"/>
                        <a:pt x="236178" y="923164"/>
                        <a:pt x="232154" y="936531"/>
                      </a:cubicBezTo>
                      <a:lnTo>
                        <a:pt x="231324" y="939289"/>
                      </a:lnTo>
                      <a:lnTo>
                        <a:pt x="228558" y="940090"/>
                      </a:lnTo>
                      <a:cubicBezTo>
                        <a:pt x="220085" y="942553"/>
                        <a:pt x="213510" y="949817"/>
                        <a:pt x="207659" y="957298"/>
                      </a:cubicBezTo>
                      <a:cubicBezTo>
                        <a:pt x="193932" y="974848"/>
                        <a:pt x="182505" y="994606"/>
                        <a:pt x="171459" y="1013716"/>
                      </a:cubicBezTo>
                      <a:cubicBezTo>
                        <a:pt x="170783" y="1014880"/>
                        <a:pt x="169385" y="1017300"/>
                        <a:pt x="169632" y="1018388"/>
                      </a:cubicBezTo>
                      <a:cubicBezTo>
                        <a:pt x="169759" y="1018952"/>
                        <a:pt x="170501" y="1019954"/>
                        <a:pt x="171160" y="1020840"/>
                      </a:cubicBezTo>
                      <a:cubicBezTo>
                        <a:pt x="172466" y="1022604"/>
                        <a:pt x="174096" y="1024804"/>
                        <a:pt x="174606" y="1027831"/>
                      </a:cubicBezTo>
                      <a:cubicBezTo>
                        <a:pt x="176305" y="1037990"/>
                        <a:pt x="165997" y="1041316"/>
                        <a:pt x="159849" y="1043301"/>
                      </a:cubicBezTo>
                      <a:cubicBezTo>
                        <a:pt x="157444" y="1044079"/>
                        <a:pt x="154958" y="1044879"/>
                        <a:pt x="153217" y="1045833"/>
                      </a:cubicBezTo>
                      <a:cubicBezTo>
                        <a:pt x="150373" y="1047386"/>
                        <a:pt x="148331" y="1050654"/>
                        <a:pt x="145972" y="1054764"/>
                      </a:cubicBezTo>
                      <a:lnTo>
                        <a:pt x="97711" y="1138563"/>
                      </a:lnTo>
                      <a:cubicBezTo>
                        <a:pt x="101548" y="1139195"/>
                        <a:pt x="105294" y="1140034"/>
                        <a:pt x="108751" y="1141054"/>
                      </a:cubicBezTo>
                      <a:cubicBezTo>
                        <a:pt x="114938" y="1142879"/>
                        <a:pt x="121123" y="1144702"/>
                        <a:pt x="127310" y="1146527"/>
                      </a:cubicBezTo>
                      <a:cubicBezTo>
                        <a:pt x="128542" y="1154086"/>
                        <a:pt x="129772" y="1161643"/>
                        <a:pt x="131003" y="1169200"/>
                      </a:cubicBezTo>
                      <a:cubicBezTo>
                        <a:pt x="163292" y="1155324"/>
                        <a:pt x="203353" y="1161851"/>
                        <a:pt x="229569" y="1185259"/>
                      </a:cubicBezTo>
                      <a:cubicBezTo>
                        <a:pt x="197067" y="1187713"/>
                        <a:pt x="165216" y="1198361"/>
                        <a:pt x="137772" y="1215950"/>
                      </a:cubicBezTo>
                      <a:cubicBezTo>
                        <a:pt x="133690" y="1221324"/>
                        <a:pt x="128936" y="1225779"/>
                        <a:pt x="123713" y="1229555"/>
                      </a:cubicBezTo>
                      <a:cubicBezTo>
                        <a:pt x="132680" y="1234262"/>
                        <a:pt x="138448" y="1244692"/>
                        <a:pt x="137147" y="1254820"/>
                      </a:cubicBezTo>
                      <a:cubicBezTo>
                        <a:pt x="136384" y="1260751"/>
                        <a:pt x="133662" y="1265679"/>
                        <a:pt x="131028" y="1270441"/>
                      </a:cubicBezTo>
                      <a:lnTo>
                        <a:pt x="129414" y="1273402"/>
                      </a:lnTo>
                      <a:cubicBezTo>
                        <a:pt x="123052" y="1285509"/>
                        <a:pt x="119386" y="1302908"/>
                        <a:pt x="128229" y="1315429"/>
                      </a:cubicBezTo>
                      <a:cubicBezTo>
                        <a:pt x="128826" y="1316284"/>
                        <a:pt x="129485" y="1317120"/>
                        <a:pt x="130141" y="1317964"/>
                      </a:cubicBezTo>
                      <a:cubicBezTo>
                        <a:pt x="132762" y="1321316"/>
                        <a:pt x="135739" y="1325121"/>
                        <a:pt x="136293" y="1330297"/>
                      </a:cubicBezTo>
                      <a:cubicBezTo>
                        <a:pt x="136562" y="1332872"/>
                        <a:pt x="136155" y="1335202"/>
                        <a:pt x="135787" y="1337257"/>
                      </a:cubicBezTo>
                      <a:cubicBezTo>
                        <a:pt x="135548" y="1338619"/>
                        <a:pt x="135321" y="1339903"/>
                        <a:pt x="135369" y="1340947"/>
                      </a:cubicBezTo>
                      <a:cubicBezTo>
                        <a:pt x="135446" y="1342757"/>
                        <a:pt x="136351" y="1344839"/>
                        <a:pt x="137319" y="1347045"/>
                      </a:cubicBezTo>
                      <a:lnTo>
                        <a:pt x="138435" y="1349679"/>
                      </a:lnTo>
                      <a:cubicBezTo>
                        <a:pt x="144424" y="1364711"/>
                        <a:pt x="139917" y="1383118"/>
                        <a:pt x="128469" y="1394409"/>
                      </a:cubicBezTo>
                      <a:cubicBezTo>
                        <a:pt x="143735" y="1405208"/>
                        <a:pt x="148331" y="1427875"/>
                        <a:pt x="142312" y="1444831"/>
                      </a:cubicBezTo>
                      <a:cubicBezTo>
                        <a:pt x="141481" y="1447149"/>
                        <a:pt x="140550" y="1449727"/>
                        <a:pt x="140970" y="1450583"/>
                      </a:cubicBezTo>
                      <a:cubicBezTo>
                        <a:pt x="141255" y="1451148"/>
                        <a:pt x="142625" y="1451982"/>
                        <a:pt x="143738" y="1452650"/>
                      </a:cubicBezTo>
                      <a:cubicBezTo>
                        <a:pt x="144765" y="1453268"/>
                        <a:pt x="145784" y="1453896"/>
                        <a:pt x="146711" y="1454603"/>
                      </a:cubicBezTo>
                      <a:cubicBezTo>
                        <a:pt x="156125" y="1461780"/>
                        <a:pt x="154836" y="1473150"/>
                        <a:pt x="153699" y="1483181"/>
                      </a:cubicBezTo>
                      <a:cubicBezTo>
                        <a:pt x="152992" y="1489413"/>
                        <a:pt x="152263" y="1495857"/>
                        <a:pt x="154099" y="1500689"/>
                      </a:cubicBezTo>
                      <a:cubicBezTo>
                        <a:pt x="156968" y="1508213"/>
                        <a:pt x="166319" y="1512243"/>
                        <a:pt x="174157" y="1514911"/>
                      </a:cubicBezTo>
                      <a:cubicBezTo>
                        <a:pt x="186030" y="1518969"/>
                        <a:pt x="198320" y="1522123"/>
                        <a:pt x="210675" y="1524288"/>
                      </a:cubicBezTo>
                      <a:cubicBezTo>
                        <a:pt x="227257" y="1529970"/>
                        <a:pt x="243732" y="1533813"/>
                        <a:pt x="260369" y="1535892"/>
                      </a:cubicBezTo>
                      <a:cubicBezTo>
                        <a:pt x="263334" y="1530046"/>
                        <a:pt x="269114" y="1525592"/>
                        <a:pt x="276361" y="1523811"/>
                      </a:cubicBezTo>
                      <a:cubicBezTo>
                        <a:pt x="285404" y="1521596"/>
                        <a:pt x="294329" y="1524111"/>
                        <a:pt x="299702" y="1530364"/>
                      </a:cubicBezTo>
                      <a:lnTo>
                        <a:pt x="300682" y="1531510"/>
                      </a:lnTo>
                      <a:lnTo>
                        <a:pt x="300912" y="1532999"/>
                      </a:lnTo>
                      <a:cubicBezTo>
                        <a:pt x="304801" y="1557885"/>
                        <a:pt x="310253" y="1582808"/>
                        <a:pt x="317127" y="1607073"/>
                      </a:cubicBezTo>
                      <a:cubicBezTo>
                        <a:pt x="320536" y="1619103"/>
                        <a:pt x="324969" y="1625326"/>
                        <a:pt x="330693" y="1626096"/>
                      </a:cubicBezTo>
                      <a:cubicBezTo>
                        <a:pt x="331926" y="1626251"/>
                        <a:pt x="333189" y="1626192"/>
                        <a:pt x="334479" y="1626150"/>
                      </a:cubicBezTo>
                      <a:cubicBezTo>
                        <a:pt x="337035" y="1626060"/>
                        <a:pt x="340002" y="1625954"/>
                        <a:pt x="343060" y="1626996"/>
                      </a:cubicBezTo>
                      <a:cubicBezTo>
                        <a:pt x="350142" y="1629410"/>
                        <a:pt x="353099" y="1636029"/>
                        <a:pt x="355476" y="1641347"/>
                      </a:cubicBezTo>
                      <a:cubicBezTo>
                        <a:pt x="356539" y="1643708"/>
                        <a:pt x="357528" y="1645940"/>
                        <a:pt x="358750" y="1647684"/>
                      </a:cubicBezTo>
                      <a:cubicBezTo>
                        <a:pt x="361405" y="1651486"/>
                        <a:pt x="366267" y="1654123"/>
                        <a:pt x="370543" y="1656448"/>
                      </a:cubicBezTo>
                      <a:lnTo>
                        <a:pt x="422691" y="1684811"/>
                      </a:lnTo>
                      <a:cubicBezTo>
                        <a:pt x="425785" y="1686501"/>
                        <a:pt x="430467" y="1689045"/>
                        <a:pt x="432462" y="1694114"/>
                      </a:cubicBezTo>
                      <a:cubicBezTo>
                        <a:pt x="434117" y="1698287"/>
                        <a:pt x="433217" y="1702579"/>
                        <a:pt x="432639" y="1705423"/>
                      </a:cubicBezTo>
                      <a:cubicBezTo>
                        <a:pt x="429784" y="1719258"/>
                        <a:pt x="426230" y="1736479"/>
                        <a:pt x="414769" y="1748754"/>
                      </a:cubicBezTo>
                      <a:cubicBezTo>
                        <a:pt x="412418" y="1751269"/>
                        <a:pt x="409789" y="1753497"/>
                        <a:pt x="407158" y="1755721"/>
                      </a:cubicBezTo>
                      <a:cubicBezTo>
                        <a:pt x="404702" y="1757793"/>
                        <a:pt x="402235" y="1759848"/>
                        <a:pt x="400091" y="1762232"/>
                      </a:cubicBezTo>
                      <a:cubicBezTo>
                        <a:pt x="394426" y="1768490"/>
                        <a:pt x="391630" y="1777463"/>
                        <a:pt x="392403" y="1786855"/>
                      </a:cubicBezTo>
                      <a:cubicBezTo>
                        <a:pt x="393168" y="1796250"/>
                        <a:pt x="397398" y="1804648"/>
                        <a:pt x="403996" y="1809905"/>
                      </a:cubicBezTo>
                      <a:cubicBezTo>
                        <a:pt x="406035" y="1811523"/>
                        <a:pt x="408289" y="1812960"/>
                        <a:pt x="410536" y="1814403"/>
                      </a:cubicBezTo>
                      <a:cubicBezTo>
                        <a:pt x="413244" y="1816140"/>
                        <a:pt x="416090" y="1818025"/>
                        <a:pt x="418714" y="1820229"/>
                      </a:cubicBezTo>
                      <a:cubicBezTo>
                        <a:pt x="437753" y="1814563"/>
                        <a:pt x="455322" y="1810491"/>
                        <a:pt x="472264" y="1807884"/>
                      </a:cubicBezTo>
                      <a:cubicBezTo>
                        <a:pt x="477688" y="1807052"/>
                        <a:pt x="483123" y="1806359"/>
                        <a:pt x="488580" y="1805988"/>
                      </a:cubicBezTo>
                      <a:cubicBezTo>
                        <a:pt x="506228" y="1804816"/>
                        <a:pt x="524459" y="1807126"/>
                        <a:pt x="541245" y="1812710"/>
                      </a:cubicBezTo>
                      <a:lnTo>
                        <a:pt x="545061" y="1813981"/>
                      </a:lnTo>
                      <a:lnTo>
                        <a:pt x="542536" y="1866232"/>
                      </a:lnTo>
                      <a:cubicBezTo>
                        <a:pt x="542376" y="1869712"/>
                        <a:pt x="542196" y="1873312"/>
                        <a:pt x="543405" y="1875978"/>
                      </a:cubicBezTo>
                      <a:cubicBezTo>
                        <a:pt x="545582" y="1880797"/>
                        <a:pt x="552279" y="1882867"/>
                        <a:pt x="557510" y="1883759"/>
                      </a:cubicBezTo>
                      <a:cubicBezTo>
                        <a:pt x="566738" y="1885319"/>
                        <a:pt x="576405" y="1885014"/>
                        <a:pt x="585501" y="1882923"/>
                      </a:cubicBezTo>
                      <a:cubicBezTo>
                        <a:pt x="586895" y="1882603"/>
                        <a:pt x="588278" y="1882241"/>
                        <a:pt x="589671" y="1881878"/>
                      </a:cubicBezTo>
                      <a:cubicBezTo>
                        <a:pt x="595628" y="1880333"/>
                        <a:pt x="602368" y="1878587"/>
                        <a:pt x="609340" y="1879931"/>
                      </a:cubicBezTo>
                      <a:cubicBezTo>
                        <a:pt x="619614" y="1881933"/>
                        <a:pt x="632280" y="1890716"/>
                        <a:pt x="635926" y="1920637"/>
                      </a:cubicBezTo>
                      <a:cubicBezTo>
                        <a:pt x="651764" y="1919648"/>
                        <a:pt x="668157" y="1920881"/>
                        <a:pt x="678489" y="1931935"/>
                      </a:cubicBezTo>
                      <a:cubicBezTo>
                        <a:pt x="682848" y="1930893"/>
                        <a:pt x="686969" y="1927464"/>
                        <a:pt x="691285" y="1923868"/>
                      </a:cubicBezTo>
                      <a:cubicBezTo>
                        <a:pt x="692838" y="1922574"/>
                        <a:pt x="694379" y="1921292"/>
                        <a:pt x="695942" y="1920105"/>
                      </a:cubicBezTo>
                      <a:cubicBezTo>
                        <a:pt x="700941" y="1916302"/>
                        <a:pt x="709022" y="1912648"/>
                        <a:pt x="716830" y="1913743"/>
                      </a:cubicBezTo>
                      <a:cubicBezTo>
                        <a:pt x="721271" y="1914378"/>
                        <a:pt x="724960" y="1916526"/>
                        <a:pt x="727497" y="1919952"/>
                      </a:cubicBezTo>
                      <a:cubicBezTo>
                        <a:pt x="728439" y="1921227"/>
                        <a:pt x="729204" y="1922701"/>
                        <a:pt x="729931" y="1924180"/>
                      </a:cubicBezTo>
                      <a:cubicBezTo>
                        <a:pt x="730445" y="1925214"/>
                        <a:pt x="731307" y="1926951"/>
                        <a:pt x="731762" y="1927149"/>
                      </a:cubicBezTo>
                      <a:cubicBezTo>
                        <a:pt x="732209" y="1927312"/>
                        <a:pt x="733779" y="1926994"/>
                        <a:pt x="734728" y="1926801"/>
                      </a:cubicBezTo>
                      <a:cubicBezTo>
                        <a:pt x="736454" y="1926452"/>
                        <a:pt x="738591" y="1926022"/>
                        <a:pt x="740909" y="1926247"/>
                      </a:cubicBezTo>
                      <a:cubicBezTo>
                        <a:pt x="747877" y="1926958"/>
                        <a:pt x="751372" y="1932500"/>
                        <a:pt x="754188" y="1936946"/>
                      </a:cubicBezTo>
                      <a:cubicBezTo>
                        <a:pt x="755853" y="1939591"/>
                        <a:pt x="757434" y="1942088"/>
                        <a:pt x="759282" y="1943104"/>
                      </a:cubicBezTo>
                      <a:cubicBezTo>
                        <a:pt x="762023" y="1944614"/>
                        <a:pt x="765675" y="1943313"/>
                        <a:pt x="771356" y="1941027"/>
                      </a:cubicBezTo>
                      <a:cubicBezTo>
                        <a:pt x="773636" y="1940104"/>
                        <a:pt x="775915" y="1939198"/>
                        <a:pt x="778153" y="1938556"/>
                      </a:cubicBezTo>
                      <a:cubicBezTo>
                        <a:pt x="785184" y="1936564"/>
                        <a:pt x="794551" y="1940242"/>
                        <a:pt x="798154" y="1946469"/>
                      </a:cubicBezTo>
                      <a:cubicBezTo>
                        <a:pt x="798532" y="1947121"/>
                        <a:pt x="798837" y="1947782"/>
                        <a:pt x="799081" y="1948452"/>
                      </a:cubicBezTo>
                      <a:cubicBezTo>
                        <a:pt x="835138" y="1941712"/>
                        <a:pt x="874224" y="1945862"/>
                        <a:pt x="912573" y="1960587"/>
                      </a:cubicBezTo>
                      <a:cubicBezTo>
                        <a:pt x="915435" y="1961683"/>
                        <a:pt x="918425" y="1962979"/>
                        <a:pt x="920740" y="1965635"/>
                      </a:cubicBezTo>
                      <a:cubicBezTo>
                        <a:pt x="928628" y="1974718"/>
                        <a:pt x="920758" y="1984374"/>
                        <a:pt x="915006" y="1991430"/>
                      </a:cubicBezTo>
                      <a:cubicBezTo>
                        <a:pt x="913324" y="1993490"/>
                        <a:pt x="911645" y="1995530"/>
                        <a:pt x="910367" y="1997531"/>
                      </a:cubicBezTo>
                      <a:cubicBezTo>
                        <a:pt x="906369" y="2003749"/>
                        <a:pt x="906865" y="2013336"/>
                        <a:pt x="911688" y="2023173"/>
                      </a:cubicBezTo>
                      <a:cubicBezTo>
                        <a:pt x="913735" y="2027340"/>
                        <a:pt x="916257" y="2031277"/>
                        <a:pt x="918917" y="2035441"/>
                      </a:cubicBezTo>
                      <a:cubicBezTo>
                        <a:pt x="922116" y="2040433"/>
                        <a:pt x="925413" y="2045595"/>
                        <a:pt x="927919" y="2051297"/>
                      </a:cubicBezTo>
                      <a:cubicBezTo>
                        <a:pt x="933854" y="2064837"/>
                        <a:pt x="934645" y="2080676"/>
                        <a:pt x="930085" y="2094746"/>
                      </a:cubicBezTo>
                      <a:cubicBezTo>
                        <a:pt x="927304" y="2103309"/>
                        <a:pt x="919058" y="2110985"/>
                        <a:pt x="911308" y="2112231"/>
                      </a:cubicBezTo>
                      <a:cubicBezTo>
                        <a:pt x="908487" y="2112656"/>
                        <a:pt x="905838" y="2112292"/>
                        <a:pt x="903512" y="2111153"/>
                      </a:cubicBezTo>
                      <a:cubicBezTo>
                        <a:pt x="885609" y="2129262"/>
                        <a:pt x="863621" y="2143049"/>
                        <a:pt x="839489" y="2151256"/>
                      </a:cubicBezTo>
                      <a:cubicBezTo>
                        <a:pt x="837554" y="2163546"/>
                        <a:pt x="839960" y="2176461"/>
                        <a:pt x="846121" y="2187295"/>
                      </a:cubicBezTo>
                      <a:cubicBezTo>
                        <a:pt x="863874" y="2181284"/>
                        <a:pt x="883548" y="2178475"/>
                        <a:pt x="902070" y="2176395"/>
                      </a:cubicBezTo>
                      <a:cubicBezTo>
                        <a:pt x="902487" y="2189827"/>
                        <a:pt x="892121" y="2202788"/>
                        <a:pt x="878922" y="2205330"/>
                      </a:cubicBezTo>
                      <a:cubicBezTo>
                        <a:pt x="881126" y="2211896"/>
                        <a:pt x="883330" y="2218464"/>
                        <a:pt x="885535" y="2225029"/>
                      </a:cubicBezTo>
                      <a:cubicBezTo>
                        <a:pt x="875434" y="2234500"/>
                        <a:pt x="858292" y="2235195"/>
                        <a:pt x="847456" y="2226575"/>
                      </a:cubicBezTo>
                      <a:cubicBezTo>
                        <a:pt x="842230" y="2230452"/>
                        <a:pt x="838356" y="2236117"/>
                        <a:pt x="836637" y="2242391"/>
                      </a:cubicBezTo>
                      <a:cubicBezTo>
                        <a:pt x="858457" y="2248831"/>
                        <a:pt x="871735" y="2275580"/>
                        <a:pt x="863670" y="2296853"/>
                      </a:cubicBezTo>
                      <a:cubicBezTo>
                        <a:pt x="855935" y="2292781"/>
                        <a:pt x="847417" y="2302023"/>
                        <a:pt x="846017" y="2310652"/>
                      </a:cubicBezTo>
                      <a:cubicBezTo>
                        <a:pt x="844621" y="2319282"/>
                        <a:pt x="846415" y="2328766"/>
                        <a:pt x="842046" y="2336338"/>
                      </a:cubicBezTo>
                      <a:cubicBezTo>
                        <a:pt x="837664" y="2343928"/>
                        <a:pt x="827982" y="2347737"/>
                        <a:pt x="824836" y="2355916"/>
                      </a:cubicBezTo>
                      <a:cubicBezTo>
                        <a:pt x="819221" y="2370517"/>
                        <a:pt x="837718" y="2382351"/>
                        <a:pt x="852850" y="2386309"/>
                      </a:cubicBezTo>
                      <a:cubicBezTo>
                        <a:pt x="867984" y="2390269"/>
                        <a:pt x="887284" y="2398149"/>
                        <a:pt x="885809" y="2413723"/>
                      </a:cubicBezTo>
                      <a:cubicBezTo>
                        <a:pt x="917439" y="2401205"/>
                        <a:pt x="959875" y="2421342"/>
                        <a:pt x="986402" y="2446625"/>
                      </a:cubicBezTo>
                      <a:cubicBezTo>
                        <a:pt x="987434" y="2446146"/>
                        <a:pt x="988514" y="2445736"/>
                        <a:pt x="989661" y="2445434"/>
                      </a:cubicBezTo>
                      <a:cubicBezTo>
                        <a:pt x="995668" y="2443848"/>
                        <a:pt x="1002678" y="2444955"/>
                        <a:pt x="1007978" y="2448278"/>
                      </a:cubicBezTo>
                      <a:cubicBezTo>
                        <a:pt x="1015106" y="2452764"/>
                        <a:pt x="1019454" y="2459889"/>
                        <a:pt x="1022833" y="2466379"/>
                      </a:cubicBezTo>
                      <a:cubicBezTo>
                        <a:pt x="1037603" y="2462348"/>
                        <a:pt x="1049853" y="2448944"/>
                        <a:pt x="1052056" y="2433776"/>
                      </a:cubicBezTo>
                      <a:lnTo>
                        <a:pt x="1052931" y="2427719"/>
                      </a:lnTo>
                      <a:lnTo>
                        <a:pt x="1058798" y="2429453"/>
                      </a:lnTo>
                      <a:cubicBezTo>
                        <a:pt x="1067257" y="2431987"/>
                        <a:pt x="1077199" y="2428251"/>
                        <a:pt x="1081975" y="2420851"/>
                      </a:cubicBezTo>
                      <a:lnTo>
                        <a:pt x="1083416" y="2418617"/>
                      </a:lnTo>
                      <a:lnTo>
                        <a:pt x="1086062" y="2418443"/>
                      </a:lnTo>
                      <a:cubicBezTo>
                        <a:pt x="1098294" y="2417783"/>
                        <a:pt x="1102358" y="2428673"/>
                        <a:pt x="1105754" y="2437566"/>
                      </a:cubicBezTo>
                      <a:cubicBezTo>
                        <a:pt x="1107643" y="2442505"/>
                        <a:pt x="1109593" y="2447610"/>
                        <a:pt x="1112513" y="2450588"/>
                      </a:cubicBezTo>
                      <a:cubicBezTo>
                        <a:pt x="1117358" y="2455547"/>
                        <a:pt x="1126470" y="2455301"/>
                        <a:pt x="1134584" y="2454651"/>
                      </a:cubicBezTo>
                      <a:lnTo>
                        <a:pt x="1206695" y="2449002"/>
                      </a:lnTo>
                      <a:cubicBezTo>
                        <a:pt x="1233106" y="2446953"/>
                        <a:pt x="1265989" y="2444379"/>
                        <a:pt x="1293887" y="2457274"/>
                      </a:cubicBezTo>
                      <a:lnTo>
                        <a:pt x="1300716" y="2460431"/>
                      </a:lnTo>
                      <a:lnTo>
                        <a:pt x="1295442" y="2465796"/>
                      </a:lnTo>
                      <a:cubicBezTo>
                        <a:pt x="1295175" y="2466068"/>
                        <a:pt x="1294682" y="2466567"/>
                        <a:pt x="1295270" y="2468062"/>
                      </a:cubicBezTo>
                      <a:cubicBezTo>
                        <a:pt x="1296326" y="2470754"/>
                        <a:pt x="1299654" y="2473234"/>
                        <a:pt x="1302386" y="2473368"/>
                      </a:cubicBezTo>
                      <a:cubicBezTo>
                        <a:pt x="1306429" y="2473524"/>
                        <a:pt x="1310546" y="2472097"/>
                        <a:pt x="1314972" y="2470553"/>
                      </a:cubicBezTo>
                      <a:cubicBezTo>
                        <a:pt x="1318192" y="2469432"/>
                        <a:pt x="1321522" y="2468269"/>
                        <a:pt x="1325096" y="2467612"/>
                      </a:cubicBezTo>
                      <a:cubicBezTo>
                        <a:pt x="1328712" y="2466945"/>
                        <a:pt x="1332251" y="2466865"/>
                        <a:pt x="1335683" y="2466778"/>
                      </a:cubicBezTo>
                      <a:cubicBezTo>
                        <a:pt x="1339984" y="2466684"/>
                        <a:pt x="1344060" y="2466580"/>
                        <a:pt x="1347576" y="2465323"/>
                      </a:cubicBezTo>
                      <a:cubicBezTo>
                        <a:pt x="1351775" y="2463824"/>
                        <a:pt x="1355435" y="2460611"/>
                        <a:pt x="1359307" y="2457199"/>
                      </a:cubicBezTo>
                      <a:cubicBezTo>
                        <a:pt x="1362985" y="2453964"/>
                        <a:pt x="1366787" y="2450616"/>
                        <a:pt x="1371506" y="2448275"/>
                      </a:cubicBezTo>
                      <a:cubicBezTo>
                        <a:pt x="1378925" y="2444608"/>
                        <a:pt x="1389458" y="2446226"/>
                        <a:pt x="1395518" y="2451943"/>
                      </a:cubicBezTo>
                      <a:cubicBezTo>
                        <a:pt x="1396144" y="2452526"/>
                        <a:pt x="1396697" y="2453145"/>
                        <a:pt x="1397188" y="2453793"/>
                      </a:cubicBezTo>
                      <a:cubicBezTo>
                        <a:pt x="1398506" y="2453120"/>
                        <a:pt x="1399941" y="2452602"/>
                        <a:pt x="1401467" y="2452240"/>
                      </a:cubicBezTo>
                      <a:cubicBezTo>
                        <a:pt x="1412018" y="2449699"/>
                        <a:pt x="1424949" y="2455075"/>
                        <a:pt x="1432462" y="2461130"/>
                      </a:cubicBezTo>
                      <a:lnTo>
                        <a:pt x="1434499" y="2462781"/>
                      </a:lnTo>
                      <a:cubicBezTo>
                        <a:pt x="1443677" y="2470232"/>
                        <a:pt x="1454063" y="2478613"/>
                        <a:pt x="1462899" y="2474948"/>
                      </a:cubicBezTo>
                      <a:lnTo>
                        <a:pt x="1467271" y="2473107"/>
                      </a:lnTo>
                      <a:lnTo>
                        <a:pt x="1486080" y="2506838"/>
                      </a:lnTo>
                      <a:cubicBezTo>
                        <a:pt x="1487338" y="2505040"/>
                        <a:pt x="1488226" y="2501899"/>
                        <a:pt x="1489398" y="2497092"/>
                      </a:cubicBezTo>
                      <a:cubicBezTo>
                        <a:pt x="1490753" y="2491538"/>
                        <a:pt x="1492280" y="2485247"/>
                        <a:pt x="1496268" y="2480532"/>
                      </a:cubicBezTo>
                      <a:cubicBezTo>
                        <a:pt x="1505801" y="2469281"/>
                        <a:pt x="1522897" y="2471790"/>
                        <a:pt x="1541962" y="2487224"/>
                      </a:cubicBezTo>
                      <a:cubicBezTo>
                        <a:pt x="1550153" y="2493866"/>
                        <a:pt x="1560202" y="2497636"/>
                        <a:pt x="1566442" y="2496587"/>
                      </a:cubicBezTo>
                      <a:cubicBezTo>
                        <a:pt x="1568943" y="2496136"/>
                        <a:pt x="1570691" y="2494932"/>
                        <a:pt x="1571946" y="2492791"/>
                      </a:cubicBezTo>
                      <a:lnTo>
                        <a:pt x="1582700" y="2474579"/>
                      </a:lnTo>
                      <a:lnTo>
                        <a:pt x="1581795" y="2495715"/>
                      </a:lnTo>
                      <a:cubicBezTo>
                        <a:pt x="1581698" y="2498065"/>
                        <a:pt x="1582845" y="2500602"/>
                        <a:pt x="1584875" y="2502509"/>
                      </a:cubicBezTo>
                      <a:cubicBezTo>
                        <a:pt x="1586906" y="2504418"/>
                        <a:pt x="1589581" y="2505505"/>
                        <a:pt x="1591846" y="2505147"/>
                      </a:cubicBezTo>
                      <a:cubicBezTo>
                        <a:pt x="1594182" y="2504903"/>
                        <a:pt x="1596530" y="2503396"/>
                        <a:pt x="1598115" y="2501108"/>
                      </a:cubicBezTo>
                      <a:cubicBezTo>
                        <a:pt x="1599690" y="2498821"/>
                        <a:pt x="1600290" y="2496096"/>
                        <a:pt x="1599695" y="2493824"/>
                      </a:cubicBezTo>
                      <a:cubicBezTo>
                        <a:pt x="1599377" y="2492575"/>
                        <a:pt x="1598838" y="2491381"/>
                        <a:pt x="1598312" y="2490184"/>
                      </a:cubicBezTo>
                      <a:cubicBezTo>
                        <a:pt x="1597080" y="2487349"/>
                        <a:pt x="1595554" y="2483824"/>
                        <a:pt x="1595948" y="2479724"/>
                      </a:cubicBezTo>
                      <a:cubicBezTo>
                        <a:pt x="1596706" y="2471950"/>
                        <a:pt x="1603195" y="2468023"/>
                        <a:pt x="1608414" y="2464871"/>
                      </a:cubicBezTo>
                      <a:cubicBezTo>
                        <a:pt x="1612089" y="2462648"/>
                        <a:pt x="1615570" y="2460557"/>
                        <a:pt x="1616059" y="2457998"/>
                      </a:cubicBezTo>
                      <a:cubicBezTo>
                        <a:pt x="1616428" y="2456081"/>
                        <a:pt x="1615208" y="2453649"/>
                        <a:pt x="1613802" y="2450817"/>
                      </a:cubicBezTo>
                      <a:cubicBezTo>
                        <a:pt x="1612929" y="2449066"/>
                        <a:pt x="1612057" y="2447291"/>
                        <a:pt x="1611434" y="2445495"/>
                      </a:cubicBezTo>
                      <a:cubicBezTo>
                        <a:pt x="1609733" y="2440657"/>
                        <a:pt x="1610959" y="2434613"/>
                        <a:pt x="1614129" y="2430810"/>
                      </a:cubicBezTo>
                      <a:cubicBezTo>
                        <a:pt x="1584533" y="2414971"/>
                        <a:pt x="1552319" y="2403066"/>
                        <a:pt x="1528714" y="2379446"/>
                      </a:cubicBezTo>
                      <a:cubicBezTo>
                        <a:pt x="1521583" y="2372306"/>
                        <a:pt x="1515399" y="2364216"/>
                        <a:pt x="1510385" y="2355454"/>
                      </a:cubicBezTo>
                      <a:cubicBezTo>
                        <a:pt x="1498533" y="2334750"/>
                        <a:pt x="1493261" y="2310534"/>
                        <a:pt x="1479575" y="2290994"/>
                      </a:cubicBezTo>
                      <a:cubicBezTo>
                        <a:pt x="1465886" y="2271452"/>
                        <a:pt x="1438278" y="2257754"/>
                        <a:pt x="1418146" y="2270557"/>
                      </a:cubicBezTo>
                      <a:cubicBezTo>
                        <a:pt x="1421684" y="2222812"/>
                        <a:pt x="1425220" y="2175066"/>
                        <a:pt x="1428756" y="2127322"/>
                      </a:cubicBezTo>
                      <a:cubicBezTo>
                        <a:pt x="1439130" y="2127332"/>
                        <a:pt x="1449472" y="2130751"/>
                        <a:pt x="1457805" y="2136927"/>
                      </a:cubicBezTo>
                      <a:cubicBezTo>
                        <a:pt x="1471450" y="2113105"/>
                        <a:pt x="1485092" y="2089285"/>
                        <a:pt x="1498736" y="2065463"/>
                      </a:cubicBezTo>
                      <a:cubicBezTo>
                        <a:pt x="1479419" y="2065025"/>
                        <a:pt x="1462217" y="2047131"/>
                        <a:pt x="1462539" y="2027812"/>
                      </a:cubicBezTo>
                      <a:cubicBezTo>
                        <a:pt x="1473077" y="2028995"/>
                        <a:pt x="1483613" y="2030179"/>
                        <a:pt x="1494151" y="2031363"/>
                      </a:cubicBezTo>
                      <a:cubicBezTo>
                        <a:pt x="1461142" y="2009724"/>
                        <a:pt x="1425706" y="1974453"/>
                        <a:pt x="1402643" y="1942421"/>
                      </a:cubicBezTo>
                      <a:cubicBezTo>
                        <a:pt x="1395604" y="1951271"/>
                        <a:pt x="1391947" y="1962741"/>
                        <a:pt x="1392559" y="1974034"/>
                      </a:cubicBezTo>
                      <a:cubicBezTo>
                        <a:pt x="1383301" y="1984074"/>
                        <a:pt x="1366480" y="1973296"/>
                        <a:pt x="1360251" y="1961139"/>
                      </a:cubicBezTo>
                      <a:cubicBezTo>
                        <a:pt x="1354025" y="1948984"/>
                        <a:pt x="1349355" y="1933381"/>
                        <a:pt x="1336227" y="1929607"/>
                      </a:cubicBezTo>
                      <a:cubicBezTo>
                        <a:pt x="1328583" y="1927408"/>
                        <a:pt x="1320307" y="1930217"/>
                        <a:pt x="1312482" y="1928791"/>
                      </a:cubicBezTo>
                      <a:cubicBezTo>
                        <a:pt x="1292824" y="1925209"/>
                        <a:pt x="1291415" y="1890672"/>
                        <a:pt x="1310714" y="1885495"/>
                      </a:cubicBezTo>
                      <a:cubicBezTo>
                        <a:pt x="1286599" y="1860587"/>
                        <a:pt x="1284106" y="1822487"/>
                        <a:pt x="1283004" y="1787838"/>
                      </a:cubicBezTo>
                      <a:cubicBezTo>
                        <a:pt x="1282703" y="1778456"/>
                        <a:pt x="1282892" y="1767832"/>
                        <a:pt x="1289750" y="1761423"/>
                      </a:cubicBezTo>
                      <a:cubicBezTo>
                        <a:pt x="1298633" y="1753114"/>
                        <a:pt x="1314178" y="1757414"/>
                        <a:pt x="1321724" y="1766957"/>
                      </a:cubicBezTo>
                      <a:cubicBezTo>
                        <a:pt x="1329265" y="1776502"/>
                        <a:pt x="1330964" y="1789265"/>
                        <a:pt x="1332391" y="1801346"/>
                      </a:cubicBezTo>
                      <a:cubicBezTo>
                        <a:pt x="1338527" y="1813031"/>
                        <a:pt x="1358555" y="1807883"/>
                        <a:pt x="1363331" y="1795578"/>
                      </a:cubicBezTo>
                      <a:cubicBezTo>
                        <a:pt x="1368107" y="1783273"/>
                        <a:pt x="1362540" y="1769488"/>
                        <a:pt x="1355928" y="1758063"/>
                      </a:cubicBezTo>
                      <a:cubicBezTo>
                        <a:pt x="1349319" y="1746639"/>
                        <a:pt x="1341323" y="1735091"/>
                        <a:pt x="1340973" y="1721897"/>
                      </a:cubicBezTo>
                      <a:cubicBezTo>
                        <a:pt x="1351841" y="1718953"/>
                        <a:pt x="1363916" y="1720807"/>
                        <a:pt x="1373397" y="1726877"/>
                      </a:cubicBezTo>
                      <a:cubicBezTo>
                        <a:pt x="1356252" y="1709558"/>
                        <a:pt x="1366566" y="1680320"/>
                        <a:pt x="1379323" y="1659554"/>
                      </a:cubicBezTo>
                      <a:cubicBezTo>
                        <a:pt x="1394136" y="1635432"/>
                        <a:pt x="1411092" y="1612626"/>
                        <a:pt x="1429925" y="1591491"/>
                      </a:cubicBezTo>
                      <a:cubicBezTo>
                        <a:pt x="1435048" y="1600323"/>
                        <a:pt x="1440176" y="1609156"/>
                        <a:pt x="1445299" y="1617987"/>
                      </a:cubicBezTo>
                      <a:cubicBezTo>
                        <a:pt x="1452108" y="1593616"/>
                        <a:pt x="1467626" y="1571776"/>
                        <a:pt x="1488403" y="1557328"/>
                      </a:cubicBezTo>
                      <a:cubicBezTo>
                        <a:pt x="1496855" y="1560241"/>
                        <a:pt x="1504372" y="1565584"/>
                        <a:pt x="1510149" y="1572404"/>
                      </a:cubicBezTo>
                      <a:cubicBezTo>
                        <a:pt x="1506306" y="1565640"/>
                        <a:pt x="1511334" y="1554887"/>
                        <a:pt x="1519337" y="1551951"/>
                      </a:cubicBezTo>
                      <a:cubicBezTo>
                        <a:pt x="1528569" y="1548564"/>
                        <a:pt x="1538756" y="1552018"/>
                        <a:pt x="1547970" y="1555450"/>
                      </a:cubicBezTo>
                      <a:cubicBezTo>
                        <a:pt x="1586877" y="1569948"/>
                        <a:pt x="1625785" y="1584447"/>
                        <a:pt x="1664695" y="1598946"/>
                      </a:cubicBezTo>
                      <a:cubicBezTo>
                        <a:pt x="1653844" y="1584864"/>
                        <a:pt x="1642990" y="1570780"/>
                        <a:pt x="1632139" y="1556698"/>
                      </a:cubicBezTo>
                      <a:cubicBezTo>
                        <a:pt x="1656900" y="1560081"/>
                        <a:pt x="1681663" y="1563464"/>
                        <a:pt x="1706426" y="1566845"/>
                      </a:cubicBezTo>
                      <a:cubicBezTo>
                        <a:pt x="1714087" y="1537343"/>
                        <a:pt x="1735921" y="1511864"/>
                        <a:pt x="1763899" y="1499772"/>
                      </a:cubicBezTo>
                      <a:cubicBezTo>
                        <a:pt x="1769369" y="1500995"/>
                        <a:pt x="1774841" y="1502217"/>
                        <a:pt x="1780311" y="1503442"/>
                      </a:cubicBezTo>
                      <a:cubicBezTo>
                        <a:pt x="1771551" y="1474122"/>
                        <a:pt x="1804035" y="1441565"/>
                        <a:pt x="1833375" y="1450259"/>
                      </a:cubicBezTo>
                      <a:cubicBezTo>
                        <a:pt x="1835125" y="1456436"/>
                        <a:pt x="1836876" y="1462614"/>
                        <a:pt x="1838629" y="1468789"/>
                      </a:cubicBezTo>
                      <a:cubicBezTo>
                        <a:pt x="1855204" y="1461221"/>
                        <a:pt x="1873583" y="1457638"/>
                        <a:pt x="1891787" y="1458438"/>
                      </a:cubicBezTo>
                      <a:cubicBezTo>
                        <a:pt x="1892027" y="1450624"/>
                        <a:pt x="1892270" y="1442811"/>
                        <a:pt x="1892509" y="1434997"/>
                      </a:cubicBezTo>
                      <a:cubicBezTo>
                        <a:pt x="1909276" y="1429878"/>
                        <a:pt x="1926045" y="1424759"/>
                        <a:pt x="1942815" y="1419641"/>
                      </a:cubicBezTo>
                      <a:cubicBezTo>
                        <a:pt x="1959170" y="1396851"/>
                        <a:pt x="1985783" y="1363305"/>
                        <a:pt x="1963591" y="1346145"/>
                      </a:cubicBezTo>
                      <a:close/>
                    </a:path>
                  </a:pathLst>
                </a:custGeom>
                <a:grpFill/>
                <a:ln w="164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s-ES_tradnl" sz="2400"/>
                </a:p>
              </p:txBody>
            </p:sp>
            <p:sp>
              <p:nvSpPr>
                <p:cNvPr id="205" name="Forma libre 204">
                  <a:extLst>
                    <a:ext uri="{FF2B5EF4-FFF2-40B4-BE49-F238E27FC236}">
                      <a16:creationId xmlns:a16="http://schemas.microsoft.com/office/drawing/2014/main" id="{C01F004C-4169-D441-90DB-875B454E50E7}"/>
                    </a:ext>
                  </a:extLst>
                </p:cNvPr>
                <p:cNvSpPr/>
                <p:nvPr/>
              </p:nvSpPr>
              <p:spPr>
                <a:xfrm>
                  <a:off x="7323401" y="3308708"/>
                  <a:ext cx="498398" cy="177282"/>
                </a:xfrm>
                <a:custGeom>
                  <a:avLst/>
                  <a:gdLst>
                    <a:gd name="connsiteX0" fmla="*/ 313116 w 498398"/>
                    <a:gd name="connsiteY0" fmla="*/ 170009 h 177282"/>
                    <a:gd name="connsiteX1" fmla="*/ 325601 w 498398"/>
                    <a:gd name="connsiteY1" fmla="*/ 163493 h 177282"/>
                    <a:gd name="connsiteX2" fmla="*/ 327313 w 498398"/>
                    <a:gd name="connsiteY2" fmla="*/ 161235 h 177282"/>
                    <a:gd name="connsiteX3" fmla="*/ 345625 w 498398"/>
                    <a:gd name="connsiteY3" fmla="*/ 147010 h 177282"/>
                    <a:gd name="connsiteX4" fmla="*/ 353787 w 498398"/>
                    <a:gd name="connsiteY4" fmla="*/ 147157 h 177282"/>
                    <a:gd name="connsiteX5" fmla="*/ 356356 w 498398"/>
                    <a:gd name="connsiteY5" fmla="*/ 147426 h 177282"/>
                    <a:gd name="connsiteX6" fmla="*/ 377009 w 498398"/>
                    <a:gd name="connsiteY6" fmla="*/ 143187 h 177282"/>
                    <a:gd name="connsiteX7" fmla="*/ 416986 w 498398"/>
                    <a:gd name="connsiteY7" fmla="*/ 129575 h 177282"/>
                    <a:gd name="connsiteX8" fmla="*/ 423316 w 498398"/>
                    <a:gd name="connsiteY8" fmla="*/ 125412 h 177282"/>
                    <a:gd name="connsiteX9" fmla="*/ 421745 w 498398"/>
                    <a:gd name="connsiteY9" fmla="*/ 124069 h 177282"/>
                    <a:gd name="connsiteX10" fmla="*/ 419650 w 498398"/>
                    <a:gd name="connsiteY10" fmla="*/ 122142 h 177282"/>
                    <a:gd name="connsiteX11" fmla="*/ 418231 w 498398"/>
                    <a:gd name="connsiteY11" fmla="*/ 102501 h 177282"/>
                    <a:gd name="connsiteX12" fmla="*/ 437224 w 498398"/>
                    <a:gd name="connsiteY12" fmla="*/ 97301 h 177282"/>
                    <a:gd name="connsiteX13" fmla="*/ 443973 w 498398"/>
                    <a:gd name="connsiteY13" fmla="*/ 102214 h 177282"/>
                    <a:gd name="connsiteX14" fmla="*/ 447158 w 498398"/>
                    <a:gd name="connsiteY14" fmla="*/ 104858 h 177282"/>
                    <a:gd name="connsiteX15" fmla="*/ 453630 w 498398"/>
                    <a:gd name="connsiteY15" fmla="*/ 107095 h 177282"/>
                    <a:gd name="connsiteX16" fmla="*/ 495411 w 498398"/>
                    <a:gd name="connsiteY16" fmla="*/ 117302 h 177282"/>
                    <a:gd name="connsiteX17" fmla="*/ 493998 w 498398"/>
                    <a:gd name="connsiteY17" fmla="*/ 88585 h 177282"/>
                    <a:gd name="connsiteX18" fmla="*/ 489839 w 498398"/>
                    <a:gd name="connsiteY18" fmla="*/ 89842 h 177282"/>
                    <a:gd name="connsiteX19" fmla="*/ 486232 w 498398"/>
                    <a:gd name="connsiteY19" fmla="*/ 90364 h 177282"/>
                    <a:gd name="connsiteX20" fmla="*/ 467498 w 498398"/>
                    <a:gd name="connsiteY20" fmla="*/ 56776 h 177282"/>
                    <a:gd name="connsiteX21" fmla="*/ 432931 w 498398"/>
                    <a:gd name="connsiteY21" fmla="*/ 41664 h 177282"/>
                    <a:gd name="connsiteX22" fmla="*/ 430922 w 498398"/>
                    <a:gd name="connsiteY22" fmla="*/ 40037 h 177282"/>
                    <a:gd name="connsiteX23" fmla="*/ 409047 w 498398"/>
                    <a:gd name="connsiteY23" fmla="*/ 33199 h 177282"/>
                    <a:gd name="connsiteX24" fmla="*/ 403885 w 498398"/>
                    <a:gd name="connsiteY24" fmla="*/ 37322 h 177282"/>
                    <a:gd name="connsiteX25" fmla="*/ 394182 w 498398"/>
                    <a:gd name="connsiteY25" fmla="*/ 33082 h 177282"/>
                    <a:gd name="connsiteX26" fmla="*/ 393354 w 498398"/>
                    <a:gd name="connsiteY26" fmla="*/ 30317 h 177282"/>
                    <a:gd name="connsiteX27" fmla="*/ 381311 w 498398"/>
                    <a:gd name="connsiteY27" fmla="*/ 28421 h 177282"/>
                    <a:gd name="connsiteX28" fmla="*/ 371407 w 498398"/>
                    <a:gd name="connsiteY28" fmla="*/ 35808 h 177282"/>
                    <a:gd name="connsiteX29" fmla="*/ 356237 w 498398"/>
                    <a:gd name="connsiteY29" fmla="*/ 45965 h 177282"/>
                    <a:gd name="connsiteX30" fmla="*/ 341027 w 498398"/>
                    <a:gd name="connsiteY30" fmla="*/ 48032 h 177282"/>
                    <a:gd name="connsiteX31" fmla="*/ 332105 w 498398"/>
                    <a:gd name="connsiteY31" fmla="*/ 48689 h 177282"/>
                    <a:gd name="connsiteX32" fmla="*/ 323559 w 498398"/>
                    <a:gd name="connsiteY32" fmla="*/ 51214 h 177282"/>
                    <a:gd name="connsiteX33" fmla="*/ 306984 w 498398"/>
                    <a:gd name="connsiteY33" fmla="*/ 54607 h 177282"/>
                    <a:gd name="connsiteX34" fmla="*/ 290500 w 498398"/>
                    <a:gd name="connsiteY34" fmla="*/ 42587 h 177282"/>
                    <a:gd name="connsiteX35" fmla="*/ 289683 w 498398"/>
                    <a:gd name="connsiteY35" fmla="*/ 35488 h 177282"/>
                    <a:gd name="connsiteX36" fmla="*/ 212620 w 498398"/>
                    <a:gd name="connsiteY36" fmla="*/ 30233 h 177282"/>
                    <a:gd name="connsiteX37" fmla="*/ 140508 w 498398"/>
                    <a:gd name="connsiteY37" fmla="*/ 35882 h 177282"/>
                    <a:gd name="connsiteX38" fmla="*/ 110036 w 498398"/>
                    <a:gd name="connsiteY38" fmla="*/ 28654 h 177282"/>
                    <a:gd name="connsiteX39" fmla="*/ 100964 w 498398"/>
                    <a:gd name="connsiteY39" fmla="*/ 12006 h 177282"/>
                    <a:gd name="connsiteX40" fmla="*/ 93977 w 498398"/>
                    <a:gd name="connsiteY40" fmla="*/ 0 h 177282"/>
                    <a:gd name="connsiteX41" fmla="*/ 66529 w 498398"/>
                    <a:gd name="connsiteY41" fmla="*/ 11367 h 177282"/>
                    <a:gd name="connsiteX42" fmla="*/ 25890 w 498398"/>
                    <a:gd name="connsiteY42" fmla="*/ 48304 h 177282"/>
                    <a:gd name="connsiteX43" fmla="*/ 22058 w 498398"/>
                    <a:gd name="connsiteY43" fmla="*/ 48924 h 177282"/>
                    <a:gd name="connsiteX44" fmla="*/ 20314 w 498398"/>
                    <a:gd name="connsiteY44" fmla="*/ 45452 h 177282"/>
                    <a:gd name="connsiteX45" fmla="*/ 7450 w 498398"/>
                    <a:gd name="connsiteY45" fmla="*/ 27913 h 177282"/>
                    <a:gd name="connsiteX46" fmla="*/ 0 w 498398"/>
                    <a:gd name="connsiteY46" fmla="*/ 26238 h 177282"/>
                    <a:gd name="connsiteX47" fmla="*/ 1343 w 498398"/>
                    <a:gd name="connsiteY47" fmla="*/ 27758 h 177282"/>
                    <a:gd name="connsiteX48" fmla="*/ 30007 w 498398"/>
                    <a:gd name="connsiteY48" fmla="*/ 56395 h 177282"/>
                    <a:gd name="connsiteX49" fmla="*/ 64610 w 498398"/>
                    <a:gd name="connsiteY49" fmla="*/ 57861 h 177282"/>
                    <a:gd name="connsiteX50" fmla="*/ 143228 w 498398"/>
                    <a:gd name="connsiteY50" fmla="*/ 90145 h 177282"/>
                    <a:gd name="connsiteX51" fmla="*/ 182123 w 498398"/>
                    <a:gd name="connsiteY51" fmla="*/ 126489 h 177282"/>
                    <a:gd name="connsiteX52" fmla="*/ 173585 w 498398"/>
                    <a:gd name="connsiteY52" fmla="*/ 174648 h 177282"/>
                    <a:gd name="connsiteX53" fmla="*/ 261153 w 498398"/>
                    <a:gd name="connsiteY53" fmla="*/ 167818 h 177282"/>
                    <a:gd name="connsiteX54" fmla="*/ 278238 w 498398"/>
                    <a:gd name="connsiteY54" fmla="*/ 176852 h 177282"/>
                    <a:gd name="connsiteX55" fmla="*/ 301098 w 498398"/>
                    <a:gd name="connsiteY55" fmla="*/ 174323 h 177282"/>
                    <a:gd name="connsiteX56" fmla="*/ 310499 w 498398"/>
                    <a:gd name="connsiteY56" fmla="*/ 174737 h 177282"/>
                    <a:gd name="connsiteX57" fmla="*/ 313116 w 498398"/>
                    <a:gd name="connsiteY57" fmla="*/ 170009 h 17728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</a:cxnLst>
                  <a:rect l="l" t="t" r="r" b="b"/>
                  <a:pathLst>
                    <a:path w="498398" h="177282">
                      <a:moveTo>
                        <a:pt x="313116" y="170009"/>
                      </a:moveTo>
                      <a:cubicBezTo>
                        <a:pt x="316480" y="171865"/>
                        <a:pt x="322059" y="168049"/>
                        <a:pt x="325601" y="163493"/>
                      </a:cubicBezTo>
                      <a:lnTo>
                        <a:pt x="327313" y="161235"/>
                      </a:lnTo>
                      <a:cubicBezTo>
                        <a:pt x="331612" y="155503"/>
                        <a:pt x="336980" y="148367"/>
                        <a:pt x="345625" y="147010"/>
                      </a:cubicBezTo>
                      <a:cubicBezTo>
                        <a:pt x="348581" y="146522"/>
                        <a:pt x="351334" y="146875"/>
                        <a:pt x="353787" y="147157"/>
                      </a:cubicBezTo>
                      <a:cubicBezTo>
                        <a:pt x="354638" y="147254"/>
                        <a:pt x="355497" y="147361"/>
                        <a:pt x="356356" y="147426"/>
                      </a:cubicBezTo>
                      <a:cubicBezTo>
                        <a:pt x="363080" y="147780"/>
                        <a:pt x="370200" y="145503"/>
                        <a:pt x="377009" y="143187"/>
                      </a:cubicBezTo>
                      <a:lnTo>
                        <a:pt x="416986" y="129575"/>
                      </a:lnTo>
                      <a:cubicBezTo>
                        <a:pt x="420752" y="128297"/>
                        <a:pt x="423113" y="126187"/>
                        <a:pt x="423316" y="125412"/>
                      </a:cubicBezTo>
                      <a:cubicBezTo>
                        <a:pt x="423160" y="125279"/>
                        <a:pt x="422306" y="124552"/>
                        <a:pt x="421745" y="124069"/>
                      </a:cubicBezTo>
                      <a:cubicBezTo>
                        <a:pt x="421017" y="123455"/>
                        <a:pt x="420298" y="122829"/>
                        <a:pt x="419650" y="122142"/>
                      </a:cubicBezTo>
                      <a:cubicBezTo>
                        <a:pt x="414625" y="116885"/>
                        <a:pt x="414013" y="108439"/>
                        <a:pt x="418231" y="102501"/>
                      </a:cubicBezTo>
                      <a:cubicBezTo>
                        <a:pt x="422396" y="96573"/>
                        <a:pt x="430560" y="94352"/>
                        <a:pt x="437224" y="97301"/>
                      </a:cubicBezTo>
                      <a:cubicBezTo>
                        <a:pt x="440058" y="98582"/>
                        <a:pt x="442139" y="100511"/>
                        <a:pt x="443973" y="102214"/>
                      </a:cubicBezTo>
                      <a:cubicBezTo>
                        <a:pt x="444995" y="103157"/>
                        <a:pt x="445986" y="104133"/>
                        <a:pt x="447158" y="104858"/>
                      </a:cubicBezTo>
                      <a:cubicBezTo>
                        <a:pt x="448896" y="105953"/>
                        <a:pt x="451309" y="106535"/>
                        <a:pt x="453630" y="107095"/>
                      </a:cubicBezTo>
                      <a:lnTo>
                        <a:pt x="495411" y="117302"/>
                      </a:lnTo>
                      <a:cubicBezTo>
                        <a:pt x="499944" y="108521"/>
                        <a:pt x="499195" y="97047"/>
                        <a:pt x="493998" y="88585"/>
                      </a:cubicBezTo>
                      <a:cubicBezTo>
                        <a:pt x="492759" y="89153"/>
                        <a:pt x="491413" y="89617"/>
                        <a:pt x="489839" y="89842"/>
                      </a:cubicBezTo>
                      <a:lnTo>
                        <a:pt x="486232" y="90364"/>
                      </a:lnTo>
                      <a:lnTo>
                        <a:pt x="467498" y="56776"/>
                      </a:lnTo>
                      <a:cubicBezTo>
                        <a:pt x="454659" y="59229"/>
                        <a:pt x="442704" y="49599"/>
                        <a:pt x="432931" y="41664"/>
                      </a:cubicBezTo>
                      <a:lnTo>
                        <a:pt x="430922" y="40037"/>
                      </a:lnTo>
                      <a:cubicBezTo>
                        <a:pt x="424314" y="34717"/>
                        <a:pt x="414871" y="31809"/>
                        <a:pt x="409047" y="33199"/>
                      </a:cubicBezTo>
                      <a:cubicBezTo>
                        <a:pt x="406518" y="33807"/>
                        <a:pt x="404883" y="35113"/>
                        <a:pt x="403885" y="37322"/>
                      </a:cubicBezTo>
                      <a:lnTo>
                        <a:pt x="394182" y="33082"/>
                      </a:lnTo>
                      <a:cubicBezTo>
                        <a:pt x="394425" y="32521"/>
                        <a:pt x="394792" y="31672"/>
                        <a:pt x="393354" y="30317"/>
                      </a:cubicBezTo>
                      <a:cubicBezTo>
                        <a:pt x="390781" y="27894"/>
                        <a:pt x="385082" y="26563"/>
                        <a:pt x="381311" y="28421"/>
                      </a:cubicBezTo>
                      <a:cubicBezTo>
                        <a:pt x="377838" y="30155"/>
                        <a:pt x="374715" y="32899"/>
                        <a:pt x="371407" y="35808"/>
                      </a:cubicBezTo>
                      <a:cubicBezTo>
                        <a:pt x="366957" y="39730"/>
                        <a:pt x="362353" y="43789"/>
                        <a:pt x="356237" y="45965"/>
                      </a:cubicBezTo>
                      <a:cubicBezTo>
                        <a:pt x="351110" y="47792"/>
                        <a:pt x="345991" y="47914"/>
                        <a:pt x="341027" y="48032"/>
                      </a:cubicBezTo>
                      <a:cubicBezTo>
                        <a:pt x="337871" y="48108"/>
                        <a:pt x="334895" y="48182"/>
                        <a:pt x="332105" y="48689"/>
                      </a:cubicBezTo>
                      <a:cubicBezTo>
                        <a:pt x="329337" y="49196"/>
                        <a:pt x="326531" y="50179"/>
                        <a:pt x="323559" y="51214"/>
                      </a:cubicBezTo>
                      <a:cubicBezTo>
                        <a:pt x="318373" y="53033"/>
                        <a:pt x="312902" y="54935"/>
                        <a:pt x="306984" y="54607"/>
                      </a:cubicBezTo>
                      <a:cubicBezTo>
                        <a:pt x="300031" y="54277"/>
                        <a:pt x="293105" y="49218"/>
                        <a:pt x="290500" y="42587"/>
                      </a:cubicBezTo>
                      <a:cubicBezTo>
                        <a:pt x="289563" y="40185"/>
                        <a:pt x="289305" y="37767"/>
                        <a:pt x="289683" y="35488"/>
                      </a:cubicBezTo>
                      <a:cubicBezTo>
                        <a:pt x="265390" y="26103"/>
                        <a:pt x="237468" y="28288"/>
                        <a:pt x="212620" y="30233"/>
                      </a:cubicBezTo>
                      <a:lnTo>
                        <a:pt x="140508" y="35882"/>
                      </a:lnTo>
                      <a:cubicBezTo>
                        <a:pt x="129995" y="36717"/>
                        <a:pt x="118081" y="36890"/>
                        <a:pt x="110036" y="28654"/>
                      </a:cubicBezTo>
                      <a:cubicBezTo>
                        <a:pt x="105585" y="24105"/>
                        <a:pt x="103129" y="17681"/>
                        <a:pt x="100964" y="12006"/>
                      </a:cubicBezTo>
                      <a:cubicBezTo>
                        <a:pt x="98107" y="4540"/>
                        <a:pt x="96363" y="1027"/>
                        <a:pt x="93977" y="0"/>
                      </a:cubicBezTo>
                      <a:cubicBezTo>
                        <a:pt x="87386" y="8014"/>
                        <a:pt x="76806" y="12313"/>
                        <a:pt x="66529" y="11367"/>
                      </a:cubicBezTo>
                      <a:cubicBezTo>
                        <a:pt x="61509" y="30093"/>
                        <a:pt x="45187" y="45223"/>
                        <a:pt x="25890" y="48304"/>
                      </a:cubicBezTo>
                      <a:lnTo>
                        <a:pt x="22058" y="48924"/>
                      </a:lnTo>
                      <a:lnTo>
                        <a:pt x="20314" y="45452"/>
                      </a:lnTo>
                      <a:cubicBezTo>
                        <a:pt x="16420" y="37651"/>
                        <a:pt x="12990" y="31408"/>
                        <a:pt x="7450" y="27913"/>
                      </a:cubicBezTo>
                      <a:cubicBezTo>
                        <a:pt x="5301" y="26570"/>
                        <a:pt x="2606" y="26136"/>
                        <a:pt x="0" y="26238"/>
                      </a:cubicBezTo>
                      <a:cubicBezTo>
                        <a:pt x="437" y="26748"/>
                        <a:pt x="923" y="27247"/>
                        <a:pt x="1343" y="27758"/>
                      </a:cubicBezTo>
                      <a:cubicBezTo>
                        <a:pt x="10086" y="38286"/>
                        <a:pt x="17273" y="51389"/>
                        <a:pt x="30007" y="56395"/>
                      </a:cubicBezTo>
                      <a:cubicBezTo>
                        <a:pt x="40838" y="60654"/>
                        <a:pt x="52973" y="57907"/>
                        <a:pt x="64610" y="57861"/>
                      </a:cubicBezTo>
                      <a:cubicBezTo>
                        <a:pt x="93381" y="57746"/>
                        <a:pt x="119252" y="74243"/>
                        <a:pt x="143228" y="90145"/>
                      </a:cubicBezTo>
                      <a:cubicBezTo>
                        <a:pt x="158180" y="100061"/>
                        <a:pt x="173736" y="110628"/>
                        <a:pt x="182123" y="126489"/>
                      </a:cubicBezTo>
                      <a:cubicBezTo>
                        <a:pt x="190509" y="142350"/>
                        <a:pt x="188779" y="165108"/>
                        <a:pt x="173585" y="174648"/>
                      </a:cubicBezTo>
                      <a:cubicBezTo>
                        <a:pt x="201813" y="163423"/>
                        <a:pt x="234942" y="152463"/>
                        <a:pt x="261153" y="167818"/>
                      </a:cubicBezTo>
                      <a:cubicBezTo>
                        <a:pt x="266744" y="171094"/>
                        <a:pt x="271893" y="175535"/>
                        <a:pt x="278238" y="176852"/>
                      </a:cubicBezTo>
                      <a:cubicBezTo>
                        <a:pt x="285794" y="178423"/>
                        <a:pt x="293437" y="175258"/>
                        <a:pt x="301098" y="174323"/>
                      </a:cubicBezTo>
                      <a:cubicBezTo>
                        <a:pt x="304342" y="173928"/>
                        <a:pt x="307464" y="174174"/>
                        <a:pt x="310499" y="174737"/>
                      </a:cubicBezTo>
                      <a:lnTo>
                        <a:pt x="313116" y="170009"/>
                      </a:lnTo>
                      <a:close/>
                    </a:path>
                  </a:pathLst>
                </a:custGeom>
                <a:grpFill/>
                <a:ln w="164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s-ES_tradnl" sz="2400"/>
                </a:p>
              </p:txBody>
            </p:sp>
            <p:grpSp>
              <p:nvGrpSpPr>
                <p:cNvPr id="206" name="Gráfico 16">
                  <a:extLst>
                    <a:ext uri="{FF2B5EF4-FFF2-40B4-BE49-F238E27FC236}">
                      <a16:creationId xmlns:a16="http://schemas.microsoft.com/office/drawing/2014/main" id="{C6CFE6A9-B24E-484F-BB71-FD553C0E4C74}"/>
                    </a:ext>
                  </a:extLst>
                </p:cNvPr>
                <p:cNvGrpSpPr/>
                <p:nvPr/>
              </p:nvGrpSpPr>
              <p:grpSpPr>
                <a:xfrm>
                  <a:off x="7645635" y="3314662"/>
                  <a:ext cx="446071" cy="305229"/>
                  <a:chOff x="7645635" y="3314662"/>
                  <a:chExt cx="446071" cy="305229"/>
                </a:xfrm>
                <a:grpFill/>
              </p:grpSpPr>
              <p:sp>
                <p:nvSpPr>
                  <p:cNvPr id="229" name="Forma libre 228">
                    <a:extLst>
                      <a:ext uri="{FF2B5EF4-FFF2-40B4-BE49-F238E27FC236}">
                        <a16:creationId xmlns:a16="http://schemas.microsoft.com/office/drawing/2014/main" id="{9C5AB5B8-E827-884D-B87A-9509385260C8}"/>
                      </a:ext>
                    </a:extLst>
                  </p:cNvPr>
                  <p:cNvSpPr/>
                  <p:nvPr/>
                </p:nvSpPr>
                <p:spPr>
                  <a:xfrm>
                    <a:off x="7645635" y="3447302"/>
                    <a:ext cx="251792" cy="172589"/>
                  </a:xfrm>
                  <a:custGeom>
                    <a:avLst/>
                    <a:gdLst>
                      <a:gd name="connsiteX0" fmla="*/ 229798 w 251792"/>
                      <a:gd name="connsiteY0" fmla="*/ 118574 h 172589"/>
                      <a:gd name="connsiteX1" fmla="*/ 226784 w 251792"/>
                      <a:gd name="connsiteY1" fmla="*/ 114086 h 172589"/>
                      <a:gd name="connsiteX2" fmla="*/ 219558 w 251792"/>
                      <a:gd name="connsiteY2" fmla="*/ 105006 h 172589"/>
                      <a:gd name="connsiteX3" fmla="*/ 199968 w 251792"/>
                      <a:gd name="connsiteY3" fmla="*/ 99495 h 172589"/>
                      <a:gd name="connsiteX4" fmla="*/ 179922 w 251792"/>
                      <a:gd name="connsiteY4" fmla="*/ 95074 h 172589"/>
                      <a:gd name="connsiteX5" fmla="*/ 178770 w 251792"/>
                      <a:gd name="connsiteY5" fmla="*/ 94535 h 172589"/>
                      <a:gd name="connsiteX6" fmla="*/ 177986 w 251792"/>
                      <a:gd name="connsiteY6" fmla="*/ 93516 h 172589"/>
                      <a:gd name="connsiteX7" fmla="*/ 176611 w 251792"/>
                      <a:gd name="connsiteY7" fmla="*/ 85334 h 172589"/>
                      <a:gd name="connsiteX8" fmla="*/ 185578 w 251792"/>
                      <a:gd name="connsiteY8" fmla="*/ 77002 h 172589"/>
                      <a:gd name="connsiteX9" fmla="*/ 188862 w 251792"/>
                      <a:gd name="connsiteY9" fmla="*/ 76203 h 172589"/>
                      <a:gd name="connsiteX10" fmla="*/ 193215 w 251792"/>
                      <a:gd name="connsiteY10" fmla="*/ 74691 h 172589"/>
                      <a:gd name="connsiteX11" fmla="*/ 190456 w 251792"/>
                      <a:gd name="connsiteY11" fmla="*/ 70947 h 172589"/>
                      <a:gd name="connsiteX12" fmla="*/ 178650 w 251792"/>
                      <a:gd name="connsiteY12" fmla="*/ 73011 h 172589"/>
                      <a:gd name="connsiteX13" fmla="*/ 161570 w 251792"/>
                      <a:gd name="connsiteY13" fmla="*/ 79386 h 172589"/>
                      <a:gd name="connsiteX14" fmla="*/ 172570 w 251792"/>
                      <a:gd name="connsiteY14" fmla="*/ 64854 h 172589"/>
                      <a:gd name="connsiteX15" fmla="*/ 173657 w 251792"/>
                      <a:gd name="connsiteY15" fmla="*/ 58185 h 172589"/>
                      <a:gd name="connsiteX16" fmla="*/ 164795 w 251792"/>
                      <a:gd name="connsiteY16" fmla="*/ 47402 h 172589"/>
                      <a:gd name="connsiteX17" fmla="*/ 145167 w 251792"/>
                      <a:gd name="connsiteY17" fmla="*/ 43452 h 172589"/>
                      <a:gd name="connsiteX18" fmla="*/ 135860 w 251792"/>
                      <a:gd name="connsiteY18" fmla="*/ 42488 h 172589"/>
                      <a:gd name="connsiteX19" fmla="*/ 124903 w 251792"/>
                      <a:gd name="connsiteY19" fmla="*/ 36644 h 172589"/>
                      <a:gd name="connsiteX20" fmla="*/ 123329 w 251792"/>
                      <a:gd name="connsiteY20" fmla="*/ 29458 h 172589"/>
                      <a:gd name="connsiteX21" fmla="*/ 128290 w 251792"/>
                      <a:gd name="connsiteY21" fmla="*/ 22303 h 172589"/>
                      <a:gd name="connsiteX22" fmla="*/ 129298 w 251792"/>
                      <a:gd name="connsiteY22" fmla="*/ 21428 h 172589"/>
                      <a:gd name="connsiteX23" fmla="*/ 131351 w 251792"/>
                      <a:gd name="connsiteY23" fmla="*/ 15081 h 172589"/>
                      <a:gd name="connsiteX24" fmla="*/ 125086 w 251792"/>
                      <a:gd name="connsiteY24" fmla="*/ 4466 h 172589"/>
                      <a:gd name="connsiteX25" fmla="*/ 100638 w 251792"/>
                      <a:gd name="connsiteY25" fmla="*/ 24 h 172589"/>
                      <a:gd name="connsiteX26" fmla="*/ 98158 w 251792"/>
                      <a:gd name="connsiteY26" fmla="*/ 1009 h 172589"/>
                      <a:gd name="connsiteX27" fmla="*/ 58181 w 251792"/>
                      <a:gd name="connsiteY27" fmla="*/ 14619 h 172589"/>
                      <a:gd name="connsiteX28" fmla="*/ 33382 w 251792"/>
                      <a:gd name="connsiteY28" fmla="*/ 19387 h 172589"/>
                      <a:gd name="connsiteX29" fmla="*/ 30311 w 251792"/>
                      <a:gd name="connsiteY29" fmla="*/ 19079 h 172589"/>
                      <a:gd name="connsiteX30" fmla="*/ 25043 w 251792"/>
                      <a:gd name="connsiteY30" fmla="*/ 18869 h 172589"/>
                      <a:gd name="connsiteX31" fmla="*/ 13544 w 251792"/>
                      <a:gd name="connsiteY31" fmla="*/ 29000 h 172589"/>
                      <a:gd name="connsiteX32" fmla="*/ 11741 w 251792"/>
                      <a:gd name="connsiteY32" fmla="*/ 31382 h 172589"/>
                      <a:gd name="connsiteX33" fmla="*/ 0 w 251792"/>
                      <a:gd name="connsiteY33" fmla="*/ 40719 h 172589"/>
                      <a:gd name="connsiteX34" fmla="*/ 12460 w 251792"/>
                      <a:gd name="connsiteY34" fmla="*/ 102519 h 172589"/>
                      <a:gd name="connsiteX35" fmla="*/ 51261 w 251792"/>
                      <a:gd name="connsiteY35" fmla="*/ 107741 h 172589"/>
                      <a:gd name="connsiteX36" fmla="*/ 213359 w 251792"/>
                      <a:gd name="connsiteY36" fmla="*/ 170292 h 172589"/>
                      <a:gd name="connsiteX37" fmla="*/ 251792 w 251792"/>
                      <a:gd name="connsiteY37" fmla="*/ 137006 h 172589"/>
                      <a:gd name="connsiteX38" fmla="*/ 229798 w 251792"/>
                      <a:gd name="connsiteY38" fmla="*/ 118574 h 1725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  <a:cxn ang="0">
                        <a:pos x="connsiteX25" y="connsiteY25"/>
                      </a:cxn>
                      <a:cxn ang="0">
                        <a:pos x="connsiteX26" y="connsiteY26"/>
                      </a:cxn>
                      <a:cxn ang="0">
                        <a:pos x="connsiteX27" y="connsiteY27"/>
                      </a:cxn>
                      <a:cxn ang="0">
                        <a:pos x="connsiteX28" y="connsiteY28"/>
                      </a:cxn>
                      <a:cxn ang="0">
                        <a:pos x="connsiteX29" y="connsiteY29"/>
                      </a:cxn>
                      <a:cxn ang="0">
                        <a:pos x="connsiteX30" y="connsiteY30"/>
                      </a:cxn>
                      <a:cxn ang="0">
                        <a:pos x="connsiteX31" y="connsiteY31"/>
                      </a:cxn>
                      <a:cxn ang="0">
                        <a:pos x="connsiteX32" y="connsiteY32"/>
                      </a:cxn>
                      <a:cxn ang="0">
                        <a:pos x="connsiteX33" y="connsiteY33"/>
                      </a:cxn>
                      <a:cxn ang="0">
                        <a:pos x="connsiteX34" y="connsiteY34"/>
                      </a:cxn>
                      <a:cxn ang="0">
                        <a:pos x="connsiteX35" y="connsiteY35"/>
                      </a:cxn>
                      <a:cxn ang="0">
                        <a:pos x="connsiteX36" y="connsiteY36"/>
                      </a:cxn>
                      <a:cxn ang="0">
                        <a:pos x="connsiteX37" y="connsiteY37"/>
                      </a:cxn>
                      <a:cxn ang="0">
                        <a:pos x="connsiteX38" y="connsiteY38"/>
                      </a:cxn>
                    </a:cxnLst>
                    <a:rect l="l" t="t" r="r" b="b"/>
                    <a:pathLst>
                      <a:path w="251792" h="172589">
                        <a:moveTo>
                          <a:pt x="229798" y="118574"/>
                        </a:moveTo>
                        <a:cubicBezTo>
                          <a:pt x="228750" y="117112"/>
                          <a:pt x="227770" y="115600"/>
                          <a:pt x="226784" y="114086"/>
                        </a:cubicBezTo>
                        <a:cubicBezTo>
                          <a:pt x="224514" y="110575"/>
                          <a:pt x="222369" y="107261"/>
                          <a:pt x="219558" y="105006"/>
                        </a:cubicBezTo>
                        <a:cubicBezTo>
                          <a:pt x="214555" y="101000"/>
                          <a:pt x="207474" y="100267"/>
                          <a:pt x="199968" y="99495"/>
                        </a:cubicBezTo>
                        <a:cubicBezTo>
                          <a:pt x="193284" y="98801"/>
                          <a:pt x="186368" y="98087"/>
                          <a:pt x="179922" y="95074"/>
                        </a:cubicBezTo>
                        <a:lnTo>
                          <a:pt x="178770" y="94535"/>
                        </a:lnTo>
                        <a:lnTo>
                          <a:pt x="177986" y="93516"/>
                        </a:lnTo>
                        <a:cubicBezTo>
                          <a:pt x="176180" y="91193"/>
                          <a:pt x="175682" y="88206"/>
                          <a:pt x="176611" y="85334"/>
                        </a:cubicBezTo>
                        <a:cubicBezTo>
                          <a:pt x="177835" y="81572"/>
                          <a:pt x="181442" y="78224"/>
                          <a:pt x="185578" y="77002"/>
                        </a:cubicBezTo>
                        <a:cubicBezTo>
                          <a:pt x="186632" y="76685"/>
                          <a:pt x="187745" y="76438"/>
                          <a:pt x="188862" y="76203"/>
                        </a:cubicBezTo>
                        <a:cubicBezTo>
                          <a:pt x="190636" y="75819"/>
                          <a:pt x="192650" y="75388"/>
                          <a:pt x="193215" y="74691"/>
                        </a:cubicBezTo>
                        <a:cubicBezTo>
                          <a:pt x="192807" y="72543"/>
                          <a:pt x="191605" y="71291"/>
                          <a:pt x="190456" y="70947"/>
                        </a:cubicBezTo>
                        <a:cubicBezTo>
                          <a:pt x="187243" y="69989"/>
                          <a:pt x="183209" y="71290"/>
                          <a:pt x="178650" y="73011"/>
                        </a:cubicBezTo>
                        <a:lnTo>
                          <a:pt x="161570" y="79386"/>
                        </a:lnTo>
                        <a:lnTo>
                          <a:pt x="172570" y="64854"/>
                        </a:lnTo>
                        <a:cubicBezTo>
                          <a:pt x="173921" y="63065"/>
                          <a:pt x="174287" y="60818"/>
                          <a:pt x="173657" y="58185"/>
                        </a:cubicBezTo>
                        <a:cubicBezTo>
                          <a:pt x="172622" y="53860"/>
                          <a:pt x="168979" y="49428"/>
                          <a:pt x="164795" y="47402"/>
                        </a:cubicBezTo>
                        <a:cubicBezTo>
                          <a:pt x="159045" y="44611"/>
                          <a:pt x="152307" y="44052"/>
                          <a:pt x="145167" y="43452"/>
                        </a:cubicBezTo>
                        <a:cubicBezTo>
                          <a:pt x="142050" y="43197"/>
                          <a:pt x="138937" y="42932"/>
                          <a:pt x="135860" y="42488"/>
                        </a:cubicBezTo>
                        <a:cubicBezTo>
                          <a:pt x="134090" y="42232"/>
                          <a:pt x="128051" y="41068"/>
                          <a:pt x="124903" y="36644"/>
                        </a:cubicBezTo>
                        <a:cubicBezTo>
                          <a:pt x="123400" y="34524"/>
                          <a:pt x="122841" y="31974"/>
                          <a:pt x="123329" y="29458"/>
                        </a:cubicBezTo>
                        <a:cubicBezTo>
                          <a:pt x="124038" y="25872"/>
                          <a:pt x="126596" y="23722"/>
                          <a:pt x="128290" y="22303"/>
                        </a:cubicBezTo>
                        <a:lnTo>
                          <a:pt x="129298" y="21428"/>
                        </a:lnTo>
                        <a:cubicBezTo>
                          <a:pt x="131282" y="19550"/>
                          <a:pt x="131510" y="16942"/>
                          <a:pt x="131351" y="15081"/>
                        </a:cubicBezTo>
                        <a:cubicBezTo>
                          <a:pt x="130999" y="10979"/>
                          <a:pt x="128474" y="6706"/>
                          <a:pt x="125086" y="4466"/>
                        </a:cubicBezTo>
                        <a:cubicBezTo>
                          <a:pt x="118736" y="250"/>
                          <a:pt x="110266" y="-119"/>
                          <a:pt x="100638" y="24"/>
                        </a:cubicBezTo>
                        <a:cubicBezTo>
                          <a:pt x="99601" y="488"/>
                          <a:pt x="98712" y="817"/>
                          <a:pt x="98158" y="1009"/>
                        </a:cubicBezTo>
                        <a:lnTo>
                          <a:pt x="58181" y="14619"/>
                        </a:lnTo>
                        <a:cubicBezTo>
                          <a:pt x="50741" y="17146"/>
                          <a:pt x="42210" y="20033"/>
                          <a:pt x="33382" y="19387"/>
                        </a:cubicBezTo>
                        <a:cubicBezTo>
                          <a:pt x="32348" y="19322"/>
                          <a:pt x="31334" y="19207"/>
                          <a:pt x="30311" y="19079"/>
                        </a:cubicBezTo>
                        <a:cubicBezTo>
                          <a:pt x="28372" y="18843"/>
                          <a:pt x="26540" y="18640"/>
                          <a:pt x="25043" y="18869"/>
                        </a:cubicBezTo>
                        <a:cubicBezTo>
                          <a:pt x="20632" y="19565"/>
                          <a:pt x="17190" y="24151"/>
                          <a:pt x="13544" y="29000"/>
                        </a:cubicBezTo>
                        <a:lnTo>
                          <a:pt x="11741" y="31382"/>
                        </a:lnTo>
                        <a:cubicBezTo>
                          <a:pt x="8604" y="35416"/>
                          <a:pt x="4451" y="38771"/>
                          <a:pt x="0" y="40719"/>
                        </a:cubicBezTo>
                        <a:cubicBezTo>
                          <a:pt x="19786" y="53085"/>
                          <a:pt x="29478" y="84622"/>
                          <a:pt x="12460" y="102519"/>
                        </a:cubicBezTo>
                        <a:cubicBezTo>
                          <a:pt x="19347" y="114682"/>
                          <a:pt x="37388" y="109465"/>
                          <a:pt x="51261" y="107741"/>
                        </a:cubicBezTo>
                        <a:cubicBezTo>
                          <a:pt x="110747" y="100349"/>
                          <a:pt x="155993" y="187688"/>
                          <a:pt x="213359" y="170292"/>
                        </a:cubicBezTo>
                        <a:cubicBezTo>
                          <a:pt x="230032" y="165236"/>
                          <a:pt x="242398" y="152084"/>
                          <a:pt x="251792" y="137006"/>
                        </a:cubicBezTo>
                        <a:cubicBezTo>
                          <a:pt x="243126" y="132702"/>
                          <a:pt x="235393" y="126393"/>
                          <a:pt x="229798" y="118574"/>
                        </a:cubicBezTo>
                        <a:close/>
                      </a:path>
                    </a:pathLst>
                  </a:custGeom>
                  <a:grpFill/>
                  <a:ln w="1649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s-ES_tradnl" sz="2400"/>
                  </a:p>
                </p:txBody>
              </p:sp>
              <p:sp>
                <p:nvSpPr>
                  <p:cNvPr id="230" name="Forma libre 229">
                    <a:extLst>
                      <a:ext uri="{FF2B5EF4-FFF2-40B4-BE49-F238E27FC236}">
                        <a16:creationId xmlns:a16="http://schemas.microsoft.com/office/drawing/2014/main" id="{1C8AB4AF-6225-1B4A-A3A1-C91D89B513A2}"/>
                      </a:ext>
                    </a:extLst>
                  </p:cNvPr>
                  <p:cNvSpPr/>
                  <p:nvPr/>
                </p:nvSpPr>
                <p:spPr>
                  <a:xfrm>
                    <a:off x="7749460" y="3314662"/>
                    <a:ext cx="342246" cy="270928"/>
                  </a:xfrm>
                  <a:custGeom>
                    <a:avLst/>
                    <a:gdLst>
                      <a:gd name="connsiteX0" fmla="*/ 342246 w 342246"/>
                      <a:gd name="connsiteY0" fmla="*/ 84025 h 270928"/>
                      <a:gd name="connsiteX1" fmla="*/ 219801 w 342246"/>
                      <a:gd name="connsiteY1" fmla="*/ 11965 h 270928"/>
                      <a:gd name="connsiteX2" fmla="*/ 201110 w 342246"/>
                      <a:gd name="connsiteY2" fmla="*/ 0 h 270928"/>
                      <a:gd name="connsiteX3" fmla="*/ 200292 w 342246"/>
                      <a:gd name="connsiteY3" fmla="*/ 2259 h 270928"/>
                      <a:gd name="connsiteX4" fmla="*/ 200461 w 342246"/>
                      <a:gd name="connsiteY4" fmla="*/ 6693 h 270928"/>
                      <a:gd name="connsiteX5" fmla="*/ 202322 w 342246"/>
                      <a:gd name="connsiteY5" fmla="*/ 10806 h 270928"/>
                      <a:gd name="connsiteX6" fmla="*/ 205498 w 342246"/>
                      <a:gd name="connsiteY6" fmla="*/ 24704 h 270928"/>
                      <a:gd name="connsiteX7" fmla="*/ 192933 w 342246"/>
                      <a:gd name="connsiteY7" fmla="*/ 38647 h 270928"/>
                      <a:gd name="connsiteX8" fmla="*/ 185528 w 342246"/>
                      <a:gd name="connsiteY8" fmla="*/ 45447 h 270928"/>
                      <a:gd name="connsiteX9" fmla="*/ 187068 w 342246"/>
                      <a:gd name="connsiteY9" fmla="*/ 50668 h 270928"/>
                      <a:gd name="connsiteX10" fmla="*/ 189000 w 342246"/>
                      <a:gd name="connsiteY10" fmla="*/ 55876 h 270928"/>
                      <a:gd name="connsiteX11" fmla="*/ 185861 w 342246"/>
                      <a:gd name="connsiteY11" fmla="*/ 71849 h 270928"/>
                      <a:gd name="connsiteX12" fmla="*/ 172003 w 342246"/>
                      <a:gd name="connsiteY12" fmla="*/ 80393 h 270928"/>
                      <a:gd name="connsiteX13" fmla="*/ 156667 w 342246"/>
                      <a:gd name="connsiteY13" fmla="*/ 74933 h 270928"/>
                      <a:gd name="connsiteX14" fmla="*/ 152718 w 342246"/>
                      <a:gd name="connsiteY14" fmla="*/ 69925 h 270928"/>
                      <a:gd name="connsiteX15" fmla="*/ 147364 w 342246"/>
                      <a:gd name="connsiteY15" fmla="*/ 71714 h 270928"/>
                      <a:gd name="connsiteX16" fmla="*/ 114344 w 342246"/>
                      <a:gd name="connsiteY16" fmla="*/ 60159 h 270928"/>
                      <a:gd name="connsiteX17" fmla="*/ 83390 w 342246"/>
                      <a:gd name="connsiteY17" fmla="*/ 52086 h 270928"/>
                      <a:gd name="connsiteX18" fmla="*/ 78735 w 342246"/>
                      <a:gd name="connsiteY18" fmla="*/ 64305 h 270928"/>
                      <a:gd name="connsiteX19" fmla="*/ 75399 w 342246"/>
                      <a:gd name="connsiteY19" fmla="*/ 74704 h 270928"/>
                      <a:gd name="connsiteX20" fmla="*/ 76146 w 342246"/>
                      <a:gd name="connsiteY20" fmla="*/ 120488 h 270928"/>
                      <a:gd name="connsiteX21" fmla="*/ 74057 w 342246"/>
                      <a:gd name="connsiteY21" fmla="*/ 123400 h 270928"/>
                      <a:gd name="connsiteX22" fmla="*/ 25075 w 342246"/>
                      <a:gd name="connsiteY22" fmla="*/ 111428 h 270928"/>
                      <a:gd name="connsiteX23" fmla="*/ 15471 w 342246"/>
                      <a:gd name="connsiteY23" fmla="*/ 107868 h 270928"/>
                      <a:gd name="connsiteX24" fmla="*/ 10716 w 342246"/>
                      <a:gd name="connsiteY24" fmla="*/ 104026 h 270928"/>
                      <a:gd name="connsiteX25" fmla="*/ 6826 w 342246"/>
                      <a:gd name="connsiteY25" fmla="*/ 101004 h 270928"/>
                      <a:gd name="connsiteX26" fmla="*/ 818 w 342246"/>
                      <a:gd name="connsiteY26" fmla="*/ 102653 h 270928"/>
                      <a:gd name="connsiteX27" fmla="*/ 1259 w 342246"/>
                      <a:gd name="connsiteY27" fmla="*/ 108874 h 270928"/>
                      <a:gd name="connsiteX28" fmla="*/ 2549 w 342246"/>
                      <a:gd name="connsiteY28" fmla="*/ 110033 h 270928"/>
                      <a:gd name="connsiteX29" fmla="*/ 6964 w 342246"/>
                      <a:gd name="connsiteY29" fmla="*/ 115389 h 270928"/>
                      <a:gd name="connsiteX30" fmla="*/ 7263 w 342246"/>
                      <a:gd name="connsiteY30" fmla="*/ 122280 h 270928"/>
                      <a:gd name="connsiteX31" fmla="*/ 27118 w 342246"/>
                      <a:gd name="connsiteY31" fmla="*/ 128271 h 270928"/>
                      <a:gd name="connsiteX32" fmla="*/ 38084 w 342246"/>
                      <a:gd name="connsiteY32" fmla="*/ 146815 h 270928"/>
                      <a:gd name="connsiteX33" fmla="*/ 32746 w 342246"/>
                      <a:gd name="connsiteY33" fmla="*/ 161781 h 270928"/>
                      <a:gd name="connsiteX34" fmla="*/ 31276 w 342246"/>
                      <a:gd name="connsiteY34" fmla="*/ 163064 h 270928"/>
                      <a:gd name="connsiteX35" fmla="*/ 30527 w 342246"/>
                      <a:gd name="connsiteY35" fmla="*/ 163702 h 270928"/>
                      <a:gd name="connsiteX36" fmla="*/ 33544 w 342246"/>
                      <a:gd name="connsiteY36" fmla="*/ 164651 h 270928"/>
                      <a:gd name="connsiteX37" fmla="*/ 42229 w 342246"/>
                      <a:gd name="connsiteY37" fmla="*/ 165546 h 270928"/>
                      <a:gd name="connsiteX38" fmla="*/ 65598 w 342246"/>
                      <a:gd name="connsiteY38" fmla="*/ 170513 h 270928"/>
                      <a:gd name="connsiteX39" fmla="*/ 80130 w 342246"/>
                      <a:gd name="connsiteY39" fmla="*/ 188349 h 270928"/>
                      <a:gd name="connsiteX40" fmla="*/ 80720 w 342246"/>
                      <a:gd name="connsiteY40" fmla="*/ 192937 h 270928"/>
                      <a:gd name="connsiteX41" fmla="*/ 89694 w 342246"/>
                      <a:gd name="connsiteY41" fmla="*/ 193448 h 270928"/>
                      <a:gd name="connsiteX42" fmla="*/ 99488 w 342246"/>
                      <a:gd name="connsiteY42" fmla="*/ 203295 h 270928"/>
                      <a:gd name="connsiteX43" fmla="*/ 97654 w 342246"/>
                      <a:gd name="connsiteY43" fmla="*/ 213961 h 270928"/>
                      <a:gd name="connsiteX44" fmla="*/ 87269 w 342246"/>
                      <a:gd name="connsiteY44" fmla="*/ 219202 h 270928"/>
                      <a:gd name="connsiteX45" fmla="*/ 85037 w 342246"/>
                      <a:gd name="connsiteY45" fmla="*/ 219717 h 270928"/>
                      <a:gd name="connsiteX46" fmla="*/ 97228 w 342246"/>
                      <a:gd name="connsiteY46" fmla="*/ 221601 h 270928"/>
                      <a:gd name="connsiteX47" fmla="*/ 122355 w 342246"/>
                      <a:gd name="connsiteY47" fmla="*/ 229387 h 270928"/>
                      <a:gd name="connsiteX48" fmla="*/ 131855 w 342246"/>
                      <a:gd name="connsiteY48" fmla="*/ 240973 h 270928"/>
                      <a:gd name="connsiteX49" fmla="*/ 134584 w 342246"/>
                      <a:gd name="connsiteY49" fmla="*/ 245048 h 270928"/>
                      <a:gd name="connsiteX50" fmla="*/ 153188 w 342246"/>
                      <a:gd name="connsiteY50" fmla="*/ 260490 h 270928"/>
                      <a:gd name="connsiteX51" fmla="*/ 156292 w 342246"/>
                      <a:gd name="connsiteY51" fmla="*/ 254438 h 270928"/>
                      <a:gd name="connsiteX52" fmla="*/ 190213 w 342246"/>
                      <a:gd name="connsiteY52" fmla="*/ 194324 h 270928"/>
                      <a:gd name="connsiteX53" fmla="*/ 252604 w 342246"/>
                      <a:gd name="connsiteY53" fmla="*/ 183497 h 270928"/>
                      <a:gd name="connsiteX54" fmla="*/ 265483 w 342246"/>
                      <a:gd name="connsiteY54" fmla="*/ 270929 h 270928"/>
                      <a:gd name="connsiteX55" fmla="*/ 310955 w 342246"/>
                      <a:gd name="connsiteY55" fmla="*/ 266385 h 270928"/>
                      <a:gd name="connsiteX56" fmla="*/ 308390 w 342246"/>
                      <a:gd name="connsiteY56" fmla="*/ 155401 h 270928"/>
                      <a:gd name="connsiteX57" fmla="*/ 342246 w 342246"/>
                      <a:gd name="connsiteY57" fmla="*/ 84025 h 27092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  <a:cxn ang="0">
                        <a:pos x="connsiteX25" y="connsiteY25"/>
                      </a:cxn>
                      <a:cxn ang="0">
                        <a:pos x="connsiteX26" y="connsiteY26"/>
                      </a:cxn>
                      <a:cxn ang="0">
                        <a:pos x="connsiteX27" y="connsiteY27"/>
                      </a:cxn>
                      <a:cxn ang="0">
                        <a:pos x="connsiteX28" y="connsiteY28"/>
                      </a:cxn>
                      <a:cxn ang="0">
                        <a:pos x="connsiteX29" y="connsiteY29"/>
                      </a:cxn>
                      <a:cxn ang="0">
                        <a:pos x="connsiteX30" y="connsiteY30"/>
                      </a:cxn>
                      <a:cxn ang="0">
                        <a:pos x="connsiteX31" y="connsiteY31"/>
                      </a:cxn>
                      <a:cxn ang="0">
                        <a:pos x="connsiteX32" y="connsiteY32"/>
                      </a:cxn>
                      <a:cxn ang="0">
                        <a:pos x="connsiteX33" y="connsiteY33"/>
                      </a:cxn>
                      <a:cxn ang="0">
                        <a:pos x="connsiteX34" y="connsiteY34"/>
                      </a:cxn>
                      <a:cxn ang="0">
                        <a:pos x="connsiteX35" y="connsiteY35"/>
                      </a:cxn>
                      <a:cxn ang="0">
                        <a:pos x="connsiteX36" y="connsiteY36"/>
                      </a:cxn>
                      <a:cxn ang="0">
                        <a:pos x="connsiteX37" y="connsiteY37"/>
                      </a:cxn>
                      <a:cxn ang="0">
                        <a:pos x="connsiteX38" y="connsiteY38"/>
                      </a:cxn>
                      <a:cxn ang="0">
                        <a:pos x="connsiteX39" y="connsiteY39"/>
                      </a:cxn>
                      <a:cxn ang="0">
                        <a:pos x="connsiteX40" y="connsiteY40"/>
                      </a:cxn>
                      <a:cxn ang="0">
                        <a:pos x="connsiteX41" y="connsiteY41"/>
                      </a:cxn>
                      <a:cxn ang="0">
                        <a:pos x="connsiteX42" y="connsiteY42"/>
                      </a:cxn>
                      <a:cxn ang="0">
                        <a:pos x="connsiteX43" y="connsiteY43"/>
                      </a:cxn>
                      <a:cxn ang="0">
                        <a:pos x="connsiteX44" y="connsiteY44"/>
                      </a:cxn>
                      <a:cxn ang="0">
                        <a:pos x="connsiteX45" y="connsiteY45"/>
                      </a:cxn>
                      <a:cxn ang="0">
                        <a:pos x="connsiteX46" y="connsiteY46"/>
                      </a:cxn>
                      <a:cxn ang="0">
                        <a:pos x="connsiteX47" y="connsiteY47"/>
                      </a:cxn>
                      <a:cxn ang="0">
                        <a:pos x="connsiteX48" y="connsiteY48"/>
                      </a:cxn>
                      <a:cxn ang="0">
                        <a:pos x="connsiteX49" y="connsiteY49"/>
                      </a:cxn>
                      <a:cxn ang="0">
                        <a:pos x="connsiteX50" y="connsiteY50"/>
                      </a:cxn>
                      <a:cxn ang="0">
                        <a:pos x="connsiteX51" y="connsiteY51"/>
                      </a:cxn>
                      <a:cxn ang="0">
                        <a:pos x="connsiteX52" y="connsiteY52"/>
                      </a:cxn>
                      <a:cxn ang="0">
                        <a:pos x="connsiteX53" y="connsiteY53"/>
                      </a:cxn>
                      <a:cxn ang="0">
                        <a:pos x="connsiteX54" y="connsiteY54"/>
                      </a:cxn>
                      <a:cxn ang="0">
                        <a:pos x="connsiteX55" y="connsiteY55"/>
                      </a:cxn>
                      <a:cxn ang="0">
                        <a:pos x="connsiteX56" y="connsiteY56"/>
                      </a:cxn>
                      <a:cxn ang="0">
                        <a:pos x="connsiteX57" y="connsiteY57"/>
                      </a:cxn>
                    </a:cxnLst>
                    <a:rect l="l" t="t" r="r" b="b"/>
                    <a:pathLst>
                      <a:path w="342246" h="270928">
                        <a:moveTo>
                          <a:pt x="342246" y="84025"/>
                        </a:moveTo>
                        <a:cubicBezTo>
                          <a:pt x="293851" y="92097"/>
                          <a:pt x="259249" y="41136"/>
                          <a:pt x="219801" y="11965"/>
                        </a:cubicBezTo>
                        <a:cubicBezTo>
                          <a:pt x="213855" y="7567"/>
                          <a:pt x="207539" y="3698"/>
                          <a:pt x="201110" y="0"/>
                        </a:cubicBezTo>
                        <a:lnTo>
                          <a:pt x="200292" y="2259"/>
                        </a:lnTo>
                        <a:cubicBezTo>
                          <a:pt x="200678" y="2618"/>
                          <a:pt x="199890" y="5054"/>
                          <a:pt x="200461" y="6693"/>
                        </a:cubicBezTo>
                        <a:cubicBezTo>
                          <a:pt x="200958" y="8086"/>
                          <a:pt x="201650" y="9446"/>
                          <a:pt x="202322" y="10806"/>
                        </a:cubicBezTo>
                        <a:cubicBezTo>
                          <a:pt x="204203" y="14578"/>
                          <a:pt x="206544" y="19277"/>
                          <a:pt x="205498" y="24704"/>
                        </a:cubicBezTo>
                        <a:cubicBezTo>
                          <a:pt x="204125" y="31881"/>
                          <a:pt x="197917" y="35632"/>
                          <a:pt x="192933" y="38647"/>
                        </a:cubicBezTo>
                        <a:cubicBezTo>
                          <a:pt x="188475" y="41339"/>
                          <a:pt x="185759" y="43139"/>
                          <a:pt x="185528" y="45447"/>
                        </a:cubicBezTo>
                        <a:cubicBezTo>
                          <a:pt x="185393" y="46822"/>
                          <a:pt x="186173" y="48606"/>
                          <a:pt x="187068" y="50668"/>
                        </a:cubicBezTo>
                        <a:cubicBezTo>
                          <a:pt x="187815" y="52380"/>
                          <a:pt x="188540" y="54102"/>
                          <a:pt x="189000" y="55876"/>
                        </a:cubicBezTo>
                        <a:cubicBezTo>
                          <a:pt x="190362" y="61173"/>
                          <a:pt x="189227" y="66994"/>
                          <a:pt x="185861" y="71849"/>
                        </a:cubicBezTo>
                        <a:cubicBezTo>
                          <a:pt x="182495" y="76693"/>
                          <a:pt x="177448" y="79813"/>
                          <a:pt x="172003" y="80393"/>
                        </a:cubicBezTo>
                        <a:cubicBezTo>
                          <a:pt x="166639" y="80941"/>
                          <a:pt x="160977" y="78985"/>
                          <a:pt x="156667" y="74933"/>
                        </a:cubicBezTo>
                        <a:cubicBezTo>
                          <a:pt x="155072" y="73435"/>
                          <a:pt x="153746" y="71738"/>
                          <a:pt x="152718" y="69925"/>
                        </a:cubicBezTo>
                        <a:cubicBezTo>
                          <a:pt x="151079" y="70766"/>
                          <a:pt x="149284" y="71368"/>
                          <a:pt x="147364" y="71714"/>
                        </a:cubicBezTo>
                        <a:cubicBezTo>
                          <a:pt x="135898" y="73765"/>
                          <a:pt x="122480" y="66770"/>
                          <a:pt x="114344" y="60159"/>
                        </a:cubicBezTo>
                        <a:cubicBezTo>
                          <a:pt x="112045" y="58316"/>
                          <a:pt x="91703" y="42281"/>
                          <a:pt x="83390" y="52086"/>
                        </a:cubicBezTo>
                        <a:cubicBezTo>
                          <a:pt x="81019" y="54876"/>
                          <a:pt x="79857" y="59674"/>
                          <a:pt x="78735" y="64305"/>
                        </a:cubicBezTo>
                        <a:cubicBezTo>
                          <a:pt x="77912" y="67693"/>
                          <a:pt x="76960" y="71401"/>
                          <a:pt x="75399" y="74704"/>
                        </a:cubicBezTo>
                        <a:cubicBezTo>
                          <a:pt x="84925" y="87840"/>
                          <a:pt x="85696" y="107161"/>
                          <a:pt x="76146" y="120488"/>
                        </a:cubicBezTo>
                        <a:lnTo>
                          <a:pt x="74057" y="123400"/>
                        </a:lnTo>
                        <a:lnTo>
                          <a:pt x="25075" y="111428"/>
                        </a:lnTo>
                        <a:cubicBezTo>
                          <a:pt x="22225" y="110745"/>
                          <a:pt x="18672" y="109881"/>
                          <a:pt x="15471" y="107868"/>
                        </a:cubicBezTo>
                        <a:cubicBezTo>
                          <a:pt x="13758" y="106797"/>
                          <a:pt x="12226" y="105422"/>
                          <a:pt x="10716" y="104026"/>
                        </a:cubicBezTo>
                        <a:cubicBezTo>
                          <a:pt x="9300" y="102702"/>
                          <a:pt x="8072" y="101563"/>
                          <a:pt x="6826" y="101004"/>
                        </a:cubicBezTo>
                        <a:cubicBezTo>
                          <a:pt x="4874" y="100118"/>
                          <a:pt x="2056" y="100896"/>
                          <a:pt x="818" y="102653"/>
                        </a:cubicBezTo>
                        <a:cubicBezTo>
                          <a:pt x="-431" y="104419"/>
                          <a:pt x="-223" y="107324"/>
                          <a:pt x="1259" y="108874"/>
                        </a:cubicBezTo>
                        <a:cubicBezTo>
                          <a:pt x="1654" y="109296"/>
                          <a:pt x="2102" y="109664"/>
                          <a:pt x="2549" y="110033"/>
                        </a:cubicBezTo>
                        <a:cubicBezTo>
                          <a:pt x="4018" y="111296"/>
                          <a:pt x="5860" y="112854"/>
                          <a:pt x="6964" y="115389"/>
                        </a:cubicBezTo>
                        <a:cubicBezTo>
                          <a:pt x="7942" y="117639"/>
                          <a:pt x="7900" y="119985"/>
                          <a:pt x="7263" y="122280"/>
                        </a:cubicBezTo>
                        <a:cubicBezTo>
                          <a:pt x="13955" y="122786"/>
                          <a:pt x="21041" y="124245"/>
                          <a:pt x="27118" y="128271"/>
                        </a:cubicBezTo>
                        <a:cubicBezTo>
                          <a:pt x="33145" y="132270"/>
                          <a:pt x="37451" y="139541"/>
                          <a:pt x="38084" y="146815"/>
                        </a:cubicBezTo>
                        <a:cubicBezTo>
                          <a:pt x="38595" y="152729"/>
                          <a:pt x="36700" y="158039"/>
                          <a:pt x="32746" y="161781"/>
                        </a:cubicBezTo>
                        <a:cubicBezTo>
                          <a:pt x="32273" y="162220"/>
                          <a:pt x="31781" y="162637"/>
                          <a:pt x="31276" y="163064"/>
                        </a:cubicBezTo>
                        <a:cubicBezTo>
                          <a:pt x="31050" y="163250"/>
                          <a:pt x="30773" y="163481"/>
                          <a:pt x="30527" y="163702"/>
                        </a:cubicBezTo>
                        <a:cubicBezTo>
                          <a:pt x="31213" y="164069"/>
                          <a:pt x="32259" y="164463"/>
                          <a:pt x="33544" y="164651"/>
                        </a:cubicBezTo>
                        <a:cubicBezTo>
                          <a:pt x="36411" y="165063"/>
                          <a:pt x="39319" y="165301"/>
                          <a:pt x="42229" y="165546"/>
                        </a:cubicBezTo>
                        <a:cubicBezTo>
                          <a:pt x="50011" y="166193"/>
                          <a:pt x="58063" y="166867"/>
                          <a:pt x="65598" y="170513"/>
                        </a:cubicBezTo>
                        <a:cubicBezTo>
                          <a:pt x="72647" y="173924"/>
                          <a:pt x="78359" y="180926"/>
                          <a:pt x="80130" y="188349"/>
                        </a:cubicBezTo>
                        <a:cubicBezTo>
                          <a:pt x="80503" y="189897"/>
                          <a:pt x="80703" y="191437"/>
                          <a:pt x="80720" y="192937"/>
                        </a:cubicBezTo>
                        <a:cubicBezTo>
                          <a:pt x="83605" y="192510"/>
                          <a:pt x="86636" y="192519"/>
                          <a:pt x="89694" y="193448"/>
                        </a:cubicBezTo>
                        <a:cubicBezTo>
                          <a:pt x="94223" y="194822"/>
                          <a:pt x="98068" y="198692"/>
                          <a:pt x="99488" y="203295"/>
                        </a:cubicBezTo>
                        <a:cubicBezTo>
                          <a:pt x="100676" y="207144"/>
                          <a:pt x="100012" y="211027"/>
                          <a:pt x="97654" y="213961"/>
                        </a:cubicBezTo>
                        <a:cubicBezTo>
                          <a:pt x="94735" y="217593"/>
                          <a:pt x="90594" y="218483"/>
                          <a:pt x="87269" y="219202"/>
                        </a:cubicBezTo>
                        <a:cubicBezTo>
                          <a:pt x="86515" y="219364"/>
                          <a:pt x="85760" y="219512"/>
                          <a:pt x="85037" y="219717"/>
                        </a:cubicBezTo>
                        <a:cubicBezTo>
                          <a:pt x="88801" y="220732"/>
                          <a:pt x="92930" y="221157"/>
                          <a:pt x="97228" y="221601"/>
                        </a:cubicBezTo>
                        <a:cubicBezTo>
                          <a:pt x="105930" y="222497"/>
                          <a:pt x="114926" y="223432"/>
                          <a:pt x="122355" y="229387"/>
                        </a:cubicBezTo>
                        <a:cubicBezTo>
                          <a:pt x="126508" y="232719"/>
                          <a:pt x="129228" y="236908"/>
                          <a:pt x="131855" y="240973"/>
                        </a:cubicBezTo>
                        <a:cubicBezTo>
                          <a:pt x="132744" y="242351"/>
                          <a:pt x="133634" y="243721"/>
                          <a:pt x="134584" y="245048"/>
                        </a:cubicBezTo>
                        <a:cubicBezTo>
                          <a:pt x="139297" y="251637"/>
                          <a:pt x="145840" y="256959"/>
                          <a:pt x="153188" y="260490"/>
                        </a:cubicBezTo>
                        <a:cubicBezTo>
                          <a:pt x="154254" y="258477"/>
                          <a:pt x="155313" y="256461"/>
                          <a:pt x="156292" y="254438"/>
                        </a:cubicBezTo>
                        <a:cubicBezTo>
                          <a:pt x="166363" y="233620"/>
                          <a:pt x="174153" y="210963"/>
                          <a:pt x="190213" y="194324"/>
                        </a:cubicBezTo>
                        <a:cubicBezTo>
                          <a:pt x="206273" y="177683"/>
                          <a:pt x="234292" y="169371"/>
                          <a:pt x="252604" y="183497"/>
                        </a:cubicBezTo>
                        <a:cubicBezTo>
                          <a:pt x="267319" y="209777"/>
                          <a:pt x="271995" y="241520"/>
                          <a:pt x="265483" y="270929"/>
                        </a:cubicBezTo>
                        <a:cubicBezTo>
                          <a:pt x="280404" y="267694"/>
                          <a:pt x="295691" y="266166"/>
                          <a:pt x="310955" y="266385"/>
                        </a:cubicBezTo>
                        <a:cubicBezTo>
                          <a:pt x="308926" y="227480"/>
                          <a:pt x="310422" y="194306"/>
                          <a:pt x="308390" y="155401"/>
                        </a:cubicBezTo>
                        <a:cubicBezTo>
                          <a:pt x="306867" y="126230"/>
                          <a:pt x="313202" y="87130"/>
                          <a:pt x="342246" y="84025"/>
                        </a:cubicBezTo>
                        <a:close/>
                      </a:path>
                    </a:pathLst>
                  </a:custGeom>
                  <a:grpFill/>
                  <a:ln w="1649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s-ES_tradnl" sz="2400"/>
                  </a:p>
                </p:txBody>
              </p:sp>
            </p:grpSp>
            <p:grpSp>
              <p:nvGrpSpPr>
                <p:cNvPr id="207" name="Gráfico 16">
                  <a:extLst>
                    <a:ext uri="{FF2B5EF4-FFF2-40B4-BE49-F238E27FC236}">
                      <a16:creationId xmlns:a16="http://schemas.microsoft.com/office/drawing/2014/main" id="{6E5E2C25-B0AE-D34C-BEE7-2FA51D9D5E41}"/>
                    </a:ext>
                  </a:extLst>
                </p:cNvPr>
                <p:cNvGrpSpPr/>
                <p:nvPr/>
              </p:nvGrpSpPr>
              <p:grpSpPr>
                <a:xfrm>
                  <a:off x="6471464" y="3051292"/>
                  <a:ext cx="246751" cy="260711"/>
                  <a:chOff x="6471464" y="3051292"/>
                  <a:chExt cx="246751" cy="260711"/>
                </a:xfrm>
                <a:grpFill/>
              </p:grpSpPr>
              <p:sp>
                <p:nvSpPr>
                  <p:cNvPr id="227" name="Forma libre 226">
                    <a:extLst>
                      <a:ext uri="{FF2B5EF4-FFF2-40B4-BE49-F238E27FC236}">
                        <a16:creationId xmlns:a16="http://schemas.microsoft.com/office/drawing/2014/main" id="{146F6F6C-BB22-5140-B85E-5058F4BD597A}"/>
                      </a:ext>
                    </a:extLst>
                  </p:cNvPr>
                  <p:cNvSpPr/>
                  <p:nvPr/>
                </p:nvSpPr>
                <p:spPr>
                  <a:xfrm>
                    <a:off x="6471464" y="3051292"/>
                    <a:ext cx="210144" cy="164842"/>
                  </a:xfrm>
                  <a:custGeom>
                    <a:avLst/>
                    <a:gdLst>
                      <a:gd name="connsiteX0" fmla="*/ 112199 w 210144"/>
                      <a:gd name="connsiteY0" fmla="*/ 164473 h 164842"/>
                      <a:gd name="connsiteX1" fmla="*/ 113792 w 210144"/>
                      <a:gd name="connsiteY1" fmla="*/ 162536 h 164842"/>
                      <a:gd name="connsiteX2" fmla="*/ 130376 w 210144"/>
                      <a:gd name="connsiteY2" fmla="*/ 162971 h 164842"/>
                      <a:gd name="connsiteX3" fmla="*/ 138672 w 210144"/>
                      <a:gd name="connsiteY3" fmla="*/ 159029 h 164842"/>
                      <a:gd name="connsiteX4" fmla="*/ 151755 w 210144"/>
                      <a:gd name="connsiteY4" fmla="*/ 153335 h 164842"/>
                      <a:gd name="connsiteX5" fmla="*/ 180036 w 210144"/>
                      <a:gd name="connsiteY5" fmla="*/ 152409 h 164842"/>
                      <a:gd name="connsiteX6" fmla="*/ 196465 w 210144"/>
                      <a:gd name="connsiteY6" fmla="*/ 154418 h 164842"/>
                      <a:gd name="connsiteX7" fmla="*/ 210145 w 210144"/>
                      <a:gd name="connsiteY7" fmla="*/ 158230 h 164842"/>
                      <a:gd name="connsiteX8" fmla="*/ 161478 w 210144"/>
                      <a:gd name="connsiteY8" fmla="*/ 93822 h 164842"/>
                      <a:gd name="connsiteX9" fmla="*/ 152467 w 210144"/>
                      <a:gd name="connsiteY9" fmla="*/ 81113 h 164842"/>
                      <a:gd name="connsiteX10" fmla="*/ 153977 w 210144"/>
                      <a:gd name="connsiteY10" fmla="*/ 66034 h 164842"/>
                      <a:gd name="connsiteX11" fmla="*/ 155591 w 210144"/>
                      <a:gd name="connsiteY11" fmla="*/ 59412 h 164842"/>
                      <a:gd name="connsiteX12" fmla="*/ 142073 w 210144"/>
                      <a:gd name="connsiteY12" fmla="*/ 41330 h 164842"/>
                      <a:gd name="connsiteX13" fmla="*/ 113693 w 210144"/>
                      <a:gd name="connsiteY13" fmla="*/ 38750 h 164842"/>
                      <a:gd name="connsiteX14" fmla="*/ 106558 w 210144"/>
                      <a:gd name="connsiteY14" fmla="*/ 39083 h 164842"/>
                      <a:gd name="connsiteX15" fmla="*/ 108317 w 210144"/>
                      <a:gd name="connsiteY15" fmla="*/ 32161 h 164842"/>
                      <a:gd name="connsiteX16" fmla="*/ 103078 w 210144"/>
                      <a:gd name="connsiteY16" fmla="*/ 13583 h 164842"/>
                      <a:gd name="connsiteX17" fmla="*/ 64432 w 210144"/>
                      <a:gd name="connsiteY17" fmla="*/ 385 h 164842"/>
                      <a:gd name="connsiteX18" fmla="*/ 32491 w 210144"/>
                      <a:gd name="connsiteY18" fmla="*/ 9943 h 164842"/>
                      <a:gd name="connsiteX19" fmla="*/ 0 w 210144"/>
                      <a:gd name="connsiteY19" fmla="*/ 19640 h 164842"/>
                      <a:gd name="connsiteX20" fmla="*/ 20943 w 210144"/>
                      <a:gd name="connsiteY20" fmla="*/ 37026 h 164842"/>
                      <a:gd name="connsiteX21" fmla="*/ 28548 w 210144"/>
                      <a:gd name="connsiteY21" fmla="*/ 47043 h 164842"/>
                      <a:gd name="connsiteX22" fmla="*/ 53829 w 210144"/>
                      <a:gd name="connsiteY22" fmla="*/ 72183 h 164842"/>
                      <a:gd name="connsiteX23" fmla="*/ 58362 w 210144"/>
                      <a:gd name="connsiteY23" fmla="*/ 74104 h 164842"/>
                      <a:gd name="connsiteX24" fmla="*/ 75046 w 210144"/>
                      <a:gd name="connsiteY24" fmla="*/ 86514 h 164842"/>
                      <a:gd name="connsiteX25" fmla="*/ 77230 w 210144"/>
                      <a:gd name="connsiteY25" fmla="*/ 93768 h 164842"/>
                      <a:gd name="connsiteX26" fmla="*/ 78936 w 210144"/>
                      <a:gd name="connsiteY26" fmla="*/ 99051 h 164842"/>
                      <a:gd name="connsiteX27" fmla="*/ 84029 w 210144"/>
                      <a:gd name="connsiteY27" fmla="*/ 102375 h 164842"/>
                      <a:gd name="connsiteX28" fmla="*/ 86894 w 210144"/>
                      <a:gd name="connsiteY28" fmla="*/ 103852 h 164842"/>
                      <a:gd name="connsiteX29" fmla="*/ 109880 w 210144"/>
                      <a:gd name="connsiteY29" fmla="*/ 148558 h 164842"/>
                      <a:gd name="connsiteX30" fmla="*/ 112199 w 210144"/>
                      <a:gd name="connsiteY30" fmla="*/ 164473 h 16484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  <a:cxn ang="0">
                        <a:pos x="connsiteX25" y="connsiteY25"/>
                      </a:cxn>
                      <a:cxn ang="0">
                        <a:pos x="connsiteX26" y="connsiteY26"/>
                      </a:cxn>
                      <a:cxn ang="0">
                        <a:pos x="connsiteX27" y="connsiteY27"/>
                      </a:cxn>
                      <a:cxn ang="0">
                        <a:pos x="connsiteX28" y="connsiteY28"/>
                      </a:cxn>
                      <a:cxn ang="0">
                        <a:pos x="connsiteX29" y="connsiteY29"/>
                      </a:cxn>
                      <a:cxn ang="0">
                        <a:pos x="connsiteX30" y="connsiteY30"/>
                      </a:cxn>
                    </a:cxnLst>
                    <a:rect l="l" t="t" r="r" b="b"/>
                    <a:pathLst>
                      <a:path w="210144" h="164842">
                        <a:moveTo>
                          <a:pt x="112199" y="164473"/>
                        </a:moveTo>
                        <a:lnTo>
                          <a:pt x="113792" y="162536"/>
                        </a:lnTo>
                        <a:cubicBezTo>
                          <a:pt x="118039" y="166009"/>
                          <a:pt x="125116" y="165056"/>
                          <a:pt x="130376" y="162971"/>
                        </a:cubicBezTo>
                        <a:cubicBezTo>
                          <a:pt x="133222" y="161851"/>
                          <a:pt x="135952" y="160435"/>
                          <a:pt x="138672" y="159029"/>
                        </a:cubicBezTo>
                        <a:cubicBezTo>
                          <a:pt x="142773" y="156909"/>
                          <a:pt x="147017" y="154716"/>
                          <a:pt x="151755" y="153335"/>
                        </a:cubicBezTo>
                        <a:cubicBezTo>
                          <a:pt x="161374" y="150523"/>
                          <a:pt x="171300" y="151533"/>
                          <a:pt x="180036" y="152409"/>
                        </a:cubicBezTo>
                        <a:cubicBezTo>
                          <a:pt x="185522" y="152948"/>
                          <a:pt x="191028" y="153506"/>
                          <a:pt x="196465" y="154418"/>
                        </a:cubicBezTo>
                        <a:cubicBezTo>
                          <a:pt x="201698" y="155289"/>
                          <a:pt x="206116" y="156639"/>
                          <a:pt x="210145" y="158230"/>
                        </a:cubicBezTo>
                        <a:cubicBezTo>
                          <a:pt x="197476" y="134337"/>
                          <a:pt x="181000" y="112372"/>
                          <a:pt x="161478" y="93822"/>
                        </a:cubicBezTo>
                        <a:cubicBezTo>
                          <a:pt x="158060" y="90578"/>
                          <a:pt x="153936" y="86667"/>
                          <a:pt x="152467" y="81113"/>
                        </a:cubicBezTo>
                        <a:cubicBezTo>
                          <a:pt x="151008" y="75602"/>
                          <a:pt x="152584" y="70521"/>
                          <a:pt x="153977" y="66034"/>
                        </a:cubicBezTo>
                        <a:cubicBezTo>
                          <a:pt x="154704" y="63682"/>
                          <a:pt x="155400" y="61453"/>
                          <a:pt x="155591" y="59412"/>
                        </a:cubicBezTo>
                        <a:cubicBezTo>
                          <a:pt x="156338" y="51392"/>
                          <a:pt x="149354" y="44245"/>
                          <a:pt x="142073" y="41330"/>
                        </a:cubicBezTo>
                        <a:cubicBezTo>
                          <a:pt x="133370" y="37837"/>
                          <a:pt x="122928" y="38318"/>
                          <a:pt x="113693" y="38750"/>
                        </a:cubicBezTo>
                        <a:lnTo>
                          <a:pt x="106558" y="39083"/>
                        </a:lnTo>
                        <a:lnTo>
                          <a:pt x="108317" y="32161"/>
                        </a:lnTo>
                        <a:cubicBezTo>
                          <a:pt x="110396" y="23923"/>
                          <a:pt x="106614" y="17519"/>
                          <a:pt x="103078" y="13583"/>
                        </a:cubicBezTo>
                        <a:cubicBezTo>
                          <a:pt x="94410" y="3956"/>
                          <a:pt x="78245" y="-1550"/>
                          <a:pt x="64432" y="385"/>
                        </a:cubicBezTo>
                        <a:cubicBezTo>
                          <a:pt x="53623" y="1955"/>
                          <a:pt x="43362" y="5829"/>
                          <a:pt x="32491" y="9943"/>
                        </a:cubicBezTo>
                        <a:cubicBezTo>
                          <a:pt x="22056" y="13880"/>
                          <a:pt x="11301" y="17797"/>
                          <a:pt x="0" y="19640"/>
                        </a:cubicBezTo>
                        <a:cubicBezTo>
                          <a:pt x="8197" y="23857"/>
                          <a:pt x="15549" y="30351"/>
                          <a:pt x="20943" y="37026"/>
                        </a:cubicBezTo>
                        <a:cubicBezTo>
                          <a:pt x="23555" y="40254"/>
                          <a:pt x="26052" y="43648"/>
                          <a:pt x="28548" y="47043"/>
                        </a:cubicBezTo>
                        <a:cubicBezTo>
                          <a:pt x="36154" y="57422"/>
                          <a:pt x="43345" y="67234"/>
                          <a:pt x="53829" y="72183"/>
                        </a:cubicBezTo>
                        <a:cubicBezTo>
                          <a:pt x="55283" y="72864"/>
                          <a:pt x="56816" y="73484"/>
                          <a:pt x="58362" y="74104"/>
                        </a:cubicBezTo>
                        <a:cubicBezTo>
                          <a:pt x="64546" y="76611"/>
                          <a:pt x="71559" y="79445"/>
                          <a:pt x="75046" y="86514"/>
                        </a:cubicBezTo>
                        <a:cubicBezTo>
                          <a:pt x="76264" y="88977"/>
                          <a:pt x="76780" y="91527"/>
                          <a:pt x="77230" y="93768"/>
                        </a:cubicBezTo>
                        <a:cubicBezTo>
                          <a:pt x="77680" y="95968"/>
                          <a:pt x="78058" y="97868"/>
                          <a:pt x="78936" y="99051"/>
                        </a:cubicBezTo>
                        <a:cubicBezTo>
                          <a:pt x="79886" y="100336"/>
                          <a:pt x="81902" y="101325"/>
                          <a:pt x="84029" y="102375"/>
                        </a:cubicBezTo>
                        <a:cubicBezTo>
                          <a:pt x="84995" y="102853"/>
                          <a:pt x="85969" y="103333"/>
                          <a:pt x="86894" y="103852"/>
                        </a:cubicBezTo>
                        <a:cubicBezTo>
                          <a:pt x="102328" y="112467"/>
                          <a:pt x="107176" y="131285"/>
                          <a:pt x="109880" y="148558"/>
                        </a:cubicBezTo>
                        <a:cubicBezTo>
                          <a:pt x="110711" y="153848"/>
                          <a:pt x="111434" y="159166"/>
                          <a:pt x="112199" y="164473"/>
                        </a:cubicBezTo>
                        <a:close/>
                      </a:path>
                    </a:pathLst>
                  </a:custGeom>
                  <a:grpFill/>
                  <a:ln w="1649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s-ES_tradnl" sz="2400"/>
                  </a:p>
                </p:txBody>
              </p:sp>
              <p:sp>
                <p:nvSpPr>
                  <p:cNvPr id="228" name="Forma libre 227">
                    <a:extLst>
                      <a:ext uri="{FF2B5EF4-FFF2-40B4-BE49-F238E27FC236}">
                        <a16:creationId xmlns:a16="http://schemas.microsoft.com/office/drawing/2014/main" id="{C9BC4E15-E4A5-BA49-AD87-3C098F98108E}"/>
                      </a:ext>
                    </a:extLst>
                  </p:cNvPr>
                  <p:cNvSpPr/>
                  <p:nvPr/>
                </p:nvSpPr>
                <p:spPr>
                  <a:xfrm>
                    <a:off x="6585070" y="3213361"/>
                    <a:ext cx="133145" cy="98642"/>
                  </a:xfrm>
                  <a:custGeom>
                    <a:avLst/>
                    <a:gdLst>
                      <a:gd name="connsiteX0" fmla="*/ 133146 w 133145"/>
                      <a:gd name="connsiteY0" fmla="*/ 57888 h 98642"/>
                      <a:gd name="connsiteX1" fmla="*/ 96965 w 133145"/>
                      <a:gd name="connsiteY1" fmla="*/ 24162 h 98642"/>
                      <a:gd name="connsiteX2" fmla="*/ 106261 w 133145"/>
                      <a:gd name="connsiteY2" fmla="*/ 16519 h 98642"/>
                      <a:gd name="connsiteX3" fmla="*/ 104660 w 133145"/>
                      <a:gd name="connsiteY3" fmla="*/ 12971 h 98642"/>
                      <a:gd name="connsiteX4" fmla="*/ 103745 w 133145"/>
                      <a:gd name="connsiteY4" fmla="*/ 13644 h 98642"/>
                      <a:gd name="connsiteX5" fmla="*/ 81115 w 133145"/>
                      <a:gd name="connsiteY5" fmla="*/ 2788 h 98642"/>
                      <a:gd name="connsiteX6" fmla="*/ 65380 w 133145"/>
                      <a:gd name="connsiteY6" fmla="*/ 879 h 98642"/>
                      <a:gd name="connsiteX7" fmla="*/ 41120 w 133145"/>
                      <a:gd name="connsiteY7" fmla="*/ 1433 h 98642"/>
                      <a:gd name="connsiteX8" fmla="*/ 29934 w 133145"/>
                      <a:gd name="connsiteY8" fmla="*/ 6369 h 98642"/>
                      <a:gd name="connsiteX9" fmla="*/ 20648 w 133145"/>
                      <a:gd name="connsiteY9" fmla="*/ 10762 h 98642"/>
                      <a:gd name="connsiteX10" fmla="*/ 0 w 133145"/>
                      <a:gd name="connsiteY10" fmla="*/ 12053 h 98642"/>
                      <a:gd name="connsiteX11" fmla="*/ 8824 w 133145"/>
                      <a:gd name="connsiteY11" fmla="*/ 97275 h 98642"/>
                      <a:gd name="connsiteX12" fmla="*/ 29234 w 133145"/>
                      <a:gd name="connsiteY12" fmla="*/ 93678 h 98642"/>
                      <a:gd name="connsiteX13" fmla="*/ 32827 w 133145"/>
                      <a:gd name="connsiteY13" fmla="*/ 91406 h 98642"/>
                      <a:gd name="connsiteX14" fmla="*/ 60579 w 133145"/>
                      <a:gd name="connsiteY14" fmla="*/ 81858 h 98642"/>
                      <a:gd name="connsiteX15" fmla="*/ 72681 w 133145"/>
                      <a:gd name="connsiteY15" fmla="*/ 86072 h 98642"/>
                      <a:gd name="connsiteX16" fmla="*/ 95870 w 133145"/>
                      <a:gd name="connsiteY16" fmla="*/ 97138 h 98642"/>
                      <a:gd name="connsiteX17" fmla="*/ 79747 w 133145"/>
                      <a:gd name="connsiteY17" fmla="*/ 62326 h 98642"/>
                      <a:gd name="connsiteX18" fmla="*/ 133146 w 133145"/>
                      <a:gd name="connsiteY18" fmla="*/ 57888 h 9864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</a:cxnLst>
                    <a:rect l="l" t="t" r="r" b="b"/>
                    <a:pathLst>
                      <a:path w="133145" h="98642">
                        <a:moveTo>
                          <a:pt x="133146" y="57888"/>
                        </a:moveTo>
                        <a:cubicBezTo>
                          <a:pt x="121085" y="46646"/>
                          <a:pt x="109025" y="35403"/>
                          <a:pt x="96965" y="24162"/>
                        </a:cubicBezTo>
                        <a:cubicBezTo>
                          <a:pt x="96754" y="19335"/>
                          <a:pt x="101228" y="16816"/>
                          <a:pt x="106261" y="16519"/>
                        </a:cubicBezTo>
                        <a:cubicBezTo>
                          <a:pt x="105758" y="15324"/>
                          <a:pt x="105183" y="14158"/>
                          <a:pt x="104660" y="12971"/>
                        </a:cubicBezTo>
                        <a:lnTo>
                          <a:pt x="103745" y="13644"/>
                        </a:lnTo>
                        <a:cubicBezTo>
                          <a:pt x="99754" y="8214"/>
                          <a:pt x="92352" y="4659"/>
                          <a:pt x="81115" y="2788"/>
                        </a:cubicBezTo>
                        <a:cubicBezTo>
                          <a:pt x="75908" y="1918"/>
                          <a:pt x="70647" y="1398"/>
                          <a:pt x="65380" y="879"/>
                        </a:cubicBezTo>
                        <a:cubicBezTo>
                          <a:pt x="57203" y="40"/>
                          <a:pt x="48735" y="-804"/>
                          <a:pt x="41120" y="1433"/>
                        </a:cubicBezTo>
                        <a:cubicBezTo>
                          <a:pt x="37363" y="2528"/>
                          <a:pt x="33756" y="4396"/>
                          <a:pt x="29934" y="6369"/>
                        </a:cubicBezTo>
                        <a:cubicBezTo>
                          <a:pt x="26883" y="7943"/>
                          <a:pt x="23825" y="9506"/>
                          <a:pt x="20648" y="10762"/>
                        </a:cubicBezTo>
                        <a:cubicBezTo>
                          <a:pt x="13211" y="13679"/>
                          <a:pt x="5969" y="14007"/>
                          <a:pt x="0" y="12053"/>
                        </a:cubicBezTo>
                        <a:cubicBezTo>
                          <a:pt x="3867" y="40402"/>
                          <a:pt x="6837" y="68955"/>
                          <a:pt x="8824" y="97275"/>
                        </a:cubicBezTo>
                        <a:cubicBezTo>
                          <a:pt x="13884" y="100350"/>
                          <a:pt x="22480" y="97846"/>
                          <a:pt x="29234" y="93678"/>
                        </a:cubicBezTo>
                        <a:lnTo>
                          <a:pt x="32827" y="91406"/>
                        </a:lnTo>
                        <a:cubicBezTo>
                          <a:pt x="40856" y="86246"/>
                          <a:pt x="49915" y="80450"/>
                          <a:pt x="60579" y="81858"/>
                        </a:cubicBezTo>
                        <a:cubicBezTo>
                          <a:pt x="65156" y="82476"/>
                          <a:pt x="69152" y="84380"/>
                          <a:pt x="72681" y="86072"/>
                        </a:cubicBezTo>
                        <a:lnTo>
                          <a:pt x="95870" y="97138"/>
                        </a:lnTo>
                        <a:cubicBezTo>
                          <a:pt x="91782" y="85129"/>
                          <a:pt x="85753" y="73541"/>
                          <a:pt x="79747" y="62326"/>
                        </a:cubicBezTo>
                        <a:cubicBezTo>
                          <a:pt x="97547" y="60845"/>
                          <a:pt x="115344" y="59367"/>
                          <a:pt x="133146" y="57888"/>
                        </a:cubicBezTo>
                        <a:close/>
                      </a:path>
                    </a:pathLst>
                  </a:custGeom>
                  <a:grpFill/>
                  <a:ln w="1649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s-ES_tradnl" sz="2400"/>
                  </a:p>
                </p:txBody>
              </p:sp>
            </p:grpSp>
            <p:grpSp>
              <p:nvGrpSpPr>
                <p:cNvPr id="208" name="Gráfico 16">
                  <a:extLst>
                    <a:ext uri="{FF2B5EF4-FFF2-40B4-BE49-F238E27FC236}">
                      <a16:creationId xmlns:a16="http://schemas.microsoft.com/office/drawing/2014/main" id="{5C541092-928D-7748-A0EC-A65D070274F0}"/>
                    </a:ext>
                  </a:extLst>
                </p:cNvPr>
                <p:cNvGrpSpPr/>
                <p:nvPr/>
              </p:nvGrpSpPr>
              <p:grpSpPr>
                <a:xfrm>
                  <a:off x="5859548" y="3077011"/>
                  <a:ext cx="831191" cy="1034824"/>
                  <a:chOff x="5859548" y="3077011"/>
                  <a:chExt cx="831191" cy="1034824"/>
                </a:xfrm>
                <a:grpFill/>
              </p:grpSpPr>
              <p:sp>
                <p:nvSpPr>
                  <p:cNvPr id="219" name="Forma libre 218">
                    <a:extLst>
                      <a:ext uri="{FF2B5EF4-FFF2-40B4-BE49-F238E27FC236}">
                        <a16:creationId xmlns:a16="http://schemas.microsoft.com/office/drawing/2014/main" id="{B5AD33F8-9A6B-B64F-A3F8-0E4EA3BD4800}"/>
                      </a:ext>
                    </a:extLst>
                  </p:cNvPr>
                  <p:cNvSpPr/>
                  <p:nvPr/>
                </p:nvSpPr>
                <p:spPr>
                  <a:xfrm>
                    <a:off x="6085328" y="3565104"/>
                    <a:ext cx="177354" cy="172606"/>
                  </a:xfrm>
                  <a:custGeom>
                    <a:avLst/>
                    <a:gdLst>
                      <a:gd name="connsiteX0" fmla="*/ 68476 w 177354"/>
                      <a:gd name="connsiteY0" fmla="*/ 171312 h 172606"/>
                      <a:gd name="connsiteX1" fmla="*/ 70570 w 177354"/>
                      <a:gd name="connsiteY1" fmla="*/ 171658 h 172606"/>
                      <a:gd name="connsiteX2" fmla="*/ 142830 w 177354"/>
                      <a:gd name="connsiteY2" fmla="*/ 158384 h 172606"/>
                      <a:gd name="connsiteX3" fmla="*/ 174627 w 177354"/>
                      <a:gd name="connsiteY3" fmla="*/ 136548 h 172606"/>
                      <a:gd name="connsiteX4" fmla="*/ 174444 w 177354"/>
                      <a:gd name="connsiteY4" fmla="*/ 102492 h 172606"/>
                      <a:gd name="connsiteX5" fmla="*/ 159950 w 177354"/>
                      <a:gd name="connsiteY5" fmla="*/ 66163 h 172606"/>
                      <a:gd name="connsiteX6" fmla="*/ 142430 w 177354"/>
                      <a:gd name="connsiteY6" fmla="*/ 71940 h 172606"/>
                      <a:gd name="connsiteX7" fmla="*/ 111715 w 177354"/>
                      <a:gd name="connsiteY7" fmla="*/ 83475 h 172606"/>
                      <a:gd name="connsiteX8" fmla="*/ 107163 w 177354"/>
                      <a:gd name="connsiteY8" fmla="*/ 82052 h 172606"/>
                      <a:gd name="connsiteX9" fmla="*/ 108111 w 177354"/>
                      <a:gd name="connsiteY9" fmla="*/ 77370 h 172606"/>
                      <a:gd name="connsiteX10" fmla="*/ 104289 w 177354"/>
                      <a:gd name="connsiteY10" fmla="*/ 72401 h 172606"/>
                      <a:gd name="connsiteX11" fmla="*/ 96980 w 177354"/>
                      <a:gd name="connsiteY11" fmla="*/ 61926 h 172606"/>
                      <a:gd name="connsiteX12" fmla="*/ 96699 w 177354"/>
                      <a:gd name="connsiteY12" fmla="*/ 54948 h 172606"/>
                      <a:gd name="connsiteX13" fmla="*/ 96792 w 177354"/>
                      <a:gd name="connsiteY13" fmla="*/ 51854 h 172606"/>
                      <a:gd name="connsiteX14" fmla="*/ 85193 w 177354"/>
                      <a:gd name="connsiteY14" fmla="*/ 43088 h 172606"/>
                      <a:gd name="connsiteX15" fmla="*/ 72959 w 177354"/>
                      <a:gd name="connsiteY15" fmla="*/ 36540 h 172606"/>
                      <a:gd name="connsiteX16" fmla="*/ 61673 w 177354"/>
                      <a:gd name="connsiteY16" fmla="*/ 19672 h 172606"/>
                      <a:gd name="connsiteX17" fmla="*/ 56971 w 177354"/>
                      <a:gd name="connsiteY17" fmla="*/ 10564 h 172606"/>
                      <a:gd name="connsiteX18" fmla="*/ 37581 w 177354"/>
                      <a:gd name="connsiteY18" fmla="*/ 77 h 172606"/>
                      <a:gd name="connsiteX19" fmla="*/ 16762 w 177354"/>
                      <a:gd name="connsiteY19" fmla="*/ 7277 h 172606"/>
                      <a:gd name="connsiteX20" fmla="*/ 15234 w 177354"/>
                      <a:gd name="connsiteY20" fmla="*/ 9191 h 172606"/>
                      <a:gd name="connsiteX21" fmla="*/ 14333 w 177354"/>
                      <a:gd name="connsiteY21" fmla="*/ 12292 h 172606"/>
                      <a:gd name="connsiteX22" fmla="*/ 13182 w 177354"/>
                      <a:gd name="connsiteY22" fmla="*/ 11799 h 172606"/>
                      <a:gd name="connsiteX23" fmla="*/ 10127 w 177354"/>
                      <a:gd name="connsiteY23" fmla="*/ 16502 h 172606"/>
                      <a:gd name="connsiteX24" fmla="*/ 0 w 177354"/>
                      <a:gd name="connsiteY24" fmla="*/ 31965 h 172606"/>
                      <a:gd name="connsiteX25" fmla="*/ 2625 w 177354"/>
                      <a:gd name="connsiteY25" fmla="*/ 35900 h 172606"/>
                      <a:gd name="connsiteX26" fmla="*/ 2089 w 177354"/>
                      <a:gd name="connsiteY26" fmla="*/ 37010 h 172606"/>
                      <a:gd name="connsiteX27" fmla="*/ 3630 w 177354"/>
                      <a:gd name="connsiteY27" fmla="*/ 41799 h 172606"/>
                      <a:gd name="connsiteX28" fmla="*/ 9992 w 177354"/>
                      <a:gd name="connsiteY28" fmla="*/ 46725 h 172606"/>
                      <a:gd name="connsiteX29" fmla="*/ 15325 w 177354"/>
                      <a:gd name="connsiteY29" fmla="*/ 50441 h 172606"/>
                      <a:gd name="connsiteX30" fmla="*/ 31605 w 177354"/>
                      <a:gd name="connsiteY30" fmla="*/ 78026 h 172606"/>
                      <a:gd name="connsiteX31" fmla="*/ 57320 w 177354"/>
                      <a:gd name="connsiteY31" fmla="*/ 170464 h 172606"/>
                      <a:gd name="connsiteX32" fmla="*/ 68476 w 177354"/>
                      <a:gd name="connsiteY32" fmla="*/ 171312 h 17260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  <a:cxn ang="0">
                        <a:pos x="connsiteX25" y="connsiteY25"/>
                      </a:cxn>
                      <a:cxn ang="0">
                        <a:pos x="connsiteX26" y="connsiteY26"/>
                      </a:cxn>
                      <a:cxn ang="0">
                        <a:pos x="connsiteX27" y="connsiteY27"/>
                      </a:cxn>
                      <a:cxn ang="0">
                        <a:pos x="connsiteX28" y="connsiteY28"/>
                      </a:cxn>
                      <a:cxn ang="0">
                        <a:pos x="connsiteX29" y="connsiteY29"/>
                      </a:cxn>
                      <a:cxn ang="0">
                        <a:pos x="connsiteX30" y="connsiteY30"/>
                      </a:cxn>
                      <a:cxn ang="0">
                        <a:pos x="connsiteX31" y="connsiteY31"/>
                      </a:cxn>
                      <a:cxn ang="0">
                        <a:pos x="connsiteX32" y="connsiteY32"/>
                      </a:cxn>
                    </a:cxnLst>
                    <a:rect l="l" t="t" r="r" b="b"/>
                    <a:pathLst>
                      <a:path w="177354" h="172606">
                        <a:moveTo>
                          <a:pt x="68476" y="171312"/>
                        </a:moveTo>
                        <a:lnTo>
                          <a:pt x="70570" y="171658"/>
                        </a:lnTo>
                        <a:cubicBezTo>
                          <a:pt x="94294" y="175390"/>
                          <a:pt x="118312" y="167515"/>
                          <a:pt x="142830" y="158384"/>
                        </a:cubicBezTo>
                        <a:cubicBezTo>
                          <a:pt x="155960" y="153486"/>
                          <a:pt x="169228" y="147770"/>
                          <a:pt x="174627" y="136548"/>
                        </a:cubicBezTo>
                        <a:cubicBezTo>
                          <a:pt x="179249" y="126937"/>
                          <a:pt x="177172" y="114954"/>
                          <a:pt x="174444" y="102492"/>
                        </a:cubicBezTo>
                        <a:cubicBezTo>
                          <a:pt x="170797" y="85923"/>
                          <a:pt x="166020" y="74048"/>
                          <a:pt x="159950" y="66163"/>
                        </a:cubicBezTo>
                        <a:cubicBezTo>
                          <a:pt x="155395" y="64177"/>
                          <a:pt x="147994" y="67490"/>
                          <a:pt x="142430" y="71940"/>
                        </a:cubicBezTo>
                        <a:cubicBezTo>
                          <a:pt x="133608" y="79020"/>
                          <a:pt x="123400" y="87133"/>
                          <a:pt x="111715" y="83475"/>
                        </a:cubicBezTo>
                        <a:lnTo>
                          <a:pt x="107163" y="82052"/>
                        </a:lnTo>
                        <a:lnTo>
                          <a:pt x="108111" y="77370"/>
                        </a:lnTo>
                        <a:cubicBezTo>
                          <a:pt x="108340" y="76261"/>
                          <a:pt x="106184" y="74208"/>
                          <a:pt x="104289" y="72401"/>
                        </a:cubicBezTo>
                        <a:cubicBezTo>
                          <a:pt x="101403" y="69640"/>
                          <a:pt x="98142" y="66523"/>
                          <a:pt x="96980" y="61926"/>
                        </a:cubicBezTo>
                        <a:cubicBezTo>
                          <a:pt x="96329" y="59356"/>
                          <a:pt x="96530" y="57017"/>
                          <a:pt x="96699" y="54948"/>
                        </a:cubicBezTo>
                        <a:cubicBezTo>
                          <a:pt x="96803" y="53789"/>
                          <a:pt x="96887" y="52693"/>
                          <a:pt x="96792" y="51854"/>
                        </a:cubicBezTo>
                        <a:cubicBezTo>
                          <a:pt x="96315" y="47999"/>
                          <a:pt x="92082" y="46005"/>
                          <a:pt x="85193" y="43088"/>
                        </a:cubicBezTo>
                        <a:cubicBezTo>
                          <a:pt x="80979" y="41300"/>
                          <a:pt x="76622" y="39438"/>
                          <a:pt x="72959" y="36540"/>
                        </a:cubicBezTo>
                        <a:cubicBezTo>
                          <a:pt x="67217" y="31979"/>
                          <a:pt x="64398" y="25723"/>
                          <a:pt x="61673" y="19672"/>
                        </a:cubicBezTo>
                        <a:cubicBezTo>
                          <a:pt x="60190" y="16364"/>
                          <a:pt x="58779" y="13241"/>
                          <a:pt x="56971" y="10564"/>
                        </a:cubicBezTo>
                        <a:cubicBezTo>
                          <a:pt x="52965" y="4669"/>
                          <a:pt x="45714" y="740"/>
                          <a:pt x="37581" y="77"/>
                        </a:cubicBezTo>
                        <a:cubicBezTo>
                          <a:pt x="29488" y="-493"/>
                          <a:pt x="21679" y="2110"/>
                          <a:pt x="16762" y="7277"/>
                        </a:cubicBezTo>
                        <a:cubicBezTo>
                          <a:pt x="16210" y="7860"/>
                          <a:pt x="15745" y="8558"/>
                          <a:pt x="15234" y="9191"/>
                        </a:cubicBezTo>
                        <a:lnTo>
                          <a:pt x="14333" y="12292"/>
                        </a:lnTo>
                        <a:cubicBezTo>
                          <a:pt x="13916" y="12169"/>
                          <a:pt x="13574" y="11950"/>
                          <a:pt x="13182" y="11799"/>
                        </a:cubicBezTo>
                        <a:cubicBezTo>
                          <a:pt x="12148" y="13296"/>
                          <a:pt x="11151" y="14872"/>
                          <a:pt x="10127" y="16502"/>
                        </a:cubicBezTo>
                        <a:cubicBezTo>
                          <a:pt x="6907" y="21641"/>
                          <a:pt x="3530" y="26837"/>
                          <a:pt x="0" y="31965"/>
                        </a:cubicBezTo>
                        <a:lnTo>
                          <a:pt x="2625" y="35900"/>
                        </a:lnTo>
                        <a:cubicBezTo>
                          <a:pt x="2511" y="35973"/>
                          <a:pt x="2202" y="36183"/>
                          <a:pt x="2089" y="37010"/>
                        </a:cubicBezTo>
                        <a:cubicBezTo>
                          <a:pt x="1884" y="38502"/>
                          <a:pt x="2531" y="40515"/>
                          <a:pt x="3630" y="41799"/>
                        </a:cubicBezTo>
                        <a:cubicBezTo>
                          <a:pt x="5218" y="43649"/>
                          <a:pt x="7534" y="45141"/>
                          <a:pt x="9992" y="46725"/>
                        </a:cubicBezTo>
                        <a:cubicBezTo>
                          <a:pt x="11820" y="47900"/>
                          <a:pt x="13645" y="49087"/>
                          <a:pt x="15325" y="50441"/>
                        </a:cubicBezTo>
                        <a:cubicBezTo>
                          <a:pt x="23962" y="57399"/>
                          <a:pt x="28106" y="67886"/>
                          <a:pt x="31605" y="78026"/>
                        </a:cubicBezTo>
                        <a:cubicBezTo>
                          <a:pt x="42038" y="108205"/>
                          <a:pt x="50639" y="139275"/>
                          <a:pt x="57320" y="170464"/>
                        </a:cubicBezTo>
                        <a:cubicBezTo>
                          <a:pt x="61236" y="170101"/>
                          <a:pt x="65026" y="170720"/>
                          <a:pt x="68476" y="171312"/>
                        </a:cubicBezTo>
                        <a:close/>
                      </a:path>
                    </a:pathLst>
                  </a:custGeom>
                  <a:grpFill/>
                  <a:ln w="1649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s-ES_tradnl" sz="2400"/>
                  </a:p>
                </p:txBody>
              </p:sp>
              <p:sp>
                <p:nvSpPr>
                  <p:cNvPr id="220" name="Forma libre 219">
                    <a:extLst>
                      <a:ext uri="{FF2B5EF4-FFF2-40B4-BE49-F238E27FC236}">
                        <a16:creationId xmlns:a16="http://schemas.microsoft.com/office/drawing/2014/main" id="{AB31AB19-4420-2D44-9DCD-61292582E884}"/>
                      </a:ext>
                    </a:extLst>
                  </p:cNvPr>
                  <p:cNvSpPr/>
                  <p:nvPr/>
                </p:nvSpPr>
                <p:spPr>
                  <a:xfrm>
                    <a:off x="5859548" y="3079320"/>
                    <a:ext cx="377755" cy="244294"/>
                  </a:xfrm>
                  <a:custGeom>
                    <a:avLst/>
                    <a:gdLst>
                      <a:gd name="connsiteX0" fmla="*/ 248421 w 377755"/>
                      <a:gd name="connsiteY0" fmla="*/ 208691 h 244294"/>
                      <a:gd name="connsiteX1" fmla="*/ 253606 w 377755"/>
                      <a:gd name="connsiteY1" fmla="*/ 201016 h 244294"/>
                      <a:gd name="connsiteX2" fmla="*/ 267807 w 377755"/>
                      <a:gd name="connsiteY2" fmla="*/ 191507 h 244294"/>
                      <a:gd name="connsiteX3" fmla="*/ 270794 w 377755"/>
                      <a:gd name="connsiteY3" fmla="*/ 189944 h 244294"/>
                      <a:gd name="connsiteX4" fmla="*/ 321035 w 377755"/>
                      <a:gd name="connsiteY4" fmla="*/ 120073 h 244294"/>
                      <a:gd name="connsiteX5" fmla="*/ 322079 w 377755"/>
                      <a:gd name="connsiteY5" fmla="*/ 112969 h 244294"/>
                      <a:gd name="connsiteX6" fmla="*/ 332214 w 377755"/>
                      <a:gd name="connsiteY6" fmla="*/ 82692 h 244294"/>
                      <a:gd name="connsiteX7" fmla="*/ 355799 w 377755"/>
                      <a:gd name="connsiteY7" fmla="*/ 67786 h 244294"/>
                      <a:gd name="connsiteX8" fmla="*/ 370533 w 377755"/>
                      <a:gd name="connsiteY8" fmla="*/ 60395 h 244294"/>
                      <a:gd name="connsiteX9" fmla="*/ 377279 w 377755"/>
                      <a:gd name="connsiteY9" fmla="*/ 41231 h 244294"/>
                      <a:gd name="connsiteX10" fmla="*/ 372551 w 377755"/>
                      <a:gd name="connsiteY10" fmla="*/ 37056 h 244294"/>
                      <a:gd name="connsiteX11" fmla="*/ 372632 w 377755"/>
                      <a:gd name="connsiteY11" fmla="*/ 35720 h 244294"/>
                      <a:gd name="connsiteX12" fmla="*/ 356109 w 377755"/>
                      <a:gd name="connsiteY12" fmla="*/ 31531 h 244294"/>
                      <a:gd name="connsiteX13" fmla="*/ 337979 w 377755"/>
                      <a:gd name="connsiteY13" fmla="*/ 16670 h 244294"/>
                      <a:gd name="connsiteX14" fmla="*/ 337707 w 377755"/>
                      <a:gd name="connsiteY14" fmla="*/ 14776 h 244294"/>
                      <a:gd name="connsiteX15" fmla="*/ 336850 w 377755"/>
                      <a:gd name="connsiteY15" fmla="*/ 13886 h 244294"/>
                      <a:gd name="connsiteX16" fmla="*/ 320763 w 377755"/>
                      <a:gd name="connsiteY16" fmla="*/ 10790 h 244294"/>
                      <a:gd name="connsiteX17" fmla="*/ 310925 w 377755"/>
                      <a:gd name="connsiteY17" fmla="*/ 13119 h 244294"/>
                      <a:gd name="connsiteX18" fmla="*/ 287601 w 377755"/>
                      <a:gd name="connsiteY18" fmla="*/ 15836 h 244294"/>
                      <a:gd name="connsiteX19" fmla="*/ 268394 w 377755"/>
                      <a:gd name="connsiteY19" fmla="*/ 7241 h 244294"/>
                      <a:gd name="connsiteX20" fmla="*/ 261371 w 377755"/>
                      <a:gd name="connsiteY20" fmla="*/ 3114 h 244294"/>
                      <a:gd name="connsiteX21" fmla="*/ 241974 w 377755"/>
                      <a:gd name="connsiteY21" fmla="*/ 2836 h 244294"/>
                      <a:gd name="connsiteX22" fmla="*/ 239855 w 377755"/>
                      <a:gd name="connsiteY22" fmla="*/ 5727 h 244294"/>
                      <a:gd name="connsiteX23" fmla="*/ 232875 w 377755"/>
                      <a:gd name="connsiteY23" fmla="*/ 12897 h 244294"/>
                      <a:gd name="connsiteX24" fmla="*/ 221293 w 377755"/>
                      <a:gd name="connsiteY24" fmla="*/ 14316 h 244294"/>
                      <a:gd name="connsiteX25" fmla="*/ 216560 w 377755"/>
                      <a:gd name="connsiteY25" fmla="*/ 14209 h 244294"/>
                      <a:gd name="connsiteX26" fmla="*/ 206657 w 377755"/>
                      <a:gd name="connsiteY26" fmla="*/ 30065 h 244294"/>
                      <a:gd name="connsiteX27" fmla="*/ 190809 w 377755"/>
                      <a:gd name="connsiteY27" fmla="*/ 53839 h 244294"/>
                      <a:gd name="connsiteX28" fmla="*/ 180482 w 377755"/>
                      <a:gd name="connsiteY28" fmla="*/ 55583 h 244294"/>
                      <a:gd name="connsiteX29" fmla="*/ 139646 w 377755"/>
                      <a:gd name="connsiteY29" fmla="*/ 57398 h 244294"/>
                      <a:gd name="connsiteX30" fmla="*/ 137381 w 377755"/>
                      <a:gd name="connsiteY30" fmla="*/ 71741 h 244294"/>
                      <a:gd name="connsiteX31" fmla="*/ 114862 w 377755"/>
                      <a:gd name="connsiteY31" fmla="*/ 90961 h 244294"/>
                      <a:gd name="connsiteX32" fmla="*/ 104008 w 377755"/>
                      <a:gd name="connsiteY32" fmla="*/ 92367 h 244294"/>
                      <a:gd name="connsiteX33" fmla="*/ 68735 w 377755"/>
                      <a:gd name="connsiteY33" fmla="*/ 82982 h 244294"/>
                      <a:gd name="connsiteX34" fmla="*/ 64406 w 377755"/>
                      <a:gd name="connsiteY34" fmla="*/ 80997 h 244294"/>
                      <a:gd name="connsiteX35" fmla="*/ 29138 w 377755"/>
                      <a:gd name="connsiteY35" fmla="*/ 70257 h 244294"/>
                      <a:gd name="connsiteX36" fmla="*/ 29138 w 377755"/>
                      <a:gd name="connsiteY36" fmla="*/ 69957 h 244294"/>
                      <a:gd name="connsiteX37" fmla="*/ 3427 w 377755"/>
                      <a:gd name="connsiteY37" fmla="*/ 80946 h 244294"/>
                      <a:gd name="connsiteX38" fmla="*/ 4313 w 377755"/>
                      <a:gd name="connsiteY38" fmla="*/ 92751 h 244294"/>
                      <a:gd name="connsiteX39" fmla="*/ 18833 w 377755"/>
                      <a:gd name="connsiteY39" fmla="*/ 105094 h 244294"/>
                      <a:gd name="connsiteX40" fmla="*/ 25338 w 377755"/>
                      <a:gd name="connsiteY40" fmla="*/ 109174 h 244294"/>
                      <a:gd name="connsiteX41" fmla="*/ 19204 w 377755"/>
                      <a:gd name="connsiteY41" fmla="*/ 113802 h 244294"/>
                      <a:gd name="connsiteX42" fmla="*/ 417 w 377755"/>
                      <a:gd name="connsiteY42" fmla="*/ 160304 h 244294"/>
                      <a:gd name="connsiteX43" fmla="*/ 16820 w 377755"/>
                      <a:gd name="connsiteY43" fmla="*/ 166961 h 244294"/>
                      <a:gd name="connsiteX44" fmla="*/ 30266 w 377755"/>
                      <a:gd name="connsiteY44" fmla="*/ 186968 h 244294"/>
                      <a:gd name="connsiteX45" fmla="*/ 45614 w 377755"/>
                      <a:gd name="connsiteY45" fmla="*/ 218597 h 244294"/>
                      <a:gd name="connsiteX46" fmla="*/ 49697 w 377755"/>
                      <a:gd name="connsiteY46" fmla="*/ 225248 h 244294"/>
                      <a:gd name="connsiteX47" fmla="*/ 65366 w 377755"/>
                      <a:gd name="connsiteY47" fmla="*/ 229723 h 244294"/>
                      <a:gd name="connsiteX48" fmla="*/ 75018 w 377755"/>
                      <a:gd name="connsiteY48" fmla="*/ 230912 h 244294"/>
                      <a:gd name="connsiteX49" fmla="*/ 92845 w 377755"/>
                      <a:gd name="connsiteY49" fmla="*/ 237956 h 244294"/>
                      <a:gd name="connsiteX50" fmla="*/ 106266 w 377755"/>
                      <a:gd name="connsiteY50" fmla="*/ 243680 h 244294"/>
                      <a:gd name="connsiteX51" fmla="*/ 122167 w 377755"/>
                      <a:gd name="connsiteY51" fmla="*/ 241100 h 244294"/>
                      <a:gd name="connsiteX52" fmla="*/ 125444 w 377755"/>
                      <a:gd name="connsiteY52" fmla="*/ 235365 h 244294"/>
                      <a:gd name="connsiteX53" fmla="*/ 125511 w 377755"/>
                      <a:gd name="connsiteY53" fmla="*/ 232602 h 244294"/>
                      <a:gd name="connsiteX54" fmla="*/ 127814 w 377755"/>
                      <a:gd name="connsiteY54" fmla="*/ 231085 h 244294"/>
                      <a:gd name="connsiteX55" fmla="*/ 248421 w 377755"/>
                      <a:gd name="connsiteY55" fmla="*/ 208691 h 24429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  <a:cxn ang="0">
                        <a:pos x="connsiteX25" y="connsiteY25"/>
                      </a:cxn>
                      <a:cxn ang="0">
                        <a:pos x="connsiteX26" y="connsiteY26"/>
                      </a:cxn>
                      <a:cxn ang="0">
                        <a:pos x="connsiteX27" y="connsiteY27"/>
                      </a:cxn>
                      <a:cxn ang="0">
                        <a:pos x="connsiteX28" y="connsiteY28"/>
                      </a:cxn>
                      <a:cxn ang="0">
                        <a:pos x="connsiteX29" y="connsiteY29"/>
                      </a:cxn>
                      <a:cxn ang="0">
                        <a:pos x="connsiteX30" y="connsiteY30"/>
                      </a:cxn>
                      <a:cxn ang="0">
                        <a:pos x="connsiteX31" y="connsiteY31"/>
                      </a:cxn>
                      <a:cxn ang="0">
                        <a:pos x="connsiteX32" y="connsiteY32"/>
                      </a:cxn>
                      <a:cxn ang="0">
                        <a:pos x="connsiteX33" y="connsiteY33"/>
                      </a:cxn>
                      <a:cxn ang="0">
                        <a:pos x="connsiteX34" y="connsiteY34"/>
                      </a:cxn>
                      <a:cxn ang="0">
                        <a:pos x="connsiteX35" y="connsiteY35"/>
                      </a:cxn>
                      <a:cxn ang="0">
                        <a:pos x="connsiteX36" y="connsiteY36"/>
                      </a:cxn>
                      <a:cxn ang="0">
                        <a:pos x="connsiteX37" y="connsiteY37"/>
                      </a:cxn>
                      <a:cxn ang="0">
                        <a:pos x="connsiteX38" y="connsiteY38"/>
                      </a:cxn>
                      <a:cxn ang="0">
                        <a:pos x="connsiteX39" y="connsiteY39"/>
                      </a:cxn>
                      <a:cxn ang="0">
                        <a:pos x="connsiteX40" y="connsiteY40"/>
                      </a:cxn>
                      <a:cxn ang="0">
                        <a:pos x="connsiteX41" y="connsiteY41"/>
                      </a:cxn>
                      <a:cxn ang="0">
                        <a:pos x="connsiteX42" y="connsiteY42"/>
                      </a:cxn>
                      <a:cxn ang="0">
                        <a:pos x="connsiteX43" y="connsiteY43"/>
                      </a:cxn>
                      <a:cxn ang="0">
                        <a:pos x="connsiteX44" y="connsiteY44"/>
                      </a:cxn>
                      <a:cxn ang="0">
                        <a:pos x="connsiteX45" y="connsiteY45"/>
                      </a:cxn>
                      <a:cxn ang="0">
                        <a:pos x="connsiteX46" y="connsiteY46"/>
                      </a:cxn>
                      <a:cxn ang="0">
                        <a:pos x="connsiteX47" y="connsiteY47"/>
                      </a:cxn>
                      <a:cxn ang="0">
                        <a:pos x="connsiteX48" y="connsiteY48"/>
                      </a:cxn>
                      <a:cxn ang="0">
                        <a:pos x="connsiteX49" y="connsiteY49"/>
                      </a:cxn>
                      <a:cxn ang="0">
                        <a:pos x="connsiteX50" y="connsiteY50"/>
                      </a:cxn>
                      <a:cxn ang="0">
                        <a:pos x="connsiteX51" y="connsiteY51"/>
                      </a:cxn>
                      <a:cxn ang="0">
                        <a:pos x="connsiteX52" y="connsiteY52"/>
                      </a:cxn>
                      <a:cxn ang="0">
                        <a:pos x="connsiteX53" y="connsiteY53"/>
                      </a:cxn>
                      <a:cxn ang="0">
                        <a:pos x="connsiteX54" y="connsiteY54"/>
                      </a:cxn>
                      <a:cxn ang="0">
                        <a:pos x="connsiteX55" y="connsiteY55"/>
                      </a:cxn>
                    </a:cxnLst>
                    <a:rect l="l" t="t" r="r" b="b"/>
                    <a:pathLst>
                      <a:path w="377755" h="244294">
                        <a:moveTo>
                          <a:pt x="248421" y="208691"/>
                        </a:moveTo>
                        <a:cubicBezTo>
                          <a:pt x="249763" y="205936"/>
                          <a:pt x="251382" y="203317"/>
                          <a:pt x="253606" y="201016"/>
                        </a:cubicBezTo>
                        <a:cubicBezTo>
                          <a:pt x="257792" y="196681"/>
                          <a:pt x="262881" y="194047"/>
                          <a:pt x="267807" y="191507"/>
                        </a:cubicBezTo>
                        <a:lnTo>
                          <a:pt x="270794" y="189944"/>
                        </a:lnTo>
                        <a:cubicBezTo>
                          <a:pt x="296838" y="175980"/>
                          <a:pt x="316082" y="149205"/>
                          <a:pt x="321035" y="120073"/>
                        </a:cubicBezTo>
                        <a:cubicBezTo>
                          <a:pt x="321431" y="117732"/>
                          <a:pt x="321756" y="115350"/>
                          <a:pt x="322079" y="112969"/>
                        </a:cubicBezTo>
                        <a:cubicBezTo>
                          <a:pt x="323529" y="102397"/>
                          <a:pt x="325030" y="91474"/>
                          <a:pt x="332214" y="82692"/>
                        </a:cubicBezTo>
                        <a:cubicBezTo>
                          <a:pt x="338507" y="75023"/>
                          <a:pt x="347302" y="71345"/>
                          <a:pt x="355799" y="67786"/>
                        </a:cubicBezTo>
                        <a:cubicBezTo>
                          <a:pt x="361171" y="65544"/>
                          <a:pt x="366234" y="63415"/>
                          <a:pt x="370533" y="60395"/>
                        </a:cubicBezTo>
                        <a:cubicBezTo>
                          <a:pt x="376346" y="56297"/>
                          <a:pt x="378893" y="46897"/>
                          <a:pt x="377279" y="41231"/>
                        </a:cubicBezTo>
                        <a:cubicBezTo>
                          <a:pt x="376280" y="37721"/>
                          <a:pt x="374228" y="37157"/>
                          <a:pt x="372551" y="37056"/>
                        </a:cubicBezTo>
                        <a:lnTo>
                          <a:pt x="372632" y="35720"/>
                        </a:lnTo>
                        <a:cubicBezTo>
                          <a:pt x="367119" y="34589"/>
                          <a:pt x="361588" y="33248"/>
                          <a:pt x="356109" y="31531"/>
                        </a:cubicBezTo>
                        <a:cubicBezTo>
                          <a:pt x="352314" y="30350"/>
                          <a:pt x="340754" y="26723"/>
                          <a:pt x="337979" y="16670"/>
                        </a:cubicBezTo>
                        <a:cubicBezTo>
                          <a:pt x="337803" y="16033"/>
                          <a:pt x="337803" y="15408"/>
                          <a:pt x="337707" y="14776"/>
                        </a:cubicBezTo>
                        <a:cubicBezTo>
                          <a:pt x="337399" y="14486"/>
                          <a:pt x="337218" y="14156"/>
                          <a:pt x="336850" y="13886"/>
                        </a:cubicBezTo>
                        <a:cubicBezTo>
                          <a:pt x="333053" y="11080"/>
                          <a:pt x="326632" y="9826"/>
                          <a:pt x="320763" y="10790"/>
                        </a:cubicBezTo>
                        <a:cubicBezTo>
                          <a:pt x="317470" y="11332"/>
                          <a:pt x="314197" y="12236"/>
                          <a:pt x="310925" y="13119"/>
                        </a:cubicBezTo>
                        <a:cubicBezTo>
                          <a:pt x="303504" y="15149"/>
                          <a:pt x="295803" y="17234"/>
                          <a:pt x="287601" y="15836"/>
                        </a:cubicBezTo>
                        <a:cubicBezTo>
                          <a:pt x="280260" y="14588"/>
                          <a:pt x="274223" y="10858"/>
                          <a:pt x="268394" y="7241"/>
                        </a:cubicBezTo>
                        <a:cubicBezTo>
                          <a:pt x="266076" y="5800"/>
                          <a:pt x="263758" y="4359"/>
                          <a:pt x="261371" y="3114"/>
                        </a:cubicBezTo>
                        <a:cubicBezTo>
                          <a:pt x="255016" y="-189"/>
                          <a:pt x="246232" y="-1694"/>
                          <a:pt x="241974" y="2836"/>
                        </a:cubicBezTo>
                        <a:cubicBezTo>
                          <a:pt x="241174" y="3700"/>
                          <a:pt x="240520" y="4730"/>
                          <a:pt x="239855" y="5727"/>
                        </a:cubicBezTo>
                        <a:cubicBezTo>
                          <a:pt x="238258" y="8118"/>
                          <a:pt x="236281" y="11092"/>
                          <a:pt x="232875" y="12897"/>
                        </a:cubicBezTo>
                        <a:cubicBezTo>
                          <a:pt x="228863" y="15015"/>
                          <a:pt x="224662" y="14633"/>
                          <a:pt x="221293" y="14316"/>
                        </a:cubicBezTo>
                        <a:cubicBezTo>
                          <a:pt x="219529" y="14145"/>
                          <a:pt x="217877" y="14011"/>
                          <a:pt x="216560" y="14209"/>
                        </a:cubicBezTo>
                        <a:cubicBezTo>
                          <a:pt x="211540" y="15022"/>
                          <a:pt x="209471" y="20736"/>
                          <a:pt x="206657" y="30065"/>
                        </a:cubicBezTo>
                        <a:cubicBezTo>
                          <a:pt x="203861" y="39322"/>
                          <a:pt x="200697" y="49813"/>
                          <a:pt x="190809" y="53839"/>
                        </a:cubicBezTo>
                        <a:cubicBezTo>
                          <a:pt x="187204" y="55283"/>
                          <a:pt x="183481" y="55446"/>
                          <a:pt x="180482" y="55583"/>
                        </a:cubicBezTo>
                        <a:lnTo>
                          <a:pt x="139646" y="57398"/>
                        </a:lnTo>
                        <a:cubicBezTo>
                          <a:pt x="140276" y="62049"/>
                          <a:pt x="139521" y="66946"/>
                          <a:pt x="137381" y="71741"/>
                        </a:cubicBezTo>
                        <a:cubicBezTo>
                          <a:pt x="133209" y="81058"/>
                          <a:pt x="124575" y="88426"/>
                          <a:pt x="114862" y="90961"/>
                        </a:cubicBezTo>
                        <a:cubicBezTo>
                          <a:pt x="111250" y="91909"/>
                          <a:pt x="107621" y="92339"/>
                          <a:pt x="104008" y="92367"/>
                        </a:cubicBezTo>
                        <a:cubicBezTo>
                          <a:pt x="91643" y="92461"/>
                          <a:pt x="79451" y="87845"/>
                          <a:pt x="68735" y="82982"/>
                        </a:cubicBezTo>
                        <a:lnTo>
                          <a:pt x="64406" y="80997"/>
                        </a:lnTo>
                        <a:cubicBezTo>
                          <a:pt x="52968" y="75715"/>
                          <a:pt x="41137" y="70270"/>
                          <a:pt x="29138" y="70257"/>
                        </a:cubicBezTo>
                        <a:lnTo>
                          <a:pt x="29138" y="69957"/>
                        </a:lnTo>
                        <a:cubicBezTo>
                          <a:pt x="22309" y="76716"/>
                          <a:pt x="13055" y="80857"/>
                          <a:pt x="3427" y="80946"/>
                        </a:cubicBezTo>
                        <a:cubicBezTo>
                          <a:pt x="1475" y="84228"/>
                          <a:pt x="2203" y="89303"/>
                          <a:pt x="4313" y="92751"/>
                        </a:cubicBezTo>
                        <a:cubicBezTo>
                          <a:pt x="7511" y="97971"/>
                          <a:pt x="13528" y="101753"/>
                          <a:pt x="18833" y="105094"/>
                        </a:cubicBezTo>
                        <a:lnTo>
                          <a:pt x="25338" y="109174"/>
                        </a:lnTo>
                        <a:lnTo>
                          <a:pt x="19204" y="113802"/>
                        </a:lnTo>
                        <a:cubicBezTo>
                          <a:pt x="5277" y="124300"/>
                          <a:pt x="-1858" y="143019"/>
                          <a:pt x="417" y="160304"/>
                        </a:cubicBezTo>
                        <a:cubicBezTo>
                          <a:pt x="6586" y="160506"/>
                          <a:pt x="12570" y="163265"/>
                          <a:pt x="16820" y="166961"/>
                        </a:cubicBezTo>
                        <a:cubicBezTo>
                          <a:pt x="23306" y="172603"/>
                          <a:pt x="27004" y="180239"/>
                          <a:pt x="30266" y="186968"/>
                        </a:cubicBezTo>
                        <a:lnTo>
                          <a:pt x="45614" y="218597"/>
                        </a:lnTo>
                        <a:cubicBezTo>
                          <a:pt x="46801" y="221049"/>
                          <a:pt x="48036" y="223584"/>
                          <a:pt x="49697" y="225248"/>
                        </a:cubicBezTo>
                        <a:cubicBezTo>
                          <a:pt x="53168" y="228728"/>
                          <a:pt x="58824" y="229194"/>
                          <a:pt x="65366" y="229723"/>
                        </a:cubicBezTo>
                        <a:cubicBezTo>
                          <a:pt x="68641" y="229999"/>
                          <a:pt x="71918" y="230274"/>
                          <a:pt x="75018" y="230912"/>
                        </a:cubicBezTo>
                        <a:cubicBezTo>
                          <a:pt x="81540" y="232251"/>
                          <a:pt x="87291" y="235154"/>
                          <a:pt x="92845" y="237956"/>
                        </a:cubicBezTo>
                        <a:cubicBezTo>
                          <a:pt x="97423" y="240269"/>
                          <a:pt x="101747" y="242452"/>
                          <a:pt x="106266" y="243680"/>
                        </a:cubicBezTo>
                        <a:cubicBezTo>
                          <a:pt x="111553" y="245078"/>
                          <a:pt x="118231" y="244035"/>
                          <a:pt x="122167" y="241100"/>
                        </a:cubicBezTo>
                        <a:cubicBezTo>
                          <a:pt x="124311" y="239501"/>
                          <a:pt x="125383" y="237632"/>
                          <a:pt x="125444" y="235365"/>
                        </a:cubicBezTo>
                        <a:lnTo>
                          <a:pt x="125511" y="232602"/>
                        </a:lnTo>
                        <a:lnTo>
                          <a:pt x="127814" y="231085"/>
                        </a:lnTo>
                        <a:cubicBezTo>
                          <a:pt x="162919" y="207910"/>
                          <a:pt x="207351" y="199911"/>
                          <a:pt x="248421" y="208691"/>
                        </a:cubicBezTo>
                        <a:close/>
                      </a:path>
                    </a:pathLst>
                  </a:custGeom>
                  <a:grpFill/>
                  <a:ln w="1649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s-ES_tradnl" sz="2400"/>
                  </a:p>
                </p:txBody>
              </p:sp>
              <p:sp>
                <p:nvSpPr>
                  <p:cNvPr id="221" name="Forma libre 220">
                    <a:extLst>
                      <a:ext uri="{FF2B5EF4-FFF2-40B4-BE49-F238E27FC236}">
                        <a16:creationId xmlns:a16="http://schemas.microsoft.com/office/drawing/2014/main" id="{4FF86F7E-F5C4-1C47-AF55-5E387B7C45A2}"/>
                      </a:ext>
                    </a:extLst>
                  </p:cNvPr>
                  <p:cNvSpPr/>
                  <p:nvPr/>
                </p:nvSpPr>
                <p:spPr>
                  <a:xfrm>
                    <a:off x="6236560" y="3447080"/>
                    <a:ext cx="389377" cy="244518"/>
                  </a:xfrm>
                  <a:custGeom>
                    <a:avLst/>
                    <a:gdLst>
                      <a:gd name="connsiteX0" fmla="*/ 389378 w 389377"/>
                      <a:gd name="connsiteY0" fmla="*/ 29416 h 244518"/>
                      <a:gd name="connsiteX1" fmla="*/ 388637 w 389377"/>
                      <a:gd name="connsiteY1" fmla="*/ 30021 h 244518"/>
                      <a:gd name="connsiteX2" fmla="*/ 376318 w 389377"/>
                      <a:gd name="connsiteY2" fmla="*/ 14960 h 244518"/>
                      <a:gd name="connsiteX3" fmla="*/ 327384 w 389377"/>
                      <a:gd name="connsiteY3" fmla="*/ 13382 h 244518"/>
                      <a:gd name="connsiteX4" fmla="*/ 324215 w 389377"/>
                      <a:gd name="connsiteY4" fmla="*/ 15557 h 244518"/>
                      <a:gd name="connsiteX5" fmla="*/ 313917 w 389377"/>
                      <a:gd name="connsiteY5" fmla="*/ 21417 h 244518"/>
                      <a:gd name="connsiteX6" fmla="*/ 273825 w 389377"/>
                      <a:gd name="connsiteY6" fmla="*/ 8933 h 244518"/>
                      <a:gd name="connsiteX7" fmla="*/ 272185 w 389377"/>
                      <a:gd name="connsiteY7" fmla="*/ 7788 h 244518"/>
                      <a:gd name="connsiteX8" fmla="*/ 243607 w 389377"/>
                      <a:gd name="connsiteY8" fmla="*/ 2365 h 244518"/>
                      <a:gd name="connsiteX9" fmla="*/ 204637 w 389377"/>
                      <a:gd name="connsiteY9" fmla="*/ 55229 h 244518"/>
                      <a:gd name="connsiteX10" fmla="*/ 163456 w 389377"/>
                      <a:gd name="connsiteY10" fmla="*/ 62488 h 244518"/>
                      <a:gd name="connsiteX11" fmla="*/ 137298 w 389377"/>
                      <a:gd name="connsiteY11" fmla="*/ 61225 h 244518"/>
                      <a:gd name="connsiteX12" fmla="*/ 21774 w 389377"/>
                      <a:gd name="connsiteY12" fmla="*/ 42800 h 244518"/>
                      <a:gd name="connsiteX13" fmla="*/ 16489 w 389377"/>
                      <a:gd name="connsiteY13" fmla="*/ 41558 h 244518"/>
                      <a:gd name="connsiteX14" fmla="*/ 17867 w 389377"/>
                      <a:gd name="connsiteY14" fmla="*/ 36304 h 244518"/>
                      <a:gd name="connsiteX15" fmla="*/ 18793 w 389377"/>
                      <a:gd name="connsiteY15" fmla="*/ 20271 h 244518"/>
                      <a:gd name="connsiteX16" fmla="*/ 9784 w 389377"/>
                      <a:gd name="connsiteY16" fmla="*/ 31572 h 244518"/>
                      <a:gd name="connsiteX17" fmla="*/ 5916 w 389377"/>
                      <a:gd name="connsiteY17" fmla="*/ 35832 h 244518"/>
                      <a:gd name="connsiteX18" fmla="*/ 748 w 389377"/>
                      <a:gd name="connsiteY18" fmla="*/ 51602 h 244518"/>
                      <a:gd name="connsiteX19" fmla="*/ 8366 w 389377"/>
                      <a:gd name="connsiteY19" fmla="*/ 59055 h 244518"/>
                      <a:gd name="connsiteX20" fmla="*/ 15567 w 389377"/>
                      <a:gd name="connsiteY20" fmla="*/ 64959 h 244518"/>
                      <a:gd name="connsiteX21" fmla="*/ 17610 w 389377"/>
                      <a:gd name="connsiteY21" fmla="*/ 115365 h 244518"/>
                      <a:gd name="connsiteX22" fmla="*/ 0 w 389377"/>
                      <a:gd name="connsiteY22" fmla="*/ 164296 h 244518"/>
                      <a:gd name="connsiteX23" fmla="*/ 16019 w 389377"/>
                      <a:gd name="connsiteY23" fmla="*/ 176404 h 244518"/>
                      <a:gd name="connsiteX24" fmla="*/ 17819 w 389377"/>
                      <a:gd name="connsiteY24" fmla="*/ 177733 h 244518"/>
                      <a:gd name="connsiteX25" fmla="*/ 17433 w 389377"/>
                      <a:gd name="connsiteY25" fmla="*/ 178131 h 244518"/>
                      <a:gd name="connsiteX26" fmla="*/ 33555 w 389377"/>
                      <a:gd name="connsiteY26" fmla="*/ 218242 h 244518"/>
                      <a:gd name="connsiteX27" fmla="*/ 36688 w 389377"/>
                      <a:gd name="connsiteY27" fmla="*/ 240627 h 244518"/>
                      <a:gd name="connsiteX28" fmla="*/ 39336 w 389377"/>
                      <a:gd name="connsiteY28" fmla="*/ 240644 h 244518"/>
                      <a:gd name="connsiteX29" fmla="*/ 40436 w 389377"/>
                      <a:gd name="connsiteY29" fmla="*/ 242507 h 244518"/>
                      <a:gd name="connsiteX30" fmla="*/ 50940 w 389377"/>
                      <a:gd name="connsiteY30" fmla="*/ 243267 h 244518"/>
                      <a:gd name="connsiteX31" fmla="*/ 56229 w 389377"/>
                      <a:gd name="connsiteY31" fmla="*/ 241054 h 244518"/>
                      <a:gd name="connsiteX32" fmla="*/ 76753 w 389377"/>
                      <a:gd name="connsiteY32" fmla="*/ 237375 h 244518"/>
                      <a:gd name="connsiteX33" fmla="*/ 84332 w 389377"/>
                      <a:gd name="connsiteY33" fmla="*/ 241061 h 244518"/>
                      <a:gd name="connsiteX34" fmla="*/ 87771 w 389377"/>
                      <a:gd name="connsiteY34" fmla="*/ 243020 h 244518"/>
                      <a:gd name="connsiteX35" fmla="*/ 118464 w 389377"/>
                      <a:gd name="connsiteY35" fmla="*/ 236793 h 244518"/>
                      <a:gd name="connsiteX36" fmla="*/ 159673 w 389377"/>
                      <a:gd name="connsiteY36" fmla="*/ 233174 h 244518"/>
                      <a:gd name="connsiteX37" fmla="*/ 163786 w 389377"/>
                      <a:gd name="connsiteY37" fmla="*/ 236814 h 244518"/>
                      <a:gd name="connsiteX38" fmla="*/ 168229 w 389377"/>
                      <a:gd name="connsiteY38" fmla="*/ 240403 h 244518"/>
                      <a:gd name="connsiteX39" fmla="*/ 183806 w 389377"/>
                      <a:gd name="connsiteY39" fmla="*/ 235030 h 244518"/>
                      <a:gd name="connsiteX40" fmla="*/ 192711 w 389377"/>
                      <a:gd name="connsiteY40" fmla="*/ 229772 h 244518"/>
                      <a:gd name="connsiteX41" fmla="*/ 215237 w 389377"/>
                      <a:gd name="connsiteY41" fmla="*/ 225424 h 244518"/>
                      <a:gd name="connsiteX42" fmla="*/ 222008 w 389377"/>
                      <a:gd name="connsiteY42" fmla="*/ 224940 h 244518"/>
                      <a:gd name="connsiteX43" fmla="*/ 255695 w 389377"/>
                      <a:gd name="connsiteY43" fmla="*/ 206804 h 244518"/>
                      <a:gd name="connsiteX44" fmla="*/ 259450 w 389377"/>
                      <a:gd name="connsiteY44" fmla="*/ 198749 h 244518"/>
                      <a:gd name="connsiteX45" fmla="*/ 266867 w 389377"/>
                      <a:gd name="connsiteY45" fmla="*/ 185124 h 244518"/>
                      <a:gd name="connsiteX46" fmla="*/ 284424 w 389377"/>
                      <a:gd name="connsiteY46" fmla="*/ 177648 h 244518"/>
                      <a:gd name="connsiteX47" fmla="*/ 288021 w 389377"/>
                      <a:gd name="connsiteY47" fmla="*/ 178345 h 244518"/>
                      <a:gd name="connsiteX48" fmla="*/ 295311 w 389377"/>
                      <a:gd name="connsiteY48" fmla="*/ 169944 h 244518"/>
                      <a:gd name="connsiteX49" fmla="*/ 330724 w 389377"/>
                      <a:gd name="connsiteY49" fmla="*/ 164352 h 244518"/>
                      <a:gd name="connsiteX50" fmla="*/ 343017 w 389377"/>
                      <a:gd name="connsiteY50" fmla="*/ 167952 h 244518"/>
                      <a:gd name="connsiteX51" fmla="*/ 373133 w 389377"/>
                      <a:gd name="connsiteY51" fmla="*/ 172071 h 244518"/>
                      <a:gd name="connsiteX52" fmla="*/ 366064 w 389377"/>
                      <a:gd name="connsiteY52" fmla="*/ 161818 h 244518"/>
                      <a:gd name="connsiteX53" fmla="*/ 361718 w 389377"/>
                      <a:gd name="connsiteY53" fmla="*/ 47191 h 244518"/>
                      <a:gd name="connsiteX54" fmla="*/ 389378 w 389377"/>
                      <a:gd name="connsiteY54" fmla="*/ 29416 h 24451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  <a:cxn ang="0">
                        <a:pos x="connsiteX25" y="connsiteY25"/>
                      </a:cxn>
                      <a:cxn ang="0">
                        <a:pos x="connsiteX26" y="connsiteY26"/>
                      </a:cxn>
                      <a:cxn ang="0">
                        <a:pos x="connsiteX27" y="connsiteY27"/>
                      </a:cxn>
                      <a:cxn ang="0">
                        <a:pos x="connsiteX28" y="connsiteY28"/>
                      </a:cxn>
                      <a:cxn ang="0">
                        <a:pos x="connsiteX29" y="connsiteY29"/>
                      </a:cxn>
                      <a:cxn ang="0">
                        <a:pos x="connsiteX30" y="connsiteY30"/>
                      </a:cxn>
                      <a:cxn ang="0">
                        <a:pos x="connsiteX31" y="connsiteY31"/>
                      </a:cxn>
                      <a:cxn ang="0">
                        <a:pos x="connsiteX32" y="connsiteY32"/>
                      </a:cxn>
                      <a:cxn ang="0">
                        <a:pos x="connsiteX33" y="connsiteY33"/>
                      </a:cxn>
                      <a:cxn ang="0">
                        <a:pos x="connsiteX34" y="connsiteY34"/>
                      </a:cxn>
                      <a:cxn ang="0">
                        <a:pos x="connsiteX35" y="connsiteY35"/>
                      </a:cxn>
                      <a:cxn ang="0">
                        <a:pos x="connsiteX36" y="connsiteY36"/>
                      </a:cxn>
                      <a:cxn ang="0">
                        <a:pos x="connsiteX37" y="connsiteY37"/>
                      </a:cxn>
                      <a:cxn ang="0">
                        <a:pos x="connsiteX38" y="connsiteY38"/>
                      </a:cxn>
                      <a:cxn ang="0">
                        <a:pos x="connsiteX39" y="connsiteY39"/>
                      </a:cxn>
                      <a:cxn ang="0">
                        <a:pos x="connsiteX40" y="connsiteY40"/>
                      </a:cxn>
                      <a:cxn ang="0">
                        <a:pos x="connsiteX41" y="connsiteY41"/>
                      </a:cxn>
                      <a:cxn ang="0">
                        <a:pos x="connsiteX42" y="connsiteY42"/>
                      </a:cxn>
                      <a:cxn ang="0">
                        <a:pos x="connsiteX43" y="connsiteY43"/>
                      </a:cxn>
                      <a:cxn ang="0">
                        <a:pos x="connsiteX44" y="connsiteY44"/>
                      </a:cxn>
                      <a:cxn ang="0">
                        <a:pos x="connsiteX45" y="connsiteY45"/>
                      </a:cxn>
                      <a:cxn ang="0">
                        <a:pos x="connsiteX46" y="connsiteY46"/>
                      </a:cxn>
                      <a:cxn ang="0">
                        <a:pos x="connsiteX47" y="connsiteY47"/>
                      </a:cxn>
                      <a:cxn ang="0">
                        <a:pos x="connsiteX48" y="connsiteY48"/>
                      </a:cxn>
                      <a:cxn ang="0">
                        <a:pos x="connsiteX49" y="connsiteY49"/>
                      </a:cxn>
                      <a:cxn ang="0">
                        <a:pos x="connsiteX50" y="connsiteY50"/>
                      </a:cxn>
                      <a:cxn ang="0">
                        <a:pos x="connsiteX51" y="connsiteY51"/>
                      </a:cxn>
                      <a:cxn ang="0">
                        <a:pos x="connsiteX52" y="connsiteY52"/>
                      </a:cxn>
                      <a:cxn ang="0">
                        <a:pos x="connsiteX53" y="connsiteY53"/>
                      </a:cxn>
                      <a:cxn ang="0">
                        <a:pos x="connsiteX54" y="connsiteY54"/>
                      </a:cxn>
                    </a:cxnLst>
                    <a:rect l="l" t="t" r="r" b="b"/>
                    <a:pathLst>
                      <a:path w="389377" h="244518">
                        <a:moveTo>
                          <a:pt x="389378" y="29416"/>
                        </a:moveTo>
                        <a:lnTo>
                          <a:pt x="388637" y="30021"/>
                        </a:lnTo>
                        <a:lnTo>
                          <a:pt x="376318" y="14960"/>
                        </a:lnTo>
                        <a:cubicBezTo>
                          <a:pt x="362394" y="4711"/>
                          <a:pt x="341921" y="4017"/>
                          <a:pt x="327384" y="13382"/>
                        </a:cubicBezTo>
                        <a:cubicBezTo>
                          <a:pt x="326315" y="14073"/>
                          <a:pt x="325265" y="14815"/>
                          <a:pt x="324215" y="15557"/>
                        </a:cubicBezTo>
                        <a:cubicBezTo>
                          <a:pt x="321096" y="17752"/>
                          <a:pt x="317888" y="20019"/>
                          <a:pt x="313917" y="21417"/>
                        </a:cubicBezTo>
                        <a:cubicBezTo>
                          <a:pt x="299164" y="26603"/>
                          <a:pt x="285106" y="16823"/>
                          <a:pt x="273825" y="8933"/>
                        </a:cubicBezTo>
                        <a:lnTo>
                          <a:pt x="272185" y="7788"/>
                        </a:lnTo>
                        <a:cubicBezTo>
                          <a:pt x="262848" y="1269"/>
                          <a:pt x="250375" y="-2846"/>
                          <a:pt x="243607" y="2365"/>
                        </a:cubicBezTo>
                        <a:cubicBezTo>
                          <a:pt x="244241" y="27410"/>
                          <a:pt x="224177" y="47212"/>
                          <a:pt x="204637" y="55229"/>
                        </a:cubicBezTo>
                        <a:cubicBezTo>
                          <a:pt x="191399" y="60666"/>
                          <a:pt x="177251" y="62386"/>
                          <a:pt x="163456" y="62488"/>
                        </a:cubicBezTo>
                        <a:cubicBezTo>
                          <a:pt x="154468" y="62555"/>
                          <a:pt x="145630" y="61939"/>
                          <a:pt x="137298" y="61225"/>
                        </a:cubicBezTo>
                        <a:cubicBezTo>
                          <a:pt x="98539" y="57905"/>
                          <a:pt x="59674" y="51703"/>
                          <a:pt x="21774" y="42800"/>
                        </a:cubicBezTo>
                        <a:lnTo>
                          <a:pt x="16489" y="41558"/>
                        </a:lnTo>
                        <a:lnTo>
                          <a:pt x="17867" y="36304"/>
                        </a:lnTo>
                        <a:cubicBezTo>
                          <a:pt x="19232" y="31079"/>
                          <a:pt x="19418" y="25646"/>
                          <a:pt x="18793" y="20271"/>
                        </a:cubicBezTo>
                        <a:cubicBezTo>
                          <a:pt x="16342" y="24564"/>
                          <a:pt x="13023" y="28114"/>
                          <a:pt x="9784" y="31572"/>
                        </a:cubicBezTo>
                        <a:cubicBezTo>
                          <a:pt x="8472" y="32980"/>
                          <a:pt x="7146" y="34386"/>
                          <a:pt x="5916" y="35832"/>
                        </a:cubicBezTo>
                        <a:cubicBezTo>
                          <a:pt x="4060" y="38018"/>
                          <a:pt x="-1818" y="45623"/>
                          <a:pt x="748" y="51602"/>
                        </a:cubicBezTo>
                        <a:cubicBezTo>
                          <a:pt x="1980" y="54468"/>
                          <a:pt x="4934" y="56597"/>
                          <a:pt x="8366" y="59055"/>
                        </a:cubicBezTo>
                        <a:cubicBezTo>
                          <a:pt x="10808" y="60806"/>
                          <a:pt x="13327" y="62616"/>
                          <a:pt x="15567" y="64959"/>
                        </a:cubicBezTo>
                        <a:cubicBezTo>
                          <a:pt x="28568" y="78566"/>
                          <a:pt x="23487" y="99041"/>
                          <a:pt x="17610" y="115365"/>
                        </a:cubicBezTo>
                        <a:lnTo>
                          <a:pt x="0" y="164296"/>
                        </a:lnTo>
                        <a:cubicBezTo>
                          <a:pt x="6530" y="166798"/>
                          <a:pt x="11701" y="171159"/>
                          <a:pt x="16019" y="176404"/>
                        </a:cubicBezTo>
                        <a:cubicBezTo>
                          <a:pt x="16618" y="176851"/>
                          <a:pt x="17252" y="177184"/>
                          <a:pt x="17819" y="177733"/>
                        </a:cubicBezTo>
                        <a:lnTo>
                          <a:pt x="17433" y="178131"/>
                        </a:lnTo>
                        <a:cubicBezTo>
                          <a:pt x="26136" y="189689"/>
                          <a:pt x="30709" y="205312"/>
                          <a:pt x="33555" y="218242"/>
                        </a:cubicBezTo>
                        <a:cubicBezTo>
                          <a:pt x="35229" y="225870"/>
                          <a:pt x="36623" y="233367"/>
                          <a:pt x="36688" y="240627"/>
                        </a:cubicBezTo>
                        <a:lnTo>
                          <a:pt x="39336" y="240644"/>
                        </a:lnTo>
                        <a:cubicBezTo>
                          <a:pt x="39331" y="241170"/>
                          <a:pt x="39417" y="241790"/>
                          <a:pt x="40436" y="242507"/>
                        </a:cubicBezTo>
                        <a:cubicBezTo>
                          <a:pt x="42798" y="244165"/>
                          <a:pt x="47506" y="244503"/>
                          <a:pt x="50940" y="243267"/>
                        </a:cubicBezTo>
                        <a:cubicBezTo>
                          <a:pt x="52704" y="242632"/>
                          <a:pt x="54468" y="241844"/>
                          <a:pt x="56229" y="241054"/>
                        </a:cubicBezTo>
                        <a:cubicBezTo>
                          <a:pt x="62310" y="238320"/>
                          <a:pt x="69198" y="235280"/>
                          <a:pt x="76753" y="237375"/>
                        </a:cubicBezTo>
                        <a:cubicBezTo>
                          <a:pt x="79718" y="238211"/>
                          <a:pt x="82169" y="239724"/>
                          <a:pt x="84332" y="241061"/>
                        </a:cubicBezTo>
                        <a:cubicBezTo>
                          <a:pt x="85466" y="241757"/>
                          <a:pt x="86575" y="242462"/>
                          <a:pt x="87771" y="243020"/>
                        </a:cubicBezTo>
                        <a:cubicBezTo>
                          <a:pt x="96510" y="247111"/>
                          <a:pt x="107176" y="242090"/>
                          <a:pt x="118464" y="236793"/>
                        </a:cubicBezTo>
                        <a:cubicBezTo>
                          <a:pt x="131707" y="230571"/>
                          <a:pt x="146704" y="223527"/>
                          <a:pt x="159673" y="233174"/>
                        </a:cubicBezTo>
                        <a:cubicBezTo>
                          <a:pt x="161130" y="234249"/>
                          <a:pt x="162462" y="235534"/>
                          <a:pt x="163786" y="236814"/>
                        </a:cubicBezTo>
                        <a:cubicBezTo>
                          <a:pt x="165380" y="238374"/>
                          <a:pt x="166766" y="239721"/>
                          <a:pt x="168229" y="240403"/>
                        </a:cubicBezTo>
                        <a:cubicBezTo>
                          <a:pt x="172225" y="242233"/>
                          <a:pt x="176796" y="239605"/>
                          <a:pt x="183806" y="235030"/>
                        </a:cubicBezTo>
                        <a:cubicBezTo>
                          <a:pt x="186760" y="233107"/>
                          <a:pt x="189734" y="231181"/>
                          <a:pt x="192711" y="229772"/>
                        </a:cubicBezTo>
                        <a:cubicBezTo>
                          <a:pt x="200010" y="226324"/>
                          <a:pt x="207755" y="225874"/>
                          <a:pt x="215237" y="225424"/>
                        </a:cubicBezTo>
                        <a:cubicBezTo>
                          <a:pt x="217503" y="225294"/>
                          <a:pt x="219766" y="225164"/>
                          <a:pt x="222008" y="224940"/>
                        </a:cubicBezTo>
                        <a:cubicBezTo>
                          <a:pt x="229357" y="224201"/>
                          <a:pt x="247338" y="220963"/>
                          <a:pt x="255695" y="206804"/>
                        </a:cubicBezTo>
                        <a:cubicBezTo>
                          <a:pt x="257195" y="204258"/>
                          <a:pt x="258314" y="201499"/>
                          <a:pt x="259450" y="198749"/>
                        </a:cubicBezTo>
                        <a:cubicBezTo>
                          <a:pt x="261370" y="194114"/>
                          <a:pt x="263341" y="189318"/>
                          <a:pt x="266867" y="185124"/>
                        </a:cubicBezTo>
                        <a:cubicBezTo>
                          <a:pt x="271061" y="180147"/>
                          <a:pt x="278196" y="177198"/>
                          <a:pt x="284424" y="177648"/>
                        </a:cubicBezTo>
                        <a:cubicBezTo>
                          <a:pt x="285688" y="177753"/>
                          <a:pt x="286890" y="177982"/>
                          <a:pt x="288021" y="178345"/>
                        </a:cubicBezTo>
                        <a:cubicBezTo>
                          <a:pt x="289640" y="175127"/>
                          <a:pt x="292091" y="172285"/>
                          <a:pt x="295311" y="169944"/>
                        </a:cubicBezTo>
                        <a:cubicBezTo>
                          <a:pt x="304065" y="163569"/>
                          <a:pt x="318300" y="161342"/>
                          <a:pt x="330724" y="164352"/>
                        </a:cubicBezTo>
                        <a:cubicBezTo>
                          <a:pt x="334807" y="165354"/>
                          <a:pt x="338912" y="166648"/>
                          <a:pt x="343017" y="167952"/>
                        </a:cubicBezTo>
                        <a:cubicBezTo>
                          <a:pt x="353693" y="171350"/>
                          <a:pt x="363815" y="174468"/>
                          <a:pt x="373133" y="172071"/>
                        </a:cubicBezTo>
                        <a:cubicBezTo>
                          <a:pt x="370683" y="168731"/>
                          <a:pt x="368270" y="165359"/>
                          <a:pt x="366064" y="161818"/>
                        </a:cubicBezTo>
                        <a:cubicBezTo>
                          <a:pt x="344634" y="127416"/>
                          <a:pt x="338348" y="80307"/>
                          <a:pt x="361718" y="47191"/>
                        </a:cubicBezTo>
                        <a:cubicBezTo>
                          <a:pt x="376135" y="49688"/>
                          <a:pt x="384508" y="41595"/>
                          <a:pt x="389378" y="29416"/>
                        </a:cubicBezTo>
                        <a:close/>
                      </a:path>
                    </a:pathLst>
                  </a:custGeom>
                  <a:grpFill/>
                  <a:ln w="1649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s-ES_tradnl" sz="2400"/>
                  </a:p>
                </p:txBody>
              </p:sp>
              <p:sp>
                <p:nvSpPr>
                  <p:cNvPr id="222" name="Forma libre 221">
                    <a:extLst>
                      <a:ext uri="{FF2B5EF4-FFF2-40B4-BE49-F238E27FC236}">
                        <a16:creationId xmlns:a16="http://schemas.microsoft.com/office/drawing/2014/main" id="{61AB819E-0E96-0048-9DC1-D8295D724153}"/>
                      </a:ext>
                    </a:extLst>
                  </p:cNvPr>
                  <p:cNvSpPr/>
                  <p:nvPr/>
                </p:nvSpPr>
                <p:spPr>
                  <a:xfrm>
                    <a:off x="6115266" y="3077011"/>
                    <a:ext cx="570678" cy="421984"/>
                  </a:xfrm>
                  <a:custGeom>
                    <a:avLst/>
                    <a:gdLst>
                      <a:gd name="connsiteX0" fmla="*/ 131746 w 570678"/>
                      <a:gd name="connsiteY0" fmla="*/ 40638 h 421984"/>
                      <a:gd name="connsiteX1" fmla="*/ 120910 w 570678"/>
                      <a:gd name="connsiteY1" fmla="*/ 71368 h 421984"/>
                      <a:gd name="connsiteX2" fmla="*/ 104177 w 570678"/>
                      <a:gd name="connsiteY2" fmla="*/ 79859 h 421984"/>
                      <a:gd name="connsiteX3" fmla="*/ 84686 w 570678"/>
                      <a:gd name="connsiteY3" fmla="*/ 91724 h 421984"/>
                      <a:gd name="connsiteX4" fmla="*/ 76858 w 570678"/>
                      <a:gd name="connsiteY4" fmla="*/ 116708 h 421984"/>
                      <a:gd name="connsiteX5" fmla="*/ 75755 w 570678"/>
                      <a:gd name="connsiteY5" fmla="*/ 124143 h 421984"/>
                      <a:gd name="connsiteX6" fmla="*/ 20090 w 570678"/>
                      <a:gd name="connsiteY6" fmla="*/ 201587 h 421984"/>
                      <a:gd name="connsiteX7" fmla="*/ 16946 w 570678"/>
                      <a:gd name="connsiteY7" fmla="*/ 203223 h 421984"/>
                      <a:gd name="connsiteX8" fmla="*/ 5512 w 570678"/>
                      <a:gd name="connsiteY8" fmla="*/ 210672 h 421984"/>
                      <a:gd name="connsiteX9" fmla="*/ 15177 w 570678"/>
                      <a:gd name="connsiteY9" fmla="*/ 262493 h 421984"/>
                      <a:gd name="connsiteX10" fmla="*/ 60737 w 570678"/>
                      <a:gd name="connsiteY10" fmla="*/ 328470 h 421984"/>
                      <a:gd name="connsiteX11" fmla="*/ 96193 w 570678"/>
                      <a:gd name="connsiteY11" fmla="*/ 335290 h 421984"/>
                      <a:gd name="connsiteX12" fmla="*/ 112368 w 570678"/>
                      <a:gd name="connsiteY12" fmla="*/ 339265 h 421984"/>
                      <a:gd name="connsiteX13" fmla="*/ 150509 w 570678"/>
                      <a:gd name="connsiteY13" fmla="*/ 403717 h 421984"/>
                      <a:gd name="connsiteX14" fmla="*/ 259507 w 570678"/>
                      <a:gd name="connsiteY14" fmla="*/ 420742 h 421984"/>
                      <a:gd name="connsiteX15" fmla="*/ 321911 w 570678"/>
                      <a:gd name="connsiteY15" fmla="*/ 415506 h 421984"/>
                      <a:gd name="connsiteX16" fmla="*/ 354208 w 570678"/>
                      <a:gd name="connsiteY16" fmla="*/ 370727 h 421984"/>
                      <a:gd name="connsiteX17" fmla="*/ 354024 w 570678"/>
                      <a:gd name="connsiteY17" fmla="*/ 368484 h 421984"/>
                      <a:gd name="connsiteX18" fmla="*/ 355512 w 570678"/>
                      <a:gd name="connsiteY18" fmla="*/ 366807 h 421984"/>
                      <a:gd name="connsiteX19" fmla="*/ 399539 w 570678"/>
                      <a:gd name="connsiteY19" fmla="*/ 369166 h 421984"/>
                      <a:gd name="connsiteX20" fmla="*/ 401204 w 570678"/>
                      <a:gd name="connsiteY20" fmla="*/ 370333 h 421984"/>
                      <a:gd name="connsiteX21" fmla="*/ 431684 w 570678"/>
                      <a:gd name="connsiteY21" fmla="*/ 381503 h 421984"/>
                      <a:gd name="connsiteX22" fmla="*/ 439399 w 570678"/>
                      <a:gd name="connsiteY22" fmla="*/ 376977 h 421984"/>
                      <a:gd name="connsiteX23" fmla="*/ 442937 w 570678"/>
                      <a:gd name="connsiteY23" fmla="*/ 374549 h 421984"/>
                      <a:gd name="connsiteX24" fmla="*/ 504517 w 570678"/>
                      <a:gd name="connsiteY24" fmla="*/ 376964 h 421984"/>
                      <a:gd name="connsiteX25" fmla="*/ 505412 w 570678"/>
                      <a:gd name="connsiteY25" fmla="*/ 377825 h 421984"/>
                      <a:gd name="connsiteX26" fmla="*/ 514010 w 570678"/>
                      <a:gd name="connsiteY26" fmla="*/ 388342 h 421984"/>
                      <a:gd name="connsiteX27" fmla="*/ 516934 w 570678"/>
                      <a:gd name="connsiteY27" fmla="*/ 364986 h 421984"/>
                      <a:gd name="connsiteX28" fmla="*/ 521735 w 570678"/>
                      <a:gd name="connsiteY28" fmla="*/ 275355 h 421984"/>
                      <a:gd name="connsiteX29" fmla="*/ 531763 w 570678"/>
                      <a:gd name="connsiteY29" fmla="*/ 308826 h 421984"/>
                      <a:gd name="connsiteX30" fmla="*/ 570669 w 570678"/>
                      <a:gd name="connsiteY30" fmla="*/ 261855 h 421984"/>
                      <a:gd name="connsiteX31" fmla="*/ 567614 w 570678"/>
                      <a:gd name="connsiteY31" fmla="*/ 239807 h 421984"/>
                      <a:gd name="connsiteX32" fmla="*/ 565150 w 570678"/>
                      <a:gd name="connsiteY32" fmla="*/ 244969 h 421984"/>
                      <a:gd name="connsiteX33" fmla="*/ 537922 w 570678"/>
                      <a:gd name="connsiteY33" fmla="*/ 231973 h 421984"/>
                      <a:gd name="connsiteX34" fmla="*/ 528960 w 570678"/>
                      <a:gd name="connsiteY34" fmla="*/ 228711 h 421984"/>
                      <a:gd name="connsiteX35" fmla="*/ 508353 w 570678"/>
                      <a:gd name="connsiteY35" fmla="*/ 236662 h 421984"/>
                      <a:gd name="connsiteX36" fmla="*/ 504608 w 570678"/>
                      <a:gd name="connsiteY36" fmla="*/ 239047 h 421984"/>
                      <a:gd name="connsiteX37" fmla="*/ 484283 w 570678"/>
                      <a:gd name="connsiteY37" fmla="*/ 245623 h 421984"/>
                      <a:gd name="connsiteX38" fmla="*/ 469804 w 570678"/>
                      <a:gd name="connsiteY38" fmla="*/ 240094 h 421984"/>
                      <a:gd name="connsiteX39" fmla="*/ 468365 w 570678"/>
                      <a:gd name="connsiteY39" fmla="*/ 238688 h 421984"/>
                      <a:gd name="connsiteX40" fmla="*/ 468226 w 570678"/>
                      <a:gd name="connsiteY40" fmla="*/ 236670 h 421984"/>
                      <a:gd name="connsiteX41" fmla="*/ 455624 w 570678"/>
                      <a:gd name="connsiteY41" fmla="*/ 124469 h 421984"/>
                      <a:gd name="connsiteX42" fmla="*/ 437929 w 570678"/>
                      <a:gd name="connsiteY42" fmla="*/ 87378 h 421984"/>
                      <a:gd name="connsiteX43" fmla="*/ 435542 w 570678"/>
                      <a:gd name="connsiteY43" fmla="*/ 86155 h 421984"/>
                      <a:gd name="connsiteX44" fmla="*/ 426629 w 570678"/>
                      <a:gd name="connsiteY44" fmla="*/ 79633 h 421984"/>
                      <a:gd name="connsiteX45" fmla="*/ 423052 w 570678"/>
                      <a:gd name="connsiteY45" fmla="*/ 70156 h 421984"/>
                      <a:gd name="connsiteX46" fmla="*/ 421743 w 570678"/>
                      <a:gd name="connsiteY46" fmla="*/ 65491 h 421984"/>
                      <a:gd name="connsiteX47" fmla="*/ 410591 w 570678"/>
                      <a:gd name="connsiteY47" fmla="*/ 58209 h 421984"/>
                      <a:gd name="connsiteX48" fmla="*/ 405506 w 570678"/>
                      <a:gd name="connsiteY48" fmla="*/ 56034 h 421984"/>
                      <a:gd name="connsiteX49" fmla="*/ 376200 w 570678"/>
                      <a:gd name="connsiteY49" fmla="*/ 27593 h 421984"/>
                      <a:gd name="connsiteX50" fmla="*/ 368907 w 570678"/>
                      <a:gd name="connsiteY50" fmla="*/ 17968 h 421984"/>
                      <a:gd name="connsiteX51" fmla="*/ 341684 w 570678"/>
                      <a:gd name="connsiteY51" fmla="*/ 0 h 421984"/>
                      <a:gd name="connsiteX52" fmla="*/ 336312 w 570678"/>
                      <a:gd name="connsiteY52" fmla="*/ 7776 h 421984"/>
                      <a:gd name="connsiteX53" fmla="*/ 329251 w 570678"/>
                      <a:gd name="connsiteY53" fmla="*/ 2913 h 421984"/>
                      <a:gd name="connsiteX54" fmla="*/ 328651 w 570678"/>
                      <a:gd name="connsiteY54" fmla="*/ 5290 h 421984"/>
                      <a:gd name="connsiteX55" fmla="*/ 326580 w 570678"/>
                      <a:gd name="connsiteY55" fmla="*/ 11997 h 421984"/>
                      <a:gd name="connsiteX56" fmla="*/ 302432 w 570678"/>
                      <a:gd name="connsiteY56" fmla="*/ 27383 h 421984"/>
                      <a:gd name="connsiteX57" fmla="*/ 172557 w 570678"/>
                      <a:gd name="connsiteY57" fmla="*/ 42846 h 421984"/>
                      <a:gd name="connsiteX58" fmla="*/ 131689 w 570678"/>
                      <a:gd name="connsiteY58" fmla="*/ 40502 h 421984"/>
                      <a:gd name="connsiteX59" fmla="*/ 131746 w 570678"/>
                      <a:gd name="connsiteY59" fmla="*/ 40638 h 42198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  <a:cxn ang="0">
                        <a:pos x="connsiteX25" y="connsiteY25"/>
                      </a:cxn>
                      <a:cxn ang="0">
                        <a:pos x="connsiteX26" y="connsiteY26"/>
                      </a:cxn>
                      <a:cxn ang="0">
                        <a:pos x="connsiteX27" y="connsiteY27"/>
                      </a:cxn>
                      <a:cxn ang="0">
                        <a:pos x="connsiteX28" y="connsiteY28"/>
                      </a:cxn>
                      <a:cxn ang="0">
                        <a:pos x="connsiteX29" y="connsiteY29"/>
                      </a:cxn>
                      <a:cxn ang="0">
                        <a:pos x="connsiteX30" y="connsiteY30"/>
                      </a:cxn>
                      <a:cxn ang="0">
                        <a:pos x="connsiteX31" y="connsiteY31"/>
                      </a:cxn>
                      <a:cxn ang="0">
                        <a:pos x="connsiteX32" y="connsiteY32"/>
                      </a:cxn>
                      <a:cxn ang="0">
                        <a:pos x="connsiteX33" y="connsiteY33"/>
                      </a:cxn>
                      <a:cxn ang="0">
                        <a:pos x="connsiteX34" y="connsiteY34"/>
                      </a:cxn>
                      <a:cxn ang="0">
                        <a:pos x="connsiteX35" y="connsiteY35"/>
                      </a:cxn>
                      <a:cxn ang="0">
                        <a:pos x="connsiteX36" y="connsiteY36"/>
                      </a:cxn>
                      <a:cxn ang="0">
                        <a:pos x="connsiteX37" y="connsiteY37"/>
                      </a:cxn>
                      <a:cxn ang="0">
                        <a:pos x="connsiteX38" y="connsiteY38"/>
                      </a:cxn>
                      <a:cxn ang="0">
                        <a:pos x="connsiteX39" y="connsiteY39"/>
                      </a:cxn>
                      <a:cxn ang="0">
                        <a:pos x="connsiteX40" y="connsiteY40"/>
                      </a:cxn>
                      <a:cxn ang="0">
                        <a:pos x="connsiteX41" y="connsiteY41"/>
                      </a:cxn>
                      <a:cxn ang="0">
                        <a:pos x="connsiteX42" y="connsiteY42"/>
                      </a:cxn>
                      <a:cxn ang="0">
                        <a:pos x="connsiteX43" y="connsiteY43"/>
                      </a:cxn>
                      <a:cxn ang="0">
                        <a:pos x="connsiteX44" y="connsiteY44"/>
                      </a:cxn>
                      <a:cxn ang="0">
                        <a:pos x="connsiteX45" y="connsiteY45"/>
                      </a:cxn>
                      <a:cxn ang="0">
                        <a:pos x="connsiteX46" y="connsiteY46"/>
                      </a:cxn>
                      <a:cxn ang="0">
                        <a:pos x="connsiteX47" y="connsiteY47"/>
                      </a:cxn>
                      <a:cxn ang="0">
                        <a:pos x="connsiteX48" y="connsiteY48"/>
                      </a:cxn>
                      <a:cxn ang="0">
                        <a:pos x="connsiteX49" y="connsiteY49"/>
                      </a:cxn>
                      <a:cxn ang="0">
                        <a:pos x="connsiteX50" y="connsiteY50"/>
                      </a:cxn>
                      <a:cxn ang="0">
                        <a:pos x="connsiteX51" y="connsiteY51"/>
                      </a:cxn>
                      <a:cxn ang="0">
                        <a:pos x="connsiteX52" y="connsiteY52"/>
                      </a:cxn>
                      <a:cxn ang="0">
                        <a:pos x="connsiteX53" y="connsiteY53"/>
                      </a:cxn>
                      <a:cxn ang="0">
                        <a:pos x="connsiteX54" y="connsiteY54"/>
                      </a:cxn>
                      <a:cxn ang="0">
                        <a:pos x="connsiteX55" y="connsiteY55"/>
                      </a:cxn>
                      <a:cxn ang="0">
                        <a:pos x="connsiteX56" y="connsiteY56"/>
                      </a:cxn>
                      <a:cxn ang="0">
                        <a:pos x="connsiteX57" y="connsiteY57"/>
                      </a:cxn>
                      <a:cxn ang="0">
                        <a:pos x="connsiteX58" y="connsiteY58"/>
                      </a:cxn>
                      <a:cxn ang="0">
                        <a:pos x="connsiteX59" y="connsiteY59"/>
                      </a:cxn>
                    </a:cxnLst>
                    <a:rect l="l" t="t" r="r" b="b"/>
                    <a:pathLst>
                      <a:path w="570678" h="421984">
                        <a:moveTo>
                          <a:pt x="131746" y="40638"/>
                        </a:moveTo>
                        <a:cubicBezTo>
                          <a:pt x="134762" y="51240"/>
                          <a:pt x="129901" y="65021"/>
                          <a:pt x="120910" y="71368"/>
                        </a:cubicBezTo>
                        <a:cubicBezTo>
                          <a:pt x="115672" y="75047"/>
                          <a:pt x="109825" y="77502"/>
                          <a:pt x="104177" y="79859"/>
                        </a:cubicBezTo>
                        <a:cubicBezTo>
                          <a:pt x="96526" y="83061"/>
                          <a:pt x="89308" y="86083"/>
                          <a:pt x="84686" y="91724"/>
                        </a:cubicBezTo>
                        <a:cubicBezTo>
                          <a:pt x="79399" y="98175"/>
                          <a:pt x="78162" y="107184"/>
                          <a:pt x="76858" y="116708"/>
                        </a:cubicBezTo>
                        <a:cubicBezTo>
                          <a:pt x="76515" y="119215"/>
                          <a:pt x="76171" y="121698"/>
                          <a:pt x="75755" y="124143"/>
                        </a:cubicBezTo>
                        <a:cubicBezTo>
                          <a:pt x="70277" y="156445"/>
                          <a:pt x="48945" y="186114"/>
                          <a:pt x="20090" y="201587"/>
                        </a:cubicBezTo>
                        <a:lnTo>
                          <a:pt x="16946" y="203223"/>
                        </a:lnTo>
                        <a:cubicBezTo>
                          <a:pt x="12589" y="205479"/>
                          <a:pt x="8479" y="207600"/>
                          <a:pt x="5512" y="210672"/>
                        </a:cubicBezTo>
                        <a:cubicBezTo>
                          <a:pt x="-7737" y="224393"/>
                          <a:pt x="5883" y="249034"/>
                          <a:pt x="15177" y="262493"/>
                        </a:cubicBezTo>
                        <a:lnTo>
                          <a:pt x="60737" y="328470"/>
                        </a:lnTo>
                        <a:lnTo>
                          <a:pt x="96193" y="335290"/>
                        </a:lnTo>
                        <a:cubicBezTo>
                          <a:pt x="101484" y="336306"/>
                          <a:pt x="106964" y="337351"/>
                          <a:pt x="112368" y="339265"/>
                        </a:cubicBezTo>
                        <a:cubicBezTo>
                          <a:pt x="138077" y="348340"/>
                          <a:pt x="154591" y="376990"/>
                          <a:pt x="150509" y="403717"/>
                        </a:cubicBezTo>
                        <a:cubicBezTo>
                          <a:pt x="186318" y="411887"/>
                          <a:pt x="222965" y="417612"/>
                          <a:pt x="259507" y="420742"/>
                        </a:cubicBezTo>
                        <a:cubicBezTo>
                          <a:pt x="279349" y="422476"/>
                          <a:pt x="302236" y="423607"/>
                          <a:pt x="321911" y="415506"/>
                        </a:cubicBezTo>
                        <a:cubicBezTo>
                          <a:pt x="339192" y="408404"/>
                          <a:pt x="355836" y="390748"/>
                          <a:pt x="354208" y="370727"/>
                        </a:cubicBezTo>
                        <a:lnTo>
                          <a:pt x="354024" y="368484"/>
                        </a:lnTo>
                        <a:lnTo>
                          <a:pt x="355512" y="366807"/>
                        </a:lnTo>
                        <a:cubicBezTo>
                          <a:pt x="366157" y="354677"/>
                          <a:pt x="385285" y="359240"/>
                          <a:pt x="399539" y="369166"/>
                        </a:cubicBezTo>
                        <a:lnTo>
                          <a:pt x="401204" y="370333"/>
                        </a:lnTo>
                        <a:cubicBezTo>
                          <a:pt x="411456" y="377496"/>
                          <a:pt x="422030" y="384946"/>
                          <a:pt x="431684" y="381503"/>
                        </a:cubicBezTo>
                        <a:cubicBezTo>
                          <a:pt x="434284" y="380583"/>
                          <a:pt x="436763" y="378839"/>
                          <a:pt x="439399" y="376977"/>
                        </a:cubicBezTo>
                        <a:cubicBezTo>
                          <a:pt x="440571" y="376150"/>
                          <a:pt x="441745" y="375325"/>
                          <a:pt x="442937" y="374549"/>
                        </a:cubicBezTo>
                        <a:cubicBezTo>
                          <a:pt x="461291" y="362745"/>
                          <a:pt x="487176" y="363772"/>
                          <a:pt x="504517" y="376964"/>
                        </a:cubicBezTo>
                        <a:lnTo>
                          <a:pt x="505412" y="377825"/>
                        </a:lnTo>
                        <a:lnTo>
                          <a:pt x="514010" y="388342"/>
                        </a:lnTo>
                        <a:cubicBezTo>
                          <a:pt x="515654" y="380878"/>
                          <a:pt x="516517" y="372779"/>
                          <a:pt x="516934" y="364986"/>
                        </a:cubicBezTo>
                        <a:cubicBezTo>
                          <a:pt x="518535" y="335110"/>
                          <a:pt x="520134" y="305232"/>
                          <a:pt x="521735" y="275355"/>
                        </a:cubicBezTo>
                        <a:cubicBezTo>
                          <a:pt x="533506" y="281081"/>
                          <a:pt x="538445" y="297573"/>
                          <a:pt x="531763" y="308826"/>
                        </a:cubicBezTo>
                        <a:cubicBezTo>
                          <a:pt x="554216" y="308204"/>
                          <a:pt x="570288" y="284312"/>
                          <a:pt x="570669" y="261855"/>
                        </a:cubicBezTo>
                        <a:cubicBezTo>
                          <a:pt x="570796" y="254335"/>
                          <a:pt x="569584" y="246998"/>
                          <a:pt x="567614" y="239807"/>
                        </a:cubicBezTo>
                        <a:lnTo>
                          <a:pt x="565150" y="244969"/>
                        </a:lnTo>
                        <a:lnTo>
                          <a:pt x="537922" y="231973"/>
                        </a:lnTo>
                        <a:cubicBezTo>
                          <a:pt x="534965" y="230567"/>
                          <a:pt x="531903" y="229103"/>
                          <a:pt x="528960" y="228711"/>
                        </a:cubicBezTo>
                        <a:cubicBezTo>
                          <a:pt x="522127" y="227758"/>
                          <a:pt x="515467" y="232090"/>
                          <a:pt x="508353" y="236662"/>
                        </a:cubicBezTo>
                        <a:lnTo>
                          <a:pt x="504608" y="239047"/>
                        </a:lnTo>
                        <a:cubicBezTo>
                          <a:pt x="498576" y="242766"/>
                          <a:pt x="491231" y="245571"/>
                          <a:pt x="484283" y="245623"/>
                        </a:cubicBezTo>
                        <a:cubicBezTo>
                          <a:pt x="478966" y="245663"/>
                          <a:pt x="473897" y="244097"/>
                          <a:pt x="469804" y="240094"/>
                        </a:cubicBezTo>
                        <a:lnTo>
                          <a:pt x="468365" y="238688"/>
                        </a:lnTo>
                        <a:lnTo>
                          <a:pt x="468226" y="236670"/>
                        </a:lnTo>
                        <a:cubicBezTo>
                          <a:pt x="465671" y="199371"/>
                          <a:pt x="461437" y="161621"/>
                          <a:pt x="455624" y="124469"/>
                        </a:cubicBezTo>
                        <a:cubicBezTo>
                          <a:pt x="453191" y="108983"/>
                          <a:pt x="449375" y="93767"/>
                          <a:pt x="437929" y="87378"/>
                        </a:cubicBezTo>
                        <a:cubicBezTo>
                          <a:pt x="437151" y="86950"/>
                          <a:pt x="436351" y="86553"/>
                          <a:pt x="435542" y="86155"/>
                        </a:cubicBezTo>
                        <a:cubicBezTo>
                          <a:pt x="432531" y="84668"/>
                          <a:pt x="429116" y="82987"/>
                          <a:pt x="426629" y="79633"/>
                        </a:cubicBezTo>
                        <a:cubicBezTo>
                          <a:pt x="424341" y="76559"/>
                          <a:pt x="423654" y="73150"/>
                          <a:pt x="423052" y="70156"/>
                        </a:cubicBezTo>
                        <a:cubicBezTo>
                          <a:pt x="422698" y="68390"/>
                          <a:pt x="422353" y="66717"/>
                          <a:pt x="421743" y="65491"/>
                        </a:cubicBezTo>
                        <a:cubicBezTo>
                          <a:pt x="420044" y="62027"/>
                          <a:pt x="415447" y="60169"/>
                          <a:pt x="410591" y="58209"/>
                        </a:cubicBezTo>
                        <a:cubicBezTo>
                          <a:pt x="408858" y="57510"/>
                          <a:pt x="407135" y="56808"/>
                          <a:pt x="405506" y="56034"/>
                        </a:cubicBezTo>
                        <a:cubicBezTo>
                          <a:pt x="392595" y="49948"/>
                          <a:pt x="384265" y="38580"/>
                          <a:pt x="376200" y="27593"/>
                        </a:cubicBezTo>
                        <a:cubicBezTo>
                          <a:pt x="373806" y="24324"/>
                          <a:pt x="371413" y="21062"/>
                          <a:pt x="368907" y="17968"/>
                        </a:cubicBezTo>
                        <a:cubicBezTo>
                          <a:pt x="362151" y="9621"/>
                          <a:pt x="351935" y="1329"/>
                          <a:pt x="341684" y="0"/>
                        </a:cubicBezTo>
                        <a:lnTo>
                          <a:pt x="336312" y="7776"/>
                        </a:lnTo>
                        <a:lnTo>
                          <a:pt x="329251" y="2913"/>
                        </a:lnTo>
                        <a:cubicBezTo>
                          <a:pt x="329045" y="3666"/>
                          <a:pt x="328849" y="4433"/>
                          <a:pt x="328651" y="5290"/>
                        </a:cubicBezTo>
                        <a:cubicBezTo>
                          <a:pt x="328179" y="7362"/>
                          <a:pt x="327639" y="9703"/>
                          <a:pt x="326580" y="11997"/>
                        </a:cubicBezTo>
                        <a:cubicBezTo>
                          <a:pt x="322223" y="21461"/>
                          <a:pt x="311928" y="25086"/>
                          <a:pt x="302432" y="27383"/>
                        </a:cubicBezTo>
                        <a:cubicBezTo>
                          <a:pt x="259967" y="37671"/>
                          <a:pt x="216587" y="42899"/>
                          <a:pt x="172557" y="42846"/>
                        </a:cubicBezTo>
                        <a:cubicBezTo>
                          <a:pt x="160612" y="42838"/>
                          <a:pt x="146472" y="42429"/>
                          <a:pt x="131689" y="40502"/>
                        </a:cubicBezTo>
                        <a:cubicBezTo>
                          <a:pt x="131701" y="40553"/>
                          <a:pt x="131731" y="40587"/>
                          <a:pt x="131746" y="40638"/>
                        </a:cubicBezTo>
                        <a:close/>
                      </a:path>
                    </a:pathLst>
                  </a:custGeom>
                  <a:grpFill/>
                  <a:ln w="1649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s-ES_tradnl" sz="2400"/>
                  </a:p>
                </p:txBody>
              </p:sp>
              <p:sp>
                <p:nvSpPr>
                  <p:cNvPr id="223" name="Forma libre 222">
                    <a:extLst>
                      <a:ext uri="{FF2B5EF4-FFF2-40B4-BE49-F238E27FC236}">
                        <a16:creationId xmlns:a16="http://schemas.microsoft.com/office/drawing/2014/main" id="{2915DB6F-3F67-8C44-9850-9FC47F3D69BC}"/>
                      </a:ext>
                    </a:extLst>
                  </p:cNvPr>
                  <p:cNvSpPr/>
                  <p:nvPr/>
                </p:nvSpPr>
                <p:spPr>
                  <a:xfrm>
                    <a:off x="6038642" y="3607639"/>
                    <a:ext cx="104552" cy="241271"/>
                  </a:xfrm>
                  <a:custGeom>
                    <a:avLst/>
                    <a:gdLst>
                      <a:gd name="connsiteX0" fmla="*/ 56290 w 104552"/>
                      <a:gd name="connsiteY0" fmla="*/ 215676 h 241271"/>
                      <a:gd name="connsiteX1" fmla="*/ 87738 w 104552"/>
                      <a:gd name="connsiteY1" fmla="*/ 202771 h 241271"/>
                      <a:gd name="connsiteX2" fmla="*/ 101191 w 104552"/>
                      <a:gd name="connsiteY2" fmla="*/ 163726 h 241271"/>
                      <a:gd name="connsiteX3" fmla="*/ 104553 w 104552"/>
                      <a:gd name="connsiteY3" fmla="*/ 159503 h 241271"/>
                      <a:gd name="connsiteX4" fmla="*/ 99873 w 104552"/>
                      <a:gd name="connsiteY4" fmla="*/ 156186 h 241271"/>
                      <a:gd name="connsiteX5" fmla="*/ 89475 w 104552"/>
                      <a:gd name="connsiteY5" fmla="*/ 146440 h 241271"/>
                      <a:gd name="connsiteX6" fmla="*/ 90281 w 104552"/>
                      <a:gd name="connsiteY6" fmla="*/ 136606 h 241271"/>
                      <a:gd name="connsiteX7" fmla="*/ 94066 w 104552"/>
                      <a:gd name="connsiteY7" fmla="*/ 131985 h 241271"/>
                      <a:gd name="connsiteX8" fmla="*/ 68285 w 104552"/>
                      <a:gd name="connsiteY8" fmla="*/ 38957 h 241271"/>
                      <a:gd name="connsiteX9" fmla="*/ 55360 w 104552"/>
                      <a:gd name="connsiteY9" fmla="*/ 16144 h 241271"/>
                      <a:gd name="connsiteX10" fmla="*/ 50945 w 104552"/>
                      <a:gd name="connsiteY10" fmla="*/ 13085 h 241271"/>
                      <a:gd name="connsiteX11" fmla="*/ 42274 w 104552"/>
                      <a:gd name="connsiteY11" fmla="*/ 6147 h 241271"/>
                      <a:gd name="connsiteX12" fmla="*/ 38922 w 104552"/>
                      <a:gd name="connsiteY12" fmla="*/ 0 h 241271"/>
                      <a:gd name="connsiteX13" fmla="*/ 14250 w 104552"/>
                      <a:gd name="connsiteY13" fmla="*/ 18055 h 241271"/>
                      <a:gd name="connsiteX14" fmla="*/ 9632 w 104552"/>
                      <a:gd name="connsiteY14" fmla="*/ 49233 h 241271"/>
                      <a:gd name="connsiteX15" fmla="*/ 8200 w 104552"/>
                      <a:gd name="connsiteY15" fmla="*/ 48415 h 241271"/>
                      <a:gd name="connsiteX16" fmla="*/ 639 w 104552"/>
                      <a:gd name="connsiteY16" fmla="*/ 205268 h 241271"/>
                      <a:gd name="connsiteX17" fmla="*/ 5425 w 104552"/>
                      <a:gd name="connsiteY17" fmla="*/ 216406 h 241271"/>
                      <a:gd name="connsiteX18" fmla="*/ 17282 w 104552"/>
                      <a:gd name="connsiteY18" fmla="*/ 218048 h 241271"/>
                      <a:gd name="connsiteX19" fmla="*/ 48250 w 104552"/>
                      <a:gd name="connsiteY19" fmla="*/ 241271 h 241271"/>
                      <a:gd name="connsiteX20" fmla="*/ 56290 w 104552"/>
                      <a:gd name="connsiteY20" fmla="*/ 215676 h 24127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</a:cxnLst>
                    <a:rect l="l" t="t" r="r" b="b"/>
                    <a:pathLst>
                      <a:path w="104552" h="241271">
                        <a:moveTo>
                          <a:pt x="56290" y="215676"/>
                        </a:moveTo>
                        <a:cubicBezTo>
                          <a:pt x="63888" y="206444"/>
                          <a:pt x="75960" y="201709"/>
                          <a:pt x="87738" y="202771"/>
                        </a:cubicBezTo>
                        <a:cubicBezTo>
                          <a:pt x="86392" y="188641"/>
                          <a:pt x="91287" y="173988"/>
                          <a:pt x="101191" y="163726"/>
                        </a:cubicBezTo>
                        <a:cubicBezTo>
                          <a:pt x="102772" y="162101"/>
                          <a:pt x="104548" y="160278"/>
                          <a:pt x="104553" y="159503"/>
                        </a:cubicBezTo>
                        <a:cubicBezTo>
                          <a:pt x="104556" y="158697"/>
                          <a:pt x="101618" y="157126"/>
                          <a:pt x="99873" y="156186"/>
                        </a:cubicBezTo>
                        <a:cubicBezTo>
                          <a:pt x="96073" y="154147"/>
                          <a:pt x="91336" y="151618"/>
                          <a:pt x="89475" y="146440"/>
                        </a:cubicBezTo>
                        <a:cubicBezTo>
                          <a:pt x="88336" y="143271"/>
                          <a:pt x="88630" y="139784"/>
                          <a:pt x="90281" y="136606"/>
                        </a:cubicBezTo>
                        <a:cubicBezTo>
                          <a:pt x="91191" y="134865"/>
                          <a:pt x="92522" y="133309"/>
                          <a:pt x="94066" y="131985"/>
                        </a:cubicBezTo>
                        <a:cubicBezTo>
                          <a:pt x="87418" y="100598"/>
                          <a:pt x="78773" y="69317"/>
                          <a:pt x="68285" y="38957"/>
                        </a:cubicBezTo>
                        <a:cubicBezTo>
                          <a:pt x="65156" y="29900"/>
                          <a:pt x="61817" y="21350"/>
                          <a:pt x="55360" y="16144"/>
                        </a:cubicBezTo>
                        <a:cubicBezTo>
                          <a:pt x="53965" y="15027"/>
                          <a:pt x="52449" y="14055"/>
                          <a:pt x="50945" y="13085"/>
                        </a:cubicBezTo>
                        <a:cubicBezTo>
                          <a:pt x="48093" y="11256"/>
                          <a:pt x="44865" y="9181"/>
                          <a:pt x="42274" y="6147"/>
                        </a:cubicBezTo>
                        <a:cubicBezTo>
                          <a:pt x="40751" y="4370"/>
                          <a:pt x="39614" y="2242"/>
                          <a:pt x="38922" y="0"/>
                        </a:cubicBezTo>
                        <a:cubicBezTo>
                          <a:pt x="30980" y="9733"/>
                          <a:pt x="22705" y="15797"/>
                          <a:pt x="14250" y="18055"/>
                        </a:cubicBezTo>
                        <a:cubicBezTo>
                          <a:pt x="16594" y="28556"/>
                          <a:pt x="14992" y="39821"/>
                          <a:pt x="9632" y="49233"/>
                        </a:cubicBezTo>
                        <a:lnTo>
                          <a:pt x="8200" y="48415"/>
                        </a:lnTo>
                        <a:cubicBezTo>
                          <a:pt x="23940" y="98383"/>
                          <a:pt x="-4542" y="152755"/>
                          <a:pt x="639" y="205268"/>
                        </a:cubicBezTo>
                        <a:cubicBezTo>
                          <a:pt x="1050" y="209428"/>
                          <a:pt x="1968" y="214060"/>
                          <a:pt x="5425" y="216406"/>
                        </a:cubicBezTo>
                        <a:cubicBezTo>
                          <a:pt x="8783" y="218683"/>
                          <a:pt x="13226" y="217947"/>
                          <a:pt x="17282" y="218048"/>
                        </a:cubicBezTo>
                        <a:cubicBezTo>
                          <a:pt x="31342" y="218401"/>
                          <a:pt x="40851" y="228581"/>
                          <a:pt x="48250" y="241271"/>
                        </a:cubicBezTo>
                        <a:cubicBezTo>
                          <a:pt x="47641" y="232163"/>
                          <a:pt x="50381" y="222849"/>
                          <a:pt x="56290" y="215676"/>
                        </a:cubicBezTo>
                        <a:close/>
                      </a:path>
                    </a:pathLst>
                  </a:custGeom>
                  <a:grpFill/>
                  <a:ln w="1649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s-ES_tradnl" sz="2400"/>
                  </a:p>
                </p:txBody>
              </p:sp>
              <p:sp>
                <p:nvSpPr>
                  <p:cNvPr id="224" name="Forma libre 223">
                    <a:extLst>
                      <a:ext uri="{FF2B5EF4-FFF2-40B4-BE49-F238E27FC236}">
                        <a16:creationId xmlns:a16="http://schemas.microsoft.com/office/drawing/2014/main" id="{A180C222-BB59-014E-92AE-4450BBA77F2A}"/>
                      </a:ext>
                    </a:extLst>
                  </p:cNvPr>
                  <p:cNvSpPr/>
                  <p:nvPr/>
                </p:nvSpPr>
                <p:spPr>
                  <a:xfrm>
                    <a:off x="6515511" y="3620687"/>
                    <a:ext cx="175228" cy="147015"/>
                  </a:xfrm>
                  <a:custGeom>
                    <a:avLst/>
                    <a:gdLst>
                      <a:gd name="connsiteX0" fmla="*/ 97210 w 175228"/>
                      <a:gd name="connsiteY0" fmla="*/ 2492 h 147015"/>
                      <a:gd name="connsiteX1" fmla="*/ 99074 w 175228"/>
                      <a:gd name="connsiteY1" fmla="*/ 8131 h 147015"/>
                      <a:gd name="connsiteX2" fmla="*/ 60871 w 175228"/>
                      <a:gd name="connsiteY2" fmla="*/ 4446 h 147015"/>
                      <a:gd name="connsiteX3" fmla="*/ 49272 w 175228"/>
                      <a:gd name="connsiteY3" fmla="*/ 1037 h 147015"/>
                      <a:gd name="connsiteX4" fmla="*/ 22605 w 175228"/>
                      <a:gd name="connsiteY4" fmla="*/ 4900 h 147015"/>
                      <a:gd name="connsiteX5" fmla="*/ 17365 w 175228"/>
                      <a:gd name="connsiteY5" fmla="*/ 13814 h 147015"/>
                      <a:gd name="connsiteX6" fmla="*/ 16757 w 175228"/>
                      <a:gd name="connsiteY6" fmla="*/ 22253 h 147015"/>
                      <a:gd name="connsiteX7" fmla="*/ 18193 w 175228"/>
                      <a:gd name="connsiteY7" fmla="*/ 24925 h 147015"/>
                      <a:gd name="connsiteX8" fmla="*/ 23470 w 175228"/>
                      <a:gd name="connsiteY8" fmla="*/ 39045 h 147015"/>
                      <a:gd name="connsiteX9" fmla="*/ 18253 w 175228"/>
                      <a:gd name="connsiteY9" fmla="*/ 56305 h 147015"/>
                      <a:gd name="connsiteX10" fmla="*/ 3214 w 175228"/>
                      <a:gd name="connsiteY10" fmla="*/ 83869 h 147015"/>
                      <a:gd name="connsiteX11" fmla="*/ 24 w 175228"/>
                      <a:gd name="connsiteY11" fmla="*/ 93027 h 147015"/>
                      <a:gd name="connsiteX12" fmla="*/ 10882 w 175228"/>
                      <a:gd name="connsiteY12" fmla="*/ 103917 h 147015"/>
                      <a:gd name="connsiteX13" fmla="*/ 16307 w 175228"/>
                      <a:gd name="connsiteY13" fmla="*/ 107465 h 147015"/>
                      <a:gd name="connsiteX14" fmla="*/ 32425 w 175228"/>
                      <a:gd name="connsiteY14" fmla="*/ 131237 h 147015"/>
                      <a:gd name="connsiteX15" fmla="*/ 32864 w 175228"/>
                      <a:gd name="connsiteY15" fmla="*/ 133034 h 147015"/>
                      <a:gd name="connsiteX16" fmla="*/ 37865 w 175228"/>
                      <a:gd name="connsiteY16" fmla="*/ 143659 h 147015"/>
                      <a:gd name="connsiteX17" fmla="*/ 37560 w 175228"/>
                      <a:gd name="connsiteY17" fmla="*/ 147016 h 147015"/>
                      <a:gd name="connsiteX18" fmla="*/ 47095 w 175228"/>
                      <a:gd name="connsiteY18" fmla="*/ 132958 h 147015"/>
                      <a:gd name="connsiteX19" fmla="*/ 175228 w 175228"/>
                      <a:gd name="connsiteY19" fmla="*/ 70816 h 147015"/>
                      <a:gd name="connsiteX20" fmla="*/ 97210 w 175228"/>
                      <a:gd name="connsiteY20" fmla="*/ 2492 h 14701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</a:cxnLst>
                    <a:rect l="l" t="t" r="r" b="b"/>
                    <a:pathLst>
                      <a:path w="175228" h="147015">
                        <a:moveTo>
                          <a:pt x="97210" y="2492"/>
                        </a:moveTo>
                        <a:lnTo>
                          <a:pt x="99074" y="8131"/>
                        </a:lnTo>
                        <a:cubicBezTo>
                          <a:pt x="86074" y="12427"/>
                          <a:pt x="73272" y="8377"/>
                          <a:pt x="60871" y="4446"/>
                        </a:cubicBezTo>
                        <a:cubicBezTo>
                          <a:pt x="56994" y="3214"/>
                          <a:pt x="53128" y="1982"/>
                          <a:pt x="49272" y="1037"/>
                        </a:cubicBezTo>
                        <a:cubicBezTo>
                          <a:pt x="39830" y="-1239"/>
                          <a:pt x="28869" y="312"/>
                          <a:pt x="22605" y="4900"/>
                        </a:cubicBezTo>
                        <a:cubicBezTo>
                          <a:pt x="19342" y="7272"/>
                          <a:pt x="17627" y="10192"/>
                          <a:pt x="17365" y="13814"/>
                        </a:cubicBezTo>
                        <a:lnTo>
                          <a:pt x="16757" y="22253"/>
                        </a:lnTo>
                        <a:cubicBezTo>
                          <a:pt x="17199" y="23100"/>
                          <a:pt x="17652" y="23954"/>
                          <a:pt x="18193" y="24925"/>
                        </a:cubicBezTo>
                        <a:cubicBezTo>
                          <a:pt x="20489" y="29046"/>
                          <a:pt x="23090" y="33712"/>
                          <a:pt x="23470" y="39045"/>
                        </a:cubicBezTo>
                        <a:cubicBezTo>
                          <a:pt x="23945" y="45847"/>
                          <a:pt x="20661" y="51890"/>
                          <a:pt x="18253" y="56305"/>
                        </a:cubicBezTo>
                        <a:lnTo>
                          <a:pt x="3214" y="83869"/>
                        </a:lnTo>
                        <a:cubicBezTo>
                          <a:pt x="1325" y="87316"/>
                          <a:pt x="-213" y="90389"/>
                          <a:pt x="24" y="93027"/>
                        </a:cubicBezTo>
                        <a:cubicBezTo>
                          <a:pt x="395" y="97078"/>
                          <a:pt x="4565" y="99974"/>
                          <a:pt x="10882" y="103917"/>
                        </a:cubicBezTo>
                        <a:cubicBezTo>
                          <a:pt x="12753" y="105083"/>
                          <a:pt x="14614" y="106248"/>
                          <a:pt x="16307" y="107465"/>
                        </a:cubicBezTo>
                        <a:cubicBezTo>
                          <a:pt x="24212" y="113126"/>
                          <a:pt x="30089" y="121791"/>
                          <a:pt x="32425" y="131237"/>
                        </a:cubicBezTo>
                        <a:lnTo>
                          <a:pt x="32864" y="133034"/>
                        </a:lnTo>
                        <a:cubicBezTo>
                          <a:pt x="33911" y="137433"/>
                          <a:pt x="35349" y="143440"/>
                          <a:pt x="37865" y="143659"/>
                        </a:cubicBezTo>
                        <a:lnTo>
                          <a:pt x="37560" y="147016"/>
                        </a:lnTo>
                        <a:cubicBezTo>
                          <a:pt x="41314" y="142860"/>
                          <a:pt x="44588" y="137645"/>
                          <a:pt x="47095" y="132958"/>
                        </a:cubicBezTo>
                        <a:cubicBezTo>
                          <a:pt x="71034" y="88221"/>
                          <a:pt x="125277" y="61914"/>
                          <a:pt x="175228" y="70816"/>
                        </a:cubicBezTo>
                        <a:cubicBezTo>
                          <a:pt x="147072" y="50580"/>
                          <a:pt x="118356" y="29643"/>
                          <a:pt x="97210" y="2492"/>
                        </a:cubicBezTo>
                        <a:close/>
                      </a:path>
                    </a:pathLst>
                  </a:custGeom>
                  <a:grpFill/>
                  <a:ln w="1649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s-ES_tradnl" sz="2400"/>
                  </a:p>
                </p:txBody>
              </p:sp>
              <p:sp>
                <p:nvSpPr>
                  <p:cNvPr id="225" name="Forma libre 224">
                    <a:extLst>
                      <a:ext uri="{FF2B5EF4-FFF2-40B4-BE49-F238E27FC236}">
                        <a16:creationId xmlns:a16="http://schemas.microsoft.com/office/drawing/2014/main" id="{9CAE4356-E6C5-274C-A2E4-FFEC4F63A638}"/>
                      </a:ext>
                    </a:extLst>
                  </p:cNvPr>
                  <p:cNvSpPr/>
                  <p:nvPr/>
                </p:nvSpPr>
                <p:spPr>
                  <a:xfrm>
                    <a:off x="6094119" y="3635331"/>
                    <a:ext cx="452837" cy="476504"/>
                  </a:xfrm>
                  <a:custGeom>
                    <a:avLst/>
                    <a:gdLst>
                      <a:gd name="connsiteX0" fmla="*/ 443952 w 452837"/>
                      <a:gd name="connsiteY0" fmla="*/ 120856 h 476504"/>
                      <a:gd name="connsiteX1" fmla="*/ 443536 w 452837"/>
                      <a:gd name="connsiteY1" fmla="*/ 119132 h 476504"/>
                      <a:gd name="connsiteX2" fmla="*/ 431540 w 452837"/>
                      <a:gd name="connsiteY2" fmla="*/ 101433 h 476504"/>
                      <a:gd name="connsiteX3" fmla="*/ 426665 w 452837"/>
                      <a:gd name="connsiteY3" fmla="*/ 98251 h 476504"/>
                      <a:gd name="connsiteX4" fmla="*/ 410875 w 452837"/>
                      <a:gd name="connsiteY4" fmla="*/ 79349 h 476504"/>
                      <a:gd name="connsiteX5" fmla="*/ 415311 w 452837"/>
                      <a:gd name="connsiteY5" fmla="*/ 64140 h 476504"/>
                      <a:gd name="connsiteX6" fmla="*/ 430350 w 452837"/>
                      <a:gd name="connsiteY6" fmla="*/ 36588 h 476504"/>
                      <a:gd name="connsiteX7" fmla="*/ 434300 w 452837"/>
                      <a:gd name="connsiteY7" fmla="*/ 25151 h 476504"/>
                      <a:gd name="connsiteX8" fmla="*/ 430338 w 452837"/>
                      <a:gd name="connsiteY8" fmla="*/ 15436 h 476504"/>
                      <a:gd name="connsiteX9" fmla="*/ 425406 w 452837"/>
                      <a:gd name="connsiteY9" fmla="*/ 0 h 476504"/>
                      <a:gd name="connsiteX10" fmla="*/ 417435 w 452837"/>
                      <a:gd name="connsiteY10" fmla="*/ 3680 h 476504"/>
                      <a:gd name="connsiteX11" fmla="*/ 411694 w 452837"/>
                      <a:gd name="connsiteY11" fmla="*/ 14540 h 476504"/>
                      <a:gd name="connsiteX12" fmla="*/ 407265 w 452837"/>
                      <a:gd name="connsiteY12" fmla="*/ 23934 h 476504"/>
                      <a:gd name="connsiteX13" fmla="*/ 365509 w 452837"/>
                      <a:gd name="connsiteY13" fmla="*/ 47230 h 476504"/>
                      <a:gd name="connsiteX14" fmla="*/ 358304 w 452837"/>
                      <a:gd name="connsiteY14" fmla="*/ 47749 h 476504"/>
                      <a:gd name="connsiteX15" fmla="*/ 339690 w 452837"/>
                      <a:gd name="connsiteY15" fmla="*/ 51094 h 476504"/>
                      <a:gd name="connsiteX16" fmla="*/ 332039 w 452837"/>
                      <a:gd name="connsiteY16" fmla="*/ 55650 h 476504"/>
                      <a:gd name="connsiteX17" fmla="*/ 306248 w 452837"/>
                      <a:gd name="connsiteY17" fmla="*/ 61771 h 476504"/>
                      <a:gd name="connsiteX18" fmla="*/ 298831 w 452837"/>
                      <a:gd name="connsiteY18" fmla="*/ 56148 h 476504"/>
                      <a:gd name="connsiteX19" fmla="*/ 295801 w 452837"/>
                      <a:gd name="connsiteY19" fmla="*/ 53420 h 476504"/>
                      <a:gd name="connsiteX20" fmla="*/ 265407 w 452837"/>
                      <a:gd name="connsiteY20" fmla="*/ 58125 h 476504"/>
                      <a:gd name="connsiteX21" fmla="*/ 237410 w 452837"/>
                      <a:gd name="connsiteY21" fmla="*/ 66847 h 476504"/>
                      <a:gd name="connsiteX22" fmla="*/ 225737 w 452837"/>
                      <a:gd name="connsiteY22" fmla="*/ 64360 h 476504"/>
                      <a:gd name="connsiteX23" fmla="*/ 221218 w 452837"/>
                      <a:gd name="connsiteY23" fmla="*/ 61829 h 476504"/>
                      <a:gd name="connsiteX24" fmla="*/ 216327 w 452837"/>
                      <a:gd name="connsiteY24" fmla="*/ 59322 h 476504"/>
                      <a:gd name="connsiteX25" fmla="*/ 202997 w 452837"/>
                      <a:gd name="connsiteY25" fmla="*/ 62461 h 476504"/>
                      <a:gd name="connsiteX26" fmla="*/ 196996 w 452837"/>
                      <a:gd name="connsiteY26" fmla="*/ 64978 h 476504"/>
                      <a:gd name="connsiteX27" fmla="*/ 177922 w 452837"/>
                      <a:gd name="connsiteY27" fmla="*/ 63493 h 476504"/>
                      <a:gd name="connsiteX28" fmla="*/ 175383 w 452837"/>
                      <a:gd name="connsiteY28" fmla="*/ 70901 h 476504"/>
                      <a:gd name="connsiteX29" fmla="*/ 137732 w 452837"/>
                      <a:gd name="connsiteY29" fmla="*/ 98074 h 476504"/>
                      <a:gd name="connsiteX30" fmla="*/ 60118 w 452837"/>
                      <a:gd name="connsiteY30" fmla="*/ 111885 h 476504"/>
                      <a:gd name="connsiteX31" fmla="*/ 57901 w 452837"/>
                      <a:gd name="connsiteY31" fmla="*/ 111518 h 476504"/>
                      <a:gd name="connsiteX32" fmla="*/ 47680 w 452837"/>
                      <a:gd name="connsiteY32" fmla="*/ 111077 h 476504"/>
                      <a:gd name="connsiteX33" fmla="*/ 44204 w 452837"/>
                      <a:gd name="connsiteY33" fmla="*/ 113802 h 476504"/>
                      <a:gd name="connsiteX34" fmla="*/ 43965 w 452837"/>
                      <a:gd name="connsiteY34" fmla="*/ 115158 h 476504"/>
                      <a:gd name="connsiteX35" fmla="*/ 49396 w 452837"/>
                      <a:gd name="connsiteY35" fmla="*/ 119151 h 476504"/>
                      <a:gd name="connsiteX36" fmla="*/ 59666 w 452837"/>
                      <a:gd name="connsiteY36" fmla="*/ 131827 h 476504"/>
                      <a:gd name="connsiteX37" fmla="*/ 53812 w 452837"/>
                      <a:gd name="connsiteY37" fmla="*/ 142886 h 476504"/>
                      <a:gd name="connsiteX38" fmla="*/ 43989 w 452837"/>
                      <a:gd name="connsiteY38" fmla="*/ 180453 h 476504"/>
                      <a:gd name="connsiteX39" fmla="*/ 46742 w 452837"/>
                      <a:gd name="connsiteY39" fmla="*/ 190268 h 476504"/>
                      <a:gd name="connsiteX40" fmla="*/ 37127 w 452837"/>
                      <a:gd name="connsiteY40" fmla="*/ 186886 h 476504"/>
                      <a:gd name="connsiteX41" fmla="*/ 8981 w 452837"/>
                      <a:gd name="connsiteY41" fmla="*/ 194719 h 476504"/>
                      <a:gd name="connsiteX42" fmla="*/ 6662 w 452837"/>
                      <a:gd name="connsiteY42" fmla="*/ 223841 h 476504"/>
                      <a:gd name="connsiteX43" fmla="*/ 0 w 452837"/>
                      <a:gd name="connsiteY43" fmla="*/ 227753 h 476504"/>
                      <a:gd name="connsiteX44" fmla="*/ 5272 w 452837"/>
                      <a:gd name="connsiteY44" fmla="*/ 239682 h 476504"/>
                      <a:gd name="connsiteX45" fmla="*/ 58072 w 452837"/>
                      <a:gd name="connsiteY45" fmla="*/ 267241 h 476504"/>
                      <a:gd name="connsiteX46" fmla="*/ 34094 w 452837"/>
                      <a:gd name="connsiteY46" fmla="*/ 292182 h 476504"/>
                      <a:gd name="connsiteX47" fmla="*/ 129141 w 452837"/>
                      <a:gd name="connsiteY47" fmla="*/ 298870 h 476504"/>
                      <a:gd name="connsiteX48" fmla="*/ 196914 w 452837"/>
                      <a:gd name="connsiteY48" fmla="*/ 352060 h 476504"/>
                      <a:gd name="connsiteX49" fmla="*/ 69208 w 452837"/>
                      <a:gd name="connsiteY49" fmla="*/ 347106 h 476504"/>
                      <a:gd name="connsiteX50" fmla="*/ 102258 w 452837"/>
                      <a:gd name="connsiteY50" fmla="*/ 423752 h 476504"/>
                      <a:gd name="connsiteX51" fmla="*/ 102100 w 452837"/>
                      <a:gd name="connsiteY51" fmla="*/ 457239 h 476504"/>
                      <a:gd name="connsiteX52" fmla="*/ 125871 w 452837"/>
                      <a:gd name="connsiteY52" fmla="*/ 476191 h 476504"/>
                      <a:gd name="connsiteX53" fmla="*/ 133297 w 452837"/>
                      <a:gd name="connsiteY53" fmla="*/ 428528 h 476504"/>
                      <a:gd name="connsiteX54" fmla="*/ 161536 w 452837"/>
                      <a:gd name="connsiteY54" fmla="*/ 475594 h 476504"/>
                      <a:gd name="connsiteX55" fmla="*/ 175206 w 452837"/>
                      <a:gd name="connsiteY55" fmla="*/ 454414 h 476504"/>
                      <a:gd name="connsiteX56" fmla="*/ 220720 w 452837"/>
                      <a:gd name="connsiteY56" fmla="*/ 474894 h 476504"/>
                      <a:gd name="connsiteX57" fmla="*/ 167593 w 452837"/>
                      <a:gd name="connsiteY57" fmla="*/ 377733 h 476504"/>
                      <a:gd name="connsiteX58" fmla="*/ 231721 w 452837"/>
                      <a:gd name="connsiteY58" fmla="*/ 406096 h 476504"/>
                      <a:gd name="connsiteX59" fmla="*/ 229074 w 452837"/>
                      <a:gd name="connsiteY59" fmla="*/ 373881 h 476504"/>
                      <a:gd name="connsiteX60" fmla="*/ 266150 w 452837"/>
                      <a:gd name="connsiteY60" fmla="*/ 370845 h 476504"/>
                      <a:gd name="connsiteX61" fmla="*/ 242796 w 452837"/>
                      <a:gd name="connsiteY61" fmla="*/ 312037 h 476504"/>
                      <a:gd name="connsiteX62" fmla="*/ 175842 w 452837"/>
                      <a:gd name="connsiteY62" fmla="*/ 281847 h 476504"/>
                      <a:gd name="connsiteX63" fmla="*/ 166506 w 452837"/>
                      <a:gd name="connsiteY63" fmla="*/ 220720 h 476504"/>
                      <a:gd name="connsiteX64" fmla="*/ 190003 w 452837"/>
                      <a:gd name="connsiteY64" fmla="*/ 229000 h 476504"/>
                      <a:gd name="connsiteX65" fmla="*/ 193379 w 452837"/>
                      <a:gd name="connsiteY65" fmla="*/ 206848 h 476504"/>
                      <a:gd name="connsiteX66" fmla="*/ 171861 w 452837"/>
                      <a:gd name="connsiteY66" fmla="*/ 191498 h 476504"/>
                      <a:gd name="connsiteX67" fmla="*/ 172512 w 452837"/>
                      <a:gd name="connsiteY67" fmla="*/ 121351 h 476504"/>
                      <a:gd name="connsiteX68" fmla="*/ 193348 w 452837"/>
                      <a:gd name="connsiteY68" fmla="*/ 155657 h 476504"/>
                      <a:gd name="connsiteX69" fmla="*/ 221009 w 452837"/>
                      <a:gd name="connsiteY69" fmla="*/ 179645 h 476504"/>
                      <a:gd name="connsiteX70" fmla="*/ 214523 w 452837"/>
                      <a:gd name="connsiteY70" fmla="*/ 156303 h 476504"/>
                      <a:gd name="connsiteX71" fmla="*/ 248253 w 452837"/>
                      <a:gd name="connsiteY71" fmla="*/ 179281 h 476504"/>
                      <a:gd name="connsiteX72" fmla="*/ 238340 w 452837"/>
                      <a:gd name="connsiteY72" fmla="*/ 155512 h 476504"/>
                      <a:gd name="connsiteX73" fmla="*/ 283959 w 452837"/>
                      <a:gd name="connsiteY73" fmla="*/ 166999 h 476504"/>
                      <a:gd name="connsiteX74" fmla="*/ 245272 w 452837"/>
                      <a:gd name="connsiteY74" fmla="*/ 118001 h 476504"/>
                      <a:gd name="connsiteX75" fmla="*/ 352668 w 452837"/>
                      <a:gd name="connsiteY75" fmla="*/ 90224 h 476504"/>
                      <a:gd name="connsiteX76" fmla="*/ 430664 w 452837"/>
                      <a:gd name="connsiteY76" fmla="*/ 125515 h 476504"/>
                      <a:gd name="connsiteX77" fmla="*/ 440790 w 452837"/>
                      <a:gd name="connsiteY77" fmla="*/ 138538 h 476504"/>
                      <a:gd name="connsiteX78" fmla="*/ 452837 w 452837"/>
                      <a:gd name="connsiteY78" fmla="*/ 137681 h 476504"/>
                      <a:gd name="connsiteX79" fmla="*/ 443952 w 452837"/>
                      <a:gd name="connsiteY79" fmla="*/ 120856 h 47650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  <a:cxn ang="0">
                        <a:pos x="connsiteX25" y="connsiteY25"/>
                      </a:cxn>
                      <a:cxn ang="0">
                        <a:pos x="connsiteX26" y="connsiteY26"/>
                      </a:cxn>
                      <a:cxn ang="0">
                        <a:pos x="connsiteX27" y="connsiteY27"/>
                      </a:cxn>
                      <a:cxn ang="0">
                        <a:pos x="connsiteX28" y="connsiteY28"/>
                      </a:cxn>
                      <a:cxn ang="0">
                        <a:pos x="connsiteX29" y="connsiteY29"/>
                      </a:cxn>
                      <a:cxn ang="0">
                        <a:pos x="connsiteX30" y="connsiteY30"/>
                      </a:cxn>
                      <a:cxn ang="0">
                        <a:pos x="connsiteX31" y="connsiteY31"/>
                      </a:cxn>
                      <a:cxn ang="0">
                        <a:pos x="connsiteX32" y="connsiteY32"/>
                      </a:cxn>
                      <a:cxn ang="0">
                        <a:pos x="connsiteX33" y="connsiteY33"/>
                      </a:cxn>
                      <a:cxn ang="0">
                        <a:pos x="connsiteX34" y="connsiteY34"/>
                      </a:cxn>
                      <a:cxn ang="0">
                        <a:pos x="connsiteX35" y="connsiteY35"/>
                      </a:cxn>
                      <a:cxn ang="0">
                        <a:pos x="connsiteX36" y="connsiteY36"/>
                      </a:cxn>
                      <a:cxn ang="0">
                        <a:pos x="connsiteX37" y="connsiteY37"/>
                      </a:cxn>
                      <a:cxn ang="0">
                        <a:pos x="connsiteX38" y="connsiteY38"/>
                      </a:cxn>
                      <a:cxn ang="0">
                        <a:pos x="connsiteX39" y="connsiteY39"/>
                      </a:cxn>
                      <a:cxn ang="0">
                        <a:pos x="connsiteX40" y="connsiteY40"/>
                      </a:cxn>
                      <a:cxn ang="0">
                        <a:pos x="connsiteX41" y="connsiteY41"/>
                      </a:cxn>
                      <a:cxn ang="0">
                        <a:pos x="connsiteX42" y="connsiteY42"/>
                      </a:cxn>
                      <a:cxn ang="0">
                        <a:pos x="connsiteX43" y="connsiteY43"/>
                      </a:cxn>
                      <a:cxn ang="0">
                        <a:pos x="connsiteX44" y="connsiteY44"/>
                      </a:cxn>
                      <a:cxn ang="0">
                        <a:pos x="connsiteX45" y="connsiteY45"/>
                      </a:cxn>
                      <a:cxn ang="0">
                        <a:pos x="connsiteX46" y="connsiteY46"/>
                      </a:cxn>
                      <a:cxn ang="0">
                        <a:pos x="connsiteX47" y="connsiteY47"/>
                      </a:cxn>
                      <a:cxn ang="0">
                        <a:pos x="connsiteX48" y="connsiteY48"/>
                      </a:cxn>
                      <a:cxn ang="0">
                        <a:pos x="connsiteX49" y="connsiteY49"/>
                      </a:cxn>
                      <a:cxn ang="0">
                        <a:pos x="connsiteX50" y="connsiteY50"/>
                      </a:cxn>
                      <a:cxn ang="0">
                        <a:pos x="connsiteX51" y="connsiteY51"/>
                      </a:cxn>
                      <a:cxn ang="0">
                        <a:pos x="connsiteX52" y="connsiteY52"/>
                      </a:cxn>
                      <a:cxn ang="0">
                        <a:pos x="connsiteX53" y="connsiteY53"/>
                      </a:cxn>
                      <a:cxn ang="0">
                        <a:pos x="connsiteX54" y="connsiteY54"/>
                      </a:cxn>
                      <a:cxn ang="0">
                        <a:pos x="connsiteX55" y="connsiteY55"/>
                      </a:cxn>
                      <a:cxn ang="0">
                        <a:pos x="connsiteX56" y="connsiteY56"/>
                      </a:cxn>
                      <a:cxn ang="0">
                        <a:pos x="connsiteX57" y="connsiteY57"/>
                      </a:cxn>
                      <a:cxn ang="0">
                        <a:pos x="connsiteX58" y="connsiteY58"/>
                      </a:cxn>
                      <a:cxn ang="0">
                        <a:pos x="connsiteX59" y="connsiteY59"/>
                      </a:cxn>
                      <a:cxn ang="0">
                        <a:pos x="connsiteX60" y="connsiteY60"/>
                      </a:cxn>
                      <a:cxn ang="0">
                        <a:pos x="connsiteX61" y="connsiteY61"/>
                      </a:cxn>
                      <a:cxn ang="0">
                        <a:pos x="connsiteX62" y="connsiteY62"/>
                      </a:cxn>
                      <a:cxn ang="0">
                        <a:pos x="connsiteX63" y="connsiteY63"/>
                      </a:cxn>
                      <a:cxn ang="0">
                        <a:pos x="connsiteX64" y="connsiteY64"/>
                      </a:cxn>
                      <a:cxn ang="0">
                        <a:pos x="connsiteX65" y="connsiteY65"/>
                      </a:cxn>
                      <a:cxn ang="0">
                        <a:pos x="connsiteX66" y="connsiteY66"/>
                      </a:cxn>
                      <a:cxn ang="0">
                        <a:pos x="connsiteX67" y="connsiteY67"/>
                      </a:cxn>
                      <a:cxn ang="0">
                        <a:pos x="connsiteX68" y="connsiteY68"/>
                      </a:cxn>
                      <a:cxn ang="0">
                        <a:pos x="connsiteX69" y="connsiteY69"/>
                      </a:cxn>
                      <a:cxn ang="0">
                        <a:pos x="connsiteX70" y="connsiteY70"/>
                      </a:cxn>
                      <a:cxn ang="0">
                        <a:pos x="connsiteX71" y="connsiteY71"/>
                      </a:cxn>
                      <a:cxn ang="0">
                        <a:pos x="connsiteX72" y="connsiteY72"/>
                      </a:cxn>
                      <a:cxn ang="0">
                        <a:pos x="connsiteX73" y="connsiteY73"/>
                      </a:cxn>
                      <a:cxn ang="0">
                        <a:pos x="connsiteX74" y="connsiteY74"/>
                      </a:cxn>
                      <a:cxn ang="0">
                        <a:pos x="connsiteX75" y="connsiteY75"/>
                      </a:cxn>
                      <a:cxn ang="0">
                        <a:pos x="connsiteX76" y="connsiteY76"/>
                      </a:cxn>
                      <a:cxn ang="0">
                        <a:pos x="connsiteX77" y="connsiteY77"/>
                      </a:cxn>
                      <a:cxn ang="0">
                        <a:pos x="connsiteX78" y="connsiteY78"/>
                      </a:cxn>
                      <a:cxn ang="0">
                        <a:pos x="connsiteX79" y="connsiteY79"/>
                      </a:cxn>
                    </a:cxnLst>
                    <a:rect l="l" t="t" r="r" b="b"/>
                    <a:pathLst>
                      <a:path w="452837" h="476504">
                        <a:moveTo>
                          <a:pt x="443952" y="120856"/>
                        </a:moveTo>
                        <a:lnTo>
                          <a:pt x="443536" y="119132"/>
                        </a:lnTo>
                        <a:cubicBezTo>
                          <a:pt x="441795" y="112100"/>
                          <a:pt x="437425" y="105648"/>
                          <a:pt x="431540" y="101433"/>
                        </a:cubicBezTo>
                        <a:cubicBezTo>
                          <a:pt x="430012" y="100336"/>
                          <a:pt x="428348" y="99304"/>
                          <a:pt x="426665" y="98251"/>
                        </a:cubicBezTo>
                        <a:cubicBezTo>
                          <a:pt x="420024" y="94101"/>
                          <a:pt x="411752" y="88942"/>
                          <a:pt x="410875" y="79349"/>
                        </a:cubicBezTo>
                        <a:cubicBezTo>
                          <a:pt x="410311" y="73282"/>
                          <a:pt x="413200" y="67995"/>
                          <a:pt x="415311" y="64140"/>
                        </a:cubicBezTo>
                        <a:lnTo>
                          <a:pt x="430350" y="36588"/>
                        </a:lnTo>
                        <a:cubicBezTo>
                          <a:pt x="432727" y="32206"/>
                          <a:pt x="434540" y="28585"/>
                          <a:pt x="434300" y="25151"/>
                        </a:cubicBezTo>
                        <a:cubicBezTo>
                          <a:pt x="434090" y="22163"/>
                          <a:pt x="432267" y="18898"/>
                          <a:pt x="430338" y="15436"/>
                        </a:cubicBezTo>
                        <a:cubicBezTo>
                          <a:pt x="427891" y="11049"/>
                          <a:pt x="425023" y="5790"/>
                          <a:pt x="425406" y="0"/>
                        </a:cubicBezTo>
                        <a:cubicBezTo>
                          <a:pt x="422656" y="30"/>
                          <a:pt x="419279" y="1487"/>
                          <a:pt x="417435" y="3680"/>
                        </a:cubicBezTo>
                        <a:cubicBezTo>
                          <a:pt x="414954" y="6626"/>
                          <a:pt x="413369" y="10473"/>
                          <a:pt x="411694" y="14540"/>
                        </a:cubicBezTo>
                        <a:cubicBezTo>
                          <a:pt x="410404" y="17643"/>
                          <a:pt x="409083" y="20849"/>
                          <a:pt x="407265" y="23934"/>
                        </a:cubicBezTo>
                        <a:cubicBezTo>
                          <a:pt x="399645" y="36837"/>
                          <a:pt x="384432" y="45331"/>
                          <a:pt x="365509" y="47230"/>
                        </a:cubicBezTo>
                        <a:cubicBezTo>
                          <a:pt x="363131" y="47465"/>
                          <a:pt x="360713" y="47607"/>
                          <a:pt x="358304" y="47749"/>
                        </a:cubicBezTo>
                        <a:cubicBezTo>
                          <a:pt x="351534" y="48151"/>
                          <a:pt x="345123" y="48530"/>
                          <a:pt x="339690" y="51094"/>
                        </a:cubicBezTo>
                        <a:cubicBezTo>
                          <a:pt x="337124" y="52302"/>
                          <a:pt x="334582" y="53987"/>
                          <a:pt x="332039" y="55650"/>
                        </a:cubicBezTo>
                        <a:cubicBezTo>
                          <a:pt x="324845" y="60339"/>
                          <a:pt x="315869" y="66157"/>
                          <a:pt x="306248" y="61771"/>
                        </a:cubicBezTo>
                        <a:cubicBezTo>
                          <a:pt x="303124" y="60326"/>
                          <a:pt x="300842" y="58107"/>
                          <a:pt x="298831" y="56148"/>
                        </a:cubicBezTo>
                        <a:cubicBezTo>
                          <a:pt x="297852" y="55194"/>
                          <a:pt x="296882" y="54229"/>
                          <a:pt x="295801" y="53420"/>
                        </a:cubicBezTo>
                        <a:cubicBezTo>
                          <a:pt x="288446" y="47962"/>
                          <a:pt x="279414" y="51557"/>
                          <a:pt x="265407" y="58125"/>
                        </a:cubicBezTo>
                        <a:cubicBezTo>
                          <a:pt x="256615" y="62258"/>
                          <a:pt x="246987" y="66775"/>
                          <a:pt x="237410" y="66847"/>
                        </a:cubicBezTo>
                        <a:cubicBezTo>
                          <a:pt x="233492" y="66879"/>
                          <a:pt x="229577" y="66162"/>
                          <a:pt x="225737" y="64360"/>
                        </a:cubicBezTo>
                        <a:cubicBezTo>
                          <a:pt x="224181" y="63636"/>
                          <a:pt x="222694" y="62738"/>
                          <a:pt x="221218" y="61829"/>
                        </a:cubicBezTo>
                        <a:cubicBezTo>
                          <a:pt x="219492" y="60756"/>
                          <a:pt x="217862" y="59754"/>
                          <a:pt x="216327" y="59322"/>
                        </a:cubicBezTo>
                        <a:cubicBezTo>
                          <a:pt x="212483" y="58191"/>
                          <a:pt x="207875" y="60294"/>
                          <a:pt x="202997" y="62461"/>
                        </a:cubicBezTo>
                        <a:cubicBezTo>
                          <a:pt x="200997" y="63366"/>
                          <a:pt x="198988" y="64251"/>
                          <a:pt x="196996" y="64978"/>
                        </a:cubicBezTo>
                        <a:cubicBezTo>
                          <a:pt x="190703" y="67258"/>
                          <a:pt x="183128" y="66556"/>
                          <a:pt x="177922" y="63493"/>
                        </a:cubicBezTo>
                        <a:cubicBezTo>
                          <a:pt x="177322" y="66000"/>
                          <a:pt x="176546" y="68480"/>
                          <a:pt x="175383" y="70901"/>
                        </a:cubicBezTo>
                        <a:cubicBezTo>
                          <a:pt x="168265" y="85684"/>
                          <a:pt x="152223" y="92682"/>
                          <a:pt x="137732" y="98074"/>
                        </a:cubicBezTo>
                        <a:cubicBezTo>
                          <a:pt x="111845" y="107722"/>
                          <a:pt x="86409" y="116012"/>
                          <a:pt x="60118" y="111885"/>
                        </a:cubicBezTo>
                        <a:lnTo>
                          <a:pt x="57901" y="111518"/>
                        </a:lnTo>
                        <a:cubicBezTo>
                          <a:pt x="54142" y="110864"/>
                          <a:pt x="50589" y="110280"/>
                          <a:pt x="47680" y="111077"/>
                        </a:cubicBezTo>
                        <a:cubicBezTo>
                          <a:pt x="46267" y="111459"/>
                          <a:pt x="44834" y="112578"/>
                          <a:pt x="44204" y="113802"/>
                        </a:cubicBezTo>
                        <a:cubicBezTo>
                          <a:pt x="43919" y="114343"/>
                          <a:pt x="43840" y="114797"/>
                          <a:pt x="43965" y="115158"/>
                        </a:cubicBezTo>
                        <a:cubicBezTo>
                          <a:pt x="44452" y="116499"/>
                          <a:pt x="47080" y="117906"/>
                          <a:pt x="49396" y="119151"/>
                        </a:cubicBezTo>
                        <a:cubicBezTo>
                          <a:pt x="53736" y="121477"/>
                          <a:pt x="59686" y="124661"/>
                          <a:pt x="59666" y="131827"/>
                        </a:cubicBezTo>
                        <a:cubicBezTo>
                          <a:pt x="59653" y="136906"/>
                          <a:pt x="56275" y="140365"/>
                          <a:pt x="53812" y="142886"/>
                        </a:cubicBezTo>
                        <a:cubicBezTo>
                          <a:pt x="44041" y="153014"/>
                          <a:pt x="40365" y="167563"/>
                          <a:pt x="43989" y="180453"/>
                        </a:cubicBezTo>
                        <a:lnTo>
                          <a:pt x="46742" y="190268"/>
                        </a:lnTo>
                        <a:lnTo>
                          <a:pt x="37127" y="186886"/>
                        </a:lnTo>
                        <a:cubicBezTo>
                          <a:pt x="27421" y="183442"/>
                          <a:pt x="15561" y="186747"/>
                          <a:pt x="8981" y="194719"/>
                        </a:cubicBezTo>
                        <a:cubicBezTo>
                          <a:pt x="2417" y="202680"/>
                          <a:pt x="1438" y="214936"/>
                          <a:pt x="6662" y="223841"/>
                        </a:cubicBezTo>
                        <a:lnTo>
                          <a:pt x="0" y="227753"/>
                        </a:lnTo>
                        <a:cubicBezTo>
                          <a:pt x="1847" y="231801"/>
                          <a:pt x="3587" y="235841"/>
                          <a:pt x="5272" y="239682"/>
                        </a:cubicBezTo>
                        <a:cubicBezTo>
                          <a:pt x="14626" y="260995"/>
                          <a:pt x="40756" y="282789"/>
                          <a:pt x="58072" y="267241"/>
                        </a:cubicBezTo>
                        <a:cubicBezTo>
                          <a:pt x="56105" y="279348"/>
                          <a:pt x="46115" y="289741"/>
                          <a:pt x="34094" y="292182"/>
                        </a:cubicBezTo>
                        <a:cubicBezTo>
                          <a:pt x="63283" y="305394"/>
                          <a:pt x="97133" y="297458"/>
                          <a:pt x="129141" y="298870"/>
                        </a:cubicBezTo>
                        <a:cubicBezTo>
                          <a:pt x="161150" y="300280"/>
                          <a:pt x="198783" y="320073"/>
                          <a:pt x="196914" y="352060"/>
                        </a:cubicBezTo>
                        <a:cubicBezTo>
                          <a:pt x="155845" y="338893"/>
                          <a:pt x="111174" y="337160"/>
                          <a:pt x="69208" y="347106"/>
                        </a:cubicBezTo>
                        <a:cubicBezTo>
                          <a:pt x="90895" y="366011"/>
                          <a:pt x="103397" y="395006"/>
                          <a:pt x="102258" y="423752"/>
                        </a:cubicBezTo>
                        <a:cubicBezTo>
                          <a:pt x="101813" y="434954"/>
                          <a:pt x="99440" y="446349"/>
                          <a:pt x="102100" y="457239"/>
                        </a:cubicBezTo>
                        <a:cubicBezTo>
                          <a:pt x="104761" y="468130"/>
                          <a:pt x="114890" y="478450"/>
                          <a:pt x="125871" y="476191"/>
                        </a:cubicBezTo>
                        <a:cubicBezTo>
                          <a:pt x="144094" y="472441"/>
                          <a:pt x="140978" y="445472"/>
                          <a:pt x="133297" y="428528"/>
                        </a:cubicBezTo>
                        <a:cubicBezTo>
                          <a:pt x="150426" y="437354"/>
                          <a:pt x="161808" y="456327"/>
                          <a:pt x="161536" y="475594"/>
                        </a:cubicBezTo>
                        <a:cubicBezTo>
                          <a:pt x="166092" y="468533"/>
                          <a:pt x="170647" y="461476"/>
                          <a:pt x="175206" y="454414"/>
                        </a:cubicBezTo>
                        <a:cubicBezTo>
                          <a:pt x="187571" y="465994"/>
                          <a:pt x="203851" y="473321"/>
                          <a:pt x="220720" y="474894"/>
                        </a:cubicBezTo>
                        <a:cubicBezTo>
                          <a:pt x="198132" y="445513"/>
                          <a:pt x="180138" y="412608"/>
                          <a:pt x="167593" y="377733"/>
                        </a:cubicBezTo>
                        <a:cubicBezTo>
                          <a:pt x="190920" y="381526"/>
                          <a:pt x="213180" y="391447"/>
                          <a:pt x="231721" y="406096"/>
                        </a:cubicBezTo>
                        <a:cubicBezTo>
                          <a:pt x="223760" y="397670"/>
                          <a:pt x="222043" y="383341"/>
                          <a:pt x="229074" y="373881"/>
                        </a:cubicBezTo>
                        <a:cubicBezTo>
                          <a:pt x="237443" y="362624"/>
                          <a:pt x="256061" y="361099"/>
                          <a:pt x="266150" y="370845"/>
                        </a:cubicBezTo>
                        <a:cubicBezTo>
                          <a:pt x="283255" y="353059"/>
                          <a:pt x="265085" y="322634"/>
                          <a:pt x="242796" y="312037"/>
                        </a:cubicBezTo>
                        <a:cubicBezTo>
                          <a:pt x="220509" y="301439"/>
                          <a:pt x="193477" y="299111"/>
                          <a:pt x="175842" y="281847"/>
                        </a:cubicBezTo>
                        <a:cubicBezTo>
                          <a:pt x="172729" y="261471"/>
                          <a:pt x="169617" y="241095"/>
                          <a:pt x="166506" y="220720"/>
                        </a:cubicBezTo>
                        <a:cubicBezTo>
                          <a:pt x="174701" y="216128"/>
                          <a:pt x="186498" y="220282"/>
                          <a:pt x="190003" y="229000"/>
                        </a:cubicBezTo>
                        <a:cubicBezTo>
                          <a:pt x="198514" y="226570"/>
                          <a:pt x="198961" y="213719"/>
                          <a:pt x="193379" y="206848"/>
                        </a:cubicBezTo>
                        <a:cubicBezTo>
                          <a:pt x="187797" y="199977"/>
                          <a:pt x="178969" y="196774"/>
                          <a:pt x="171861" y="191498"/>
                        </a:cubicBezTo>
                        <a:cubicBezTo>
                          <a:pt x="149991" y="175267"/>
                          <a:pt x="150345" y="137172"/>
                          <a:pt x="172512" y="121351"/>
                        </a:cubicBezTo>
                        <a:cubicBezTo>
                          <a:pt x="186970" y="122552"/>
                          <a:pt x="190923" y="141356"/>
                          <a:pt x="193348" y="155657"/>
                        </a:cubicBezTo>
                        <a:cubicBezTo>
                          <a:pt x="195773" y="169958"/>
                          <a:pt x="208722" y="187355"/>
                          <a:pt x="221009" y="179645"/>
                        </a:cubicBezTo>
                        <a:cubicBezTo>
                          <a:pt x="221663" y="171429"/>
                          <a:pt x="219326" y="163003"/>
                          <a:pt x="214523" y="156303"/>
                        </a:cubicBezTo>
                        <a:cubicBezTo>
                          <a:pt x="225767" y="163962"/>
                          <a:pt x="237010" y="171621"/>
                          <a:pt x="248253" y="179281"/>
                        </a:cubicBezTo>
                        <a:cubicBezTo>
                          <a:pt x="244949" y="171356"/>
                          <a:pt x="241644" y="163435"/>
                          <a:pt x="238340" y="155512"/>
                        </a:cubicBezTo>
                        <a:cubicBezTo>
                          <a:pt x="253547" y="159340"/>
                          <a:pt x="268751" y="163169"/>
                          <a:pt x="283959" y="166999"/>
                        </a:cubicBezTo>
                        <a:cubicBezTo>
                          <a:pt x="264902" y="157151"/>
                          <a:pt x="250433" y="138823"/>
                          <a:pt x="245272" y="118001"/>
                        </a:cubicBezTo>
                        <a:cubicBezTo>
                          <a:pt x="277823" y="99578"/>
                          <a:pt x="315265" y="89894"/>
                          <a:pt x="352668" y="90224"/>
                        </a:cubicBezTo>
                        <a:cubicBezTo>
                          <a:pt x="382574" y="90488"/>
                          <a:pt x="415874" y="99522"/>
                          <a:pt x="430664" y="125515"/>
                        </a:cubicBezTo>
                        <a:cubicBezTo>
                          <a:pt x="433431" y="130375"/>
                          <a:pt x="435788" y="136036"/>
                          <a:pt x="440790" y="138538"/>
                        </a:cubicBezTo>
                        <a:cubicBezTo>
                          <a:pt x="445017" y="140657"/>
                          <a:pt x="449082" y="139953"/>
                          <a:pt x="452837" y="137681"/>
                        </a:cubicBezTo>
                        <a:cubicBezTo>
                          <a:pt x="447209" y="134157"/>
                          <a:pt x="445284" y="126426"/>
                          <a:pt x="443952" y="120856"/>
                        </a:cubicBezTo>
                        <a:close/>
                      </a:path>
                    </a:pathLst>
                  </a:custGeom>
                  <a:grpFill/>
                  <a:ln w="1649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s-ES_tradnl" sz="2400"/>
                  </a:p>
                </p:txBody>
              </p:sp>
              <p:sp>
                <p:nvSpPr>
                  <p:cNvPr id="226" name="Forma libre 225">
                    <a:extLst>
                      <a:ext uri="{FF2B5EF4-FFF2-40B4-BE49-F238E27FC236}">
                        <a16:creationId xmlns:a16="http://schemas.microsoft.com/office/drawing/2014/main" id="{EC682FC9-93F3-1941-8B1A-77B8DFFDED8C}"/>
                      </a:ext>
                    </a:extLst>
                  </p:cNvPr>
                  <p:cNvSpPr/>
                  <p:nvPr/>
                </p:nvSpPr>
                <p:spPr>
                  <a:xfrm>
                    <a:off x="6007653" y="3295083"/>
                    <a:ext cx="242010" cy="343765"/>
                  </a:xfrm>
                  <a:custGeom>
                    <a:avLst/>
                    <a:gdLst>
                      <a:gd name="connsiteX0" fmla="*/ 34036 w 242010"/>
                      <a:gd name="connsiteY0" fmla="*/ 237444 h 343765"/>
                      <a:gd name="connsiteX1" fmla="*/ 39161 w 242010"/>
                      <a:gd name="connsiteY1" fmla="*/ 248606 h 343765"/>
                      <a:gd name="connsiteX2" fmla="*/ 43885 w 242010"/>
                      <a:gd name="connsiteY2" fmla="*/ 249668 h 343765"/>
                      <a:gd name="connsiteX3" fmla="*/ 50401 w 242010"/>
                      <a:gd name="connsiteY3" fmla="*/ 251057 h 343765"/>
                      <a:gd name="connsiteX4" fmla="*/ 59017 w 242010"/>
                      <a:gd name="connsiteY4" fmla="*/ 256569 h 343765"/>
                      <a:gd name="connsiteX5" fmla="*/ 65789 w 242010"/>
                      <a:gd name="connsiteY5" fmla="*/ 260344 h 343765"/>
                      <a:gd name="connsiteX6" fmla="*/ 68188 w 242010"/>
                      <a:gd name="connsiteY6" fmla="*/ 259633 h 343765"/>
                      <a:gd name="connsiteX7" fmla="*/ 73529 w 242010"/>
                      <a:gd name="connsiteY7" fmla="*/ 258300 h 343765"/>
                      <a:gd name="connsiteX8" fmla="*/ 88621 w 242010"/>
                      <a:gd name="connsiteY8" fmla="*/ 266762 h 343765"/>
                      <a:gd name="connsiteX9" fmla="*/ 89508 w 242010"/>
                      <a:gd name="connsiteY9" fmla="*/ 267741 h 343765"/>
                      <a:gd name="connsiteX10" fmla="*/ 116118 w 242010"/>
                      <a:gd name="connsiteY10" fmla="*/ 259543 h 343765"/>
                      <a:gd name="connsiteX11" fmla="*/ 143411 w 242010"/>
                      <a:gd name="connsiteY11" fmla="*/ 274645 h 343765"/>
                      <a:gd name="connsiteX12" fmla="*/ 149005 w 242010"/>
                      <a:gd name="connsiteY12" fmla="*/ 285339 h 343765"/>
                      <a:gd name="connsiteX13" fmla="*/ 157211 w 242010"/>
                      <a:gd name="connsiteY13" fmla="*/ 298257 h 343765"/>
                      <a:gd name="connsiteX14" fmla="*/ 167014 w 242010"/>
                      <a:gd name="connsiteY14" fmla="*/ 303355 h 343765"/>
                      <a:gd name="connsiteX15" fmla="*/ 184983 w 242010"/>
                      <a:gd name="connsiteY15" fmla="*/ 320597 h 343765"/>
                      <a:gd name="connsiteX16" fmla="*/ 184930 w 242010"/>
                      <a:gd name="connsiteY16" fmla="*/ 325861 h 343765"/>
                      <a:gd name="connsiteX17" fmla="*/ 184914 w 242010"/>
                      <a:gd name="connsiteY17" fmla="*/ 329357 h 343765"/>
                      <a:gd name="connsiteX18" fmla="*/ 189279 w 242010"/>
                      <a:gd name="connsiteY18" fmla="*/ 334765 h 343765"/>
                      <a:gd name="connsiteX19" fmla="*/ 195893 w 242010"/>
                      <a:gd name="connsiteY19" fmla="*/ 343766 h 343765"/>
                      <a:gd name="connsiteX20" fmla="*/ 212835 w 242010"/>
                      <a:gd name="connsiteY20" fmla="*/ 334206 h 343765"/>
                      <a:gd name="connsiteX21" fmla="*/ 226174 w 242010"/>
                      <a:gd name="connsiteY21" fmla="*/ 326634 h 343765"/>
                      <a:gd name="connsiteX22" fmla="*/ 220979 w 242010"/>
                      <a:gd name="connsiteY22" fmla="*/ 324980 h 343765"/>
                      <a:gd name="connsiteX23" fmla="*/ 214970 w 242010"/>
                      <a:gd name="connsiteY23" fmla="*/ 323764 h 343765"/>
                      <a:gd name="connsiteX24" fmla="*/ 236563 w 242010"/>
                      <a:gd name="connsiteY24" fmla="*/ 263778 h 343765"/>
                      <a:gd name="connsiteX25" fmla="*/ 236813 w 242010"/>
                      <a:gd name="connsiteY25" fmla="*/ 224277 h 343765"/>
                      <a:gd name="connsiteX26" fmla="*/ 231090 w 242010"/>
                      <a:gd name="connsiteY26" fmla="*/ 219654 h 343765"/>
                      <a:gd name="connsiteX27" fmla="*/ 219924 w 242010"/>
                      <a:gd name="connsiteY27" fmla="*/ 207791 h 343765"/>
                      <a:gd name="connsiteX28" fmla="*/ 226767 w 242010"/>
                      <a:gd name="connsiteY28" fmla="*/ 180964 h 343765"/>
                      <a:gd name="connsiteX29" fmla="*/ 230963 w 242010"/>
                      <a:gd name="connsiteY29" fmla="*/ 176338 h 343765"/>
                      <a:gd name="connsiteX30" fmla="*/ 239858 w 242010"/>
                      <a:gd name="connsiteY30" fmla="*/ 164119 h 343765"/>
                      <a:gd name="connsiteX31" fmla="*/ 238952 w 242010"/>
                      <a:gd name="connsiteY31" fmla="*/ 155055 h 343765"/>
                      <a:gd name="connsiteX32" fmla="*/ 235843 w 242010"/>
                      <a:gd name="connsiteY32" fmla="*/ 152855 h 343765"/>
                      <a:gd name="connsiteX33" fmla="*/ 236518 w 242010"/>
                      <a:gd name="connsiteY33" fmla="*/ 145852 h 343765"/>
                      <a:gd name="connsiteX34" fmla="*/ 216452 w 242010"/>
                      <a:gd name="connsiteY34" fmla="*/ 131166 h 343765"/>
                      <a:gd name="connsiteX35" fmla="*/ 201810 w 242010"/>
                      <a:gd name="connsiteY35" fmla="*/ 127615 h 343765"/>
                      <a:gd name="connsiteX36" fmla="*/ 162088 w 242010"/>
                      <a:gd name="connsiteY36" fmla="*/ 119981 h 343765"/>
                      <a:gd name="connsiteX37" fmla="*/ 114070 w 242010"/>
                      <a:gd name="connsiteY37" fmla="*/ 50440 h 343765"/>
                      <a:gd name="connsiteX38" fmla="*/ 97416 w 242010"/>
                      <a:gd name="connsiteY38" fmla="*/ 3017 h 343765"/>
                      <a:gd name="connsiteX39" fmla="*/ 7984 w 242010"/>
                      <a:gd name="connsiteY39" fmla="*/ 12289 h 343765"/>
                      <a:gd name="connsiteX40" fmla="*/ 8530 w 242010"/>
                      <a:gd name="connsiteY40" fmla="*/ 12465 h 343765"/>
                      <a:gd name="connsiteX41" fmla="*/ 2303 w 242010"/>
                      <a:gd name="connsiteY41" fmla="*/ 68137 h 343765"/>
                      <a:gd name="connsiteX42" fmla="*/ 7931 w 242010"/>
                      <a:gd name="connsiteY42" fmla="*/ 80941 h 343765"/>
                      <a:gd name="connsiteX43" fmla="*/ 15933 w 242010"/>
                      <a:gd name="connsiteY43" fmla="*/ 103241 h 343765"/>
                      <a:gd name="connsiteX44" fmla="*/ 12954 w 242010"/>
                      <a:gd name="connsiteY44" fmla="*/ 128140 h 343765"/>
                      <a:gd name="connsiteX45" fmla="*/ 10247 w 242010"/>
                      <a:gd name="connsiteY45" fmla="*/ 149426 h 343765"/>
                      <a:gd name="connsiteX46" fmla="*/ 19891 w 242010"/>
                      <a:gd name="connsiteY46" fmla="*/ 171922 h 343765"/>
                      <a:gd name="connsiteX47" fmla="*/ 30447 w 242010"/>
                      <a:gd name="connsiteY47" fmla="*/ 205922 h 343765"/>
                      <a:gd name="connsiteX48" fmla="*/ 24374 w 242010"/>
                      <a:gd name="connsiteY48" fmla="*/ 220978 h 343765"/>
                      <a:gd name="connsiteX49" fmla="*/ 33484 w 242010"/>
                      <a:gd name="connsiteY49" fmla="*/ 235088 h 343765"/>
                      <a:gd name="connsiteX50" fmla="*/ 34036 w 242010"/>
                      <a:gd name="connsiteY50" fmla="*/ 237444 h 34376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  <a:cxn ang="0">
                        <a:pos x="connsiteX25" y="connsiteY25"/>
                      </a:cxn>
                      <a:cxn ang="0">
                        <a:pos x="connsiteX26" y="connsiteY26"/>
                      </a:cxn>
                      <a:cxn ang="0">
                        <a:pos x="connsiteX27" y="connsiteY27"/>
                      </a:cxn>
                      <a:cxn ang="0">
                        <a:pos x="connsiteX28" y="connsiteY28"/>
                      </a:cxn>
                      <a:cxn ang="0">
                        <a:pos x="connsiteX29" y="connsiteY29"/>
                      </a:cxn>
                      <a:cxn ang="0">
                        <a:pos x="connsiteX30" y="connsiteY30"/>
                      </a:cxn>
                      <a:cxn ang="0">
                        <a:pos x="connsiteX31" y="connsiteY31"/>
                      </a:cxn>
                      <a:cxn ang="0">
                        <a:pos x="connsiteX32" y="connsiteY32"/>
                      </a:cxn>
                      <a:cxn ang="0">
                        <a:pos x="connsiteX33" y="connsiteY33"/>
                      </a:cxn>
                      <a:cxn ang="0">
                        <a:pos x="connsiteX34" y="connsiteY34"/>
                      </a:cxn>
                      <a:cxn ang="0">
                        <a:pos x="connsiteX35" y="connsiteY35"/>
                      </a:cxn>
                      <a:cxn ang="0">
                        <a:pos x="connsiteX36" y="connsiteY36"/>
                      </a:cxn>
                      <a:cxn ang="0">
                        <a:pos x="connsiteX37" y="connsiteY37"/>
                      </a:cxn>
                      <a:cxn ang="0">
                        <a:pos x="connsiteX38" y="connsiteY38"/>
                      </a:cxn>
                      <a:cxn ang="0">
                        <a:pos x="connsiteX39" y="connsiteY39"/>
                      </a:cxn>
                      <a:cxn ang="0">
                        <a:pos x="connsiteX40" y="connsiteY40"/>
                      </a:cxn>
                      <a:cxn ang="0">
                        <a:pos x="connsiteX41" y="connsiteY41"/>
                      </a:cxn>
                      <a:cxn ang="0">
                        <a:pos x="connsiteX42" y="connsiteY42"/>
                      </a:cxn>
                      <a:cxn ang="0">
                        <a:pos x="connsiteX43" y="connsiteY43"/>
                      </a:cxn>
                      <a:cxn ang="0">
                        <a:pos x="connsiteX44" y="connsiteY44"/>
                      </a:cxn>
                      <a:cxn ang="0">
                        <a:pos x="connsiteX45" y="connsiteY45"/>
                      </a:cxn>
                      <a:cxn ang="0">
                        <a:pos x="connsiteX46" y="connsiteY46"/>
                      </a:cxn>
                      <a:cxn ang="0">
                        <a:pos x="connsiteX47" y="connsiteY47"/>
                      </a:cxn>
                      <a:cxn ang="0">
                        <a:pos x="connsiteX48" y="connsiteY48"/>
                      </a:cxn>
                      <a:cxn ang="0">
                        <a:pos x="connsiteX49" y="connsiteY49"/>
                      </a:cxn>
                      <a:cxn ang="0">
                        <a:pos x="connsiteX50" y="connsiteY50"/>
                      </a:cxn>
                    </a:cxnLst>
                    <a:rect l="l" t="t" r="r" b="b"/>
                    <a:pathLst>
                      <a:path w="242010" h="343765">
                        <a:moveTo>
                          <a:pt x="34036" y="237444"/>
                        </a:moveTo>
                        <a:cubicBezTo>
                          <a:pt x="35111" y="242172"/>
                          <a:pt x="36222" y="247055"/>
                          <a:pt x="39161" y="248606"/>
                        </a:cubicBezTo>
                        <a:cubicBezTo>
                          <a:pt x="40314" y="249208"/>
                          <a:pt x="41970" y="249422"/>
                          <a:pt x="43885" y="249668"/>
                        </a:cubicBezTo>
                        <a:cubicBezTo>
                          <a:pt x="45874" y="249922"/>
                          <a:pt x="48130" y="250215"/>
                          <a:pt x="50401" y="251057"/>
                        </a:cubicBezTo>
                        <a:cubicBezTo>
                          <a:pt x="53817" y="252334"/>
                          <a:pt x="56582" y="254590"/>
                          <a:pt x="59017" y="256569"/>
                        </a:cubicBezTo>
                        <a:cubicBezTo>
                          <a:pt x="62046" y="259048"/>
                          <a:pt x="64012" y="260492"/>
                          <a:pt x="65789" y="260344"/>
                        </a:cubicBezTo>
                        <a:cubicBezTo>
                          <a:pt x="66394" y="260288"/>
                          <a:pt x="67266" y="259972"/>
                          <a:pt x="68188" y="259633"/>
                        </a:cubicBezTo>
                        <a:cubicBezTo>
                          <a:pt x="69636" y="259106"/>
                          <a:pt x="71443" y="258450"/>
                          <a:pt x="73529" y="258300"/>
                        </a:cubicBezTo>
                        <a:cubicBezTo>
                          <a:pt x="80683" y="257790"/>
                          <a:pt x="85055" y="262764"/>
                          <a:pt x="88621" y="266762"/>
                        </a:cubicBezTo>
                        <a:cubicBezTo>
                          <a:pt x="88923" y="267096"/>
                          <a:pt x="89211" y="267415"/>
                          <a:pt x="89508" y="267741"/>
                        </a:cubicBezTo>
                        <a:cubicBezTo>
                          <a:pt x="96584" y="261798"/>
                          <a:pt x="106067" y="258702"/>
                          <a:pt x="116118" y="259543"/>
                        </a:cubicBezTo>
                        <a:cubicBezTo>
                          <a:pt x="127583" y="260479"/>
                          <a:pt x="137532" y="265980"/>
                          <a:pt x="143411" y="274645"/>
                        </a:cubicBezTo>
                        <a:cubicBezTo>
                          <a:pt x="145732" y="278073"/>
                          <a:pt x="147396" y="281772"/>
                          <a:pt x="149005" y="285339"/>
                        </a:cubicBezTo>
                        <a:cubicBezTo>
                          <a:pt x="151318" y="290471"/>
                          <a:pt x="153497" y="295306"/>
                          <a:pt x="157211" y="298257"/>
                        </a:cubicBezTo>
                        <a:cubicBezTo>
                          <a:pt x="159750" y="300277"/>
                          <a:pt x="163444" y="301842"/>
                          <a:pt x="167014" y="303355"/>
                        </a:cubicBezTo>
                        <a:cubicBezTo>
                          <a:pt x="174463" y="306528"/>
                          <a:pt x="183740" y="310462"/>
                          <a:pt x="184983" y="320597"/>
                        </a:cubicBezTo>
                        <a:cubicBezTo>
                          <a:pt x="185217" y="322531"/>
                          <a:pt x="185064" y="324300"/>
                          <a:pt x="184930" y="325861"/>
                        </a:cubicBezTo>
                        <a:cubicBezTo>
                          <a:pt x="184818" y="327228"/>
                          <a:pt x="184701" y="328510"/>
                          <a:pt x="184914" y="329357"/>
                        </a:cubicBezTo>
                        <a:cubicBezTo>
                          <a:pt x="185330" y="330988"/>
                          <a:pt x="187342" y="332907"/>
                          <a:pt x="189279" y="334765"/>
                        </a:cubicBezTo>
                        <a:cubicBezTo>
                          <a:pt x="191684" y="337065"/>
                          <a:pt x="194704" y="339950"/>
                          <a:pt x="195893" y="343766"/>
                        </a:cubicBezTo>
                        <a:cubicBezTo>
                          <a:pt x="201404" y="343373"/>
                          <a:pt x="207418" y="338550"/>
                          <a:pt x="212835" y="334206"/>
                        </a:cubicBezTo>
                        <a:cubicBezTo>
                          <a:pt x="216803" y="331034"/>
                          <a:pt x="221439" y="328291"/>
                          <a:pt x="226174" y="326634"/>
                        </a:cubicBezTo>
                        <a:cubicBezTo>
                          <a:pt x="224510" y="325904"/>
                          <a:pt x="222782" y="325345"/>
                          <a:pt x="220979" y="324980"/>
                        </a:cubicBezTo>
                        <a:lnTo>
                          <a:pt x="214970" y="323764"/>
                        </a:lnTo>
                        <a:lnTo>
                          <a:pt x="236563" y="263778"/>
                        </a:lnTo>
                        <a:cubicBezTo>
                          <a:pt x="241395" y="250327"/>
                          <a:pt x="245801" y="233684"/>
                          <a:pt x="236813" y="224277"/>
                        </a:cubicBezTo>
                        <a:cubicBezTo>
                          <a:pt x="235262" y="222654"/>
                          <a:pt x="233233" y="221199"/>
                          <a:pt x="231090" y="219654"/>
                        </a:cubicBezTo>
                        <a:cubicBezTo>
                          <a:pt x="226983" y="216707"/>
                          <a:pt x="222313" y="213358"/>
                          <a:pt x="219924" y="207791"/>
                        </a:cubicBezTo>
                        <a:cubicBezTo>
                          <a:pt x="216515" y="199854"/>
                          <a:pt x="219004" y="190071"/>
                          <a:pt x="226767" y="180964"/>
                        </a:cubicBezTo>
                        <a:cubicBezTo>
                          <a:pt x="228109" y="179391"/>
                          <a:pt x="229537" y="177870"/>
                          <a:pt x="230963" y="176338"/>
                        </a:cubicBezTo>
                        <a:cubicBezTo>
                          <a:pt x="234707" y="172337"/>
                          <a:pt x="238248" y="168557"/>
                          <a:pt x="239858" y="164119"/>
                        </a:cubicBezTo>
                        <a:cubicBezTo>
                          <a:pt x="240902" y="161277"/>
                          <a:pt x="240521" y="157546"/>
                          <a:pt x="238952" y="155055"/>
                        </a:cubicBezTo>
                        <a:cubicBezTo>
                          <a:pt x="238113" y="153717"/>
                          <a:pt x="237062" y="152980"/>
                          <a:pt x="235843" y="152855"/>
                        </a:cubicBezTo>
                        <a:lnTo>
                          <a:pt x="236518" y="145852"/>
                        </a:lnTo>
                        <a:cubicBezTo>
                          <a:pt x="231198" y="139251"/>
                          <a:pt x="224363" y="133964"/>
                          <a:pt x="216452" y="131166"/>
                        </a:cubicBezTo>
                        <a:cubicBezTo>
                          <a:pt x="211796" y="129526"/>
                          <a:pt x="206721" y="128561"/>
                          <a:pt x="201810" y="127615"/>
                        </a:cubicBezTo>
                        <a:lnTo>
                          <a:pt x="162088" y="119981"/>
                        </a:lnTo>
                        <a:lnTo>
                          <a:pt x="114070" y="50440"/>
                        </a:lnTo>
                        <a:cubicBezTo>
                          <a:pt x="101472" y="32192"/>
                          <a:pt x="95967" y="16031"/>
                          <a:pt x="97416" y="3017"/>
                        </a:cubicBezTo>
                        <a:cubicBezTo>
                          <a:pt x="67589" y="-3155"/>
                          <a:pt x="35965" y="243"/>
                          <a:pt x="7984" y="12289"/>
                        </a:cubicBezTo>
                        <a:lnTo>
                          <a:pt x="8530" y="12465"/>
                        </a:lnTo>
                        <a:cubicBezTo>
                          <a:pt x="1909" y="32942"/>
                          <a:pt x="-3131" y="51266"/>
                          <a:pt x="2303" y="68137"/>
                        </a:cubicBezTo>
                        <a:cubicBezTo>
                          <a:pt x="3684" y="72420"/>
                          <a:pt x="5748" y="76561"/>
                          <a:pt x="7931" y="80941"/>
                        </a:cubicBezTo>
                        <a:cubicBezTo>
                          <a:pt x="11381" y="87865"/>
                          <a:pt x="14945" y="95017"/>
                          <a:pt x="15933" y="103241"/>
                        </a:cubicBezTo>
                        <a:cubicBezTo>
                          <a:pt x="16965" y="111913"/>
                          <a:pt x="14927" y="120160"/>
                          <a:pt x="12954" y="128140"/>
                        </a:cubicBezTo>
                        <a:cubicBezTo>
                          <a:pt x="11117" y="135591"/>
                          <a:pt x="9380" y="142616"/>
                          <a:pt x="10247" y="149426"/>
                        </a:cubicBezTo>
                        <a:cubicBezTo>
                          <a:pt x="11227" y="157083"/>
                          <a:pt x="15432" y="164292"/>
                          <a:pt x="19891" y="171922"/>
                        </a:cubicBezTo>
                        <a:cubicBezTo>
                          <a:pt x="25973" y="182352"/>
                          <a:pt x="32265" y="193124"/>
                          <a:pt x="30447" y="205922"/>
                        </a:cubicBezTo>
                        <a:cubicBezTo>
                          <a:pt x="29659" y="211446"/>
                          <a:pt x="27321" y="216380"/>
                          <a:pt x="24374" y="220978"/>
                        </a:cubicBezTo>
                        <a:cubicBezTo>
                          <a:pt x="29324" y="224219"/>
                          <a:pt x="32338" y="230325"/>
                          <a:pt x="33484" y="235088"/>
                        </a:cubicBezTo>
                        <a:lnTo>
                          <a:pt x="34036" y="237444"/>
                        </a:lnTo>
                        <a:close/>
                      </a:path>
                    </a:pathLst>
                  </a:custGeom>
                  <a:grpFill/>
                  <a:ln w="1649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s-ES_tradnl" sz="2400"/>
                  </a:p>
                </p:txBody>
              </p:sp>
            </p:grpSp>
            <p:grpSp>
              <p:nvGrpSpPr>
                <p:cNvPr id="209" name="Gráfico 16">
                  <a:extLst>
                    <a:ext uri="{FF2B5EF4-FFF2-40B4-BE49-F238E27FC236}">
                      <a16:creationId xmlns:a16="http://schemas.microsoft.com/office/drawing/2014/main" id="{27114789-28E3-4042-A16F-C13B26D01759}"/>
                    </a:ext>
                  </a:extLst>
                </p:cNvPr>
                <p:cNvGrpSpPr/>
                <p:nvPr/>
              </p:nvGrpSpPr>
              <p:grpSpPr>
                <a:xfrm>
                  <a:off x="4018760" y="2769819"/>
                  <a:ext cx="1944149" cy="1222690"/>
                  <a:chOff x="4018760" y="2769819"/>
                  <a:chExt cx="1944149" cy="1222690"/>
                </a:xfrm>
                <a:grpFill/>
              </p:grpSpPr>
              <p:sp>
                <p:nvSpPr>
                  <p:cNvPr id="217" name="Forma libre 216">
                    <a:extLst>
                      <a:ext uri="{FF2B5EF4-FFF2-40B4-BE49-F238E27FC236}">
                        <a16:creationId xmlns:a16="http://schemas.microsoft.com/office/drawing/2014/main" id="{C0D8A000-29D7-FD4C-B000-C57D351CCF79}"/>
                      </a:ext>
                    </a:extLst>
                  </p:cNvPr>
                  <p:cNvSpPr/>
                  <p:nvPr/>
                </p:nvSpPr>
                <p:spPr>
                  <a:xfrm>
                    <a:off x="4018760" y="3197385"/>
                    <a:ext cx="916049" cy="697893"/>
                  </a:xfrm>
                  <a:custGeom>
                    <a:avLst/>
                    <a:gdLst>
                      <a:gd name="connsiteX0" fmla="*/ 914592 w 916049"/>
                      <a:gd name="connsiteY0" fmla="*/ 317185 h 697893"/>
                      <a:gd name="connsiteX1" fmla="*/ 896255 w 916049"/>
                      <a:gd name="connsiteY1" fmla="*/ 305502 h 697893"/>
                      <a:gd name="connsiteX2" fmla="*/ 889242 w 916049"/>
                      <a:gd name="connsiteY2" fmla="*/ 305284 h 697893"/>
                      <a:gd name="connsiteX3" fmla="*/ 862953 w 916049"/>
                      <a:gd name="connsiteY3" fmla="*/ 299504 h 697893"/>
                      <a:gd name="connsiteX4" fmla="*/ 860843 w 916049"/>
                      <a:gd name="connsiteY4" fmla="*/ 298062 h 697893"/>
                      <a:gd name="connsiteX5" fmla="*/ 859799 w 916049"/>
                      <a:gd name="connsiteY5" fmla="*/ 283144 h 697893"/>
                      <a:gd name="connsiteX6" fmla="*/ 845495 w 916049"/>
                      <a:gd name="connsiteY6" fmla="*/ 287946 h 697893"/>
                      <a:gd name="connsiteX7" fmla="*/ 817659 w 916049"/>
                      <a:gd name="connsiteY7" fmla="*/ 297185 h 697893"/>
                      <a:gd name="connsiteX8" fmla="*/ 812683 w 916049"/>
                      <a:gd name="connsiteY8" fmla="*/ 295164 h 697893"/>
                      <a:gd name="connsiteX9" fmla="*/ 814774 w 916049"/>
                      <a:gd name="connsiteY9" fmla="*/ 290213 h 697893"/>
                      <a:gd name="connsiteX10" fmla="*/ 815140 w 916049"/>
                      <a:gd name="connsiteY10" fmla="*/ 263287 h 697893"/>
                      <a:gd name="connsiteX11" fmla="*/ 729908 w 916049"/>
                      <a:gd name="connsiteY11" fmla="*/ 249322 h 697893"/>
                      <a:gd name="connsiteX12" fmla="*/ 683966 w 916049"/>
                      <a:gd name="connsiteY12" fmla="*/ 207384 h 697893"/>
                      <a:gd name="connsiteX13" fmla="*/ 679516 w 916049"/>
                      <a:gd name="connsiteY13" fmla="*/ 201583 h 697893"/>
                      <a:gd name="connsiteX14" fmla="*/ 673675 w 916049"/>
                      <a:gd name="connsiteY14" fmla="*/ 200698 h 697893"/>
                      <a:gd name="connsiteX15" fmla="*/ 642279 w 916049"/>
                      <a:gd name="connsiteY15" fmla="*/ 199867 h 697893"/>
                      <a:gd name="connsiteX16" fmla="*/ 642249 w 916049"/>
                      <a:gd name="connsiteY16" fmla="*/ 194737 h 697893"/>
                      <a:gd name="connsiteX17" fmla="*/ 592886 w 916049"/>
                      <a:gd name="connsiteY17" fmla="*/ 143257 h 697893"/>
                      <a:gd name="connsiteX18" fmla="*/ 596028 w 916049"/>
                      <a:gd name="connsiteY18" fmla="*/ 136838 h 697893"/>
                      <a:gd name="connsiteX19" fmla="*/ 560138 w 916049"/>
                      <a:gd name="connsiteY19" fmla="*/ 127329 h 697893"/>
                      <a:gd name="connsiteX20" fmla="*/ 504332 w 916049"/>
                      <a:gd name="connsiteY20" fmla="*/ 99437 h 697893"/>
                      <a:gd name="connsiteX21" fmla="*/ 483429 w 916049"/>
                      <a:gd name="connsiteY21" fmla="*/ 90123 h 697893"/>
                      <a:gd name="connsiteX22" fmla="*/ 435678 w 916049"/>
                      <a:gd name="connsiteY22" fmla="*/ 97450 h 697893"/>
                      <a:gd name="connsiteX23" fmla="*/ 412118 w 916049"/>
                      <a:gd name="connsiteY23" fmla="*/ 61086 h 697893"/>
                      <a:gd name="connsiteX24" fmla="*/ 357294 w 916049"/>
                      <a:gd name="connsiteY24" fmla="*/ 56775 h 697893"/>
                      <a:gd name="connsiteX25" fmla="*/ 319039 w 916049"/>
                      <a:gd name="connsiteY25" fmla="*/ 40897 h 697893"/>
                      <a:gd name="connsiteX26" fmla="*/ 301701 w 916049"/>
                      <a:gd name="connsiteY26" fmla="*/ 39815 h 697893"/>
                      <a:gd name="connsiteX27" fmla="*/ 292781 w 916049"/>
                      <a:gd name="connsiteY27" fmla="*/ 22110 h 697893"/>
                      <a:gd name="connsiteX28" fmla="*/ 260627 w 916049"/>
                      <a:gd name="connsiteY28" fmla="*/ 16 h 697893"/>
                      <a:gd name="connsiteX29" fmla="*/ 237068 w 916049"/>
                      <a:gd name="connsiteY29" fmla="*/ 27507 h 697893"/>
                      <a:gd name="connsiteX30" fmla="*/ 162768 w 916049"/>
                      <a:gd name="connsiteY30" fmla="*/ 24944 h 697893"/>
                      <a:gd name="connsiteX31" fmla="*/ 176534 w 916049"/>
                      <a:gd name="connsiteY31" fmla="*/ 68258 h 697893"/>
                      <a:gd name="connsiteX32" fmla="*/ 150861 w 916049"/>
                      <a:gd name="connsiteY32" fmla="*/ 101453 h 697893"/>
                      <a:gd name="connsiteX33" fmla="*/ 112941 w 916049"/>
                      <a:gd name="connsiteY33" fmla="*/ 226061 h 697893"/>
                      <a:gd name="connsiteX34" fmla="*/ 61770 w 916049"/>
                      <a:gd name="connsiteY34" fmla="*/ 309246 h 697893"/>
                      <a:gd name="connsiteX35" fmla="*/ 13718 w 916049"/>
                      <a:gd name="connsiteY35" fmla="*/ 366887 h 697893"/>
                      <a:gd name="connsiteX36" fmla="*/ 44216 w 916049"/>
                      <a:gd name="connsiteY36" fmla="*/ 396931 h 697893"/>
                      <a:gd name="connsiteX37" fmla="*/ 38392 w 916049"/>
                      <a:gd name="connsiteY37" fmla="*/ 417580 h 697893"/>
                      <a:gd name="connsiteX38" fmla="*/ 4311 w 916049"/>
                      <a:gd name="connsiteY38" fmla="*/ 489121 h 697893"/>
                      <a:gd name="connsiteX39" fmla="*/ 2292 w 916049"/>
                      <a:gd name="connsiteY39" fmla="*/ 511435 h 697893"/>
                      <a:gd name="connsiteX40" fmla="*/ 8380 w 916049"/>
                      <a:gd name="connsiteY40" fmla="*/ 516550 h 697893"/>
                      <a:gd name="connsiteX41" fmla="*/ 76528 w 916049"/>
                      <a:gd name="connsiteY41" fmla="*/ 549844 h 697893"/>
                      <a:gd name="connsiteX42" fmla="*/ 89830 w 916049"/>
                      <a:gd name="connsiteY42" fmla="*/ 551913 h 697893"/>
                      <a:gd name="connsiteX43" fmla="*/ 82034 w 916049"/>
                      <a:gd name="connsiteY43" fmla="*/ 536738 h 697893"/>
                      <a:gd name="connsiteX44" fmla="*/ 92015 w 916049"/>
                      <a:gd name="connsiteY44" fmla="*/ 504901 h 697893"/>
                      <a:gd name="connsiteX45" fmla="*/ 138389 w 916049"/>
                      <a:gd name="connsiteY45" fmla="*/ 487901 h 697893"/>
                      <a:gd name="connsiteX46" fmla="*/ 136692 w 916049"/>
                      <a:gd name="connsiteY46" fmla="*/ 476764 h 697893"/>
                      <a:gd name="connsiteX47" fmla="*/ 126204 w 916049"/>
                      <a:gd name="connsiteY47" fmla="*/ 467245 h 697893"/>
                      <a:gd name="connsiteX48" fmla="*/ 115009 w 916049"/>
                      <a:gd name="connsiteY48" fmla="*/ 463864 h 697893"/>
                      <a:gd name="connsiteX49" fmla="*/ 124945 w 916049"/>
                      <a:gd name="connsiteY49" fmla="*/ 457677 h 697893"/>
                      <a:gd name="connsiteX50" fmla="*/ 158326 w 916049"/>
                      <a:gd name="connsiteY50" fmla="*/ 370628 h 697893"/>
                      <a:gd name="connsiteX51" fmla="*/ 155816 w 916049"/>
                      <a:gd name="connsiteY51" fmla="*/ 361958 h 697893"/>
                      <a:gd name="connsiteX52" fmla="*/ 185903 w 916049"/>
                      <a:gd name="connsiteY52" fmla="*/ 368922 h 697893"/>
                      <a:gd name="connsiteX53" fmla="*/ 188432 w 916049"/>
                      <a:gd name="connsiteY53" fmla="*/ 357298 h 697893"/>
                      <a:gd name="connsiteX54" fmla="*/ 194039 w 916049"/>
                      <a:gd name="connsiteY54" fmla="*/ 337914 h 697893"/>
                      <a:gd name="connsiteX55" fmla="*/ 203752 w 916049"/>
                      <a:gd name="connsiteY55" fmla="*/ 331221 h 697893"/>
                      <a:gd name="connsiteX56" fmla="*/ 207013 w 916049"/>
                      <a:gd name="connsiteY56" fmla="*/ 329533 h 697893"/>
                      <a:gd name="connsiteX57" fmla="*/ 225861 w 916049"/>
                      <a:gd name="connsiteY57" fmla="*/ 279566 h 697893"/>
                      <a:gd name="connsiteX58" fmla="*/ 257393 w 916049"/>
                      <a:gd name="connsiteY58" fmla="*/ 225237 h 697893"/>
                      <a:gd name="connsiteX59" fmla="*/ 276777 w 916049"/>
                      <a:gd name="connsiteY59" fmla="*/ 224503 h 697893"/>
                      <a:gd name="connsiteX60" fmla="*/ 285679 w 916049"/>
                      <a:gd name="connsiteY60" fmla="*/ 224943 h 697893"/>
                      <a:gd name="connsiteX61" fmla="*/ 302033 w 916049"/>
                      <a:gd name="connsiteY61" fmla="*/ 216061 h 697893"/>
                      <a:gd name="connsiteX62" fmla="*/ 297140 w 916049"/>
                      <a:gd name="connsiteY62" fmla="*/ 201699 h 697893"/>
                      <a:gd name="connsiteX63" fmla="*/ 275474 w 916049"/>
                      <a:gd name="connsiteY63" fmla="*/ 177968 h 697893"/>
                      <a:gd name="connsiteX64" fmla="*/ 261770 w 916049"/>
                      <a:gd name="connsiteY64" fmla="*/ 174575 h 697893"/>
                      <a:gd name="connsiteX65" fmla="*/ 256318 w 916049"/>
                      <a:gd name="connsiteY65" fmla="*/ 173633 h 697893"/>
                      <a:gd name="connsiteX66" fmla="*/ 160527 w 916049"/>
                      <a:gd name="connsiteY66" fmla="*/ 101929 h 697893"/>
                      <a:gd name="connsiteX67" fmla="*/ 168636 w 916049"/>
                      <a:gd name="connsiteY67" fmla="*/ 95124 h 697893"/>
                      <a:gd name="connsiteX68" fmla="*/ 258324 w 916049"/>
                      <a:gd name="connsiteY68" fmla="*/ 163233 h 697893"/>
                      <a:gd name="connsiteX69" fmla="*/ 263466 w 916049"/>
                      <a:gd name="connsiteY69" fmla="*/ 164115 h 697893"/>
                      <a:gd name="connsiteX70" fmla="*/ 279804 w 916049"/>
                      <a:gd name="connsiteY70" fmla="*/ 168295 h 697893"/>
                      <a:gd name="connsiteX71" fmla="*/ 306170 w 916049"/>
                      <a:gd name="connsiteY71" fmla="*/ 196158 h 697893"/>
                      <a:gd name="connsiteX72" fmla="*/ 312363 w 916049"/>
                      <a:gd name="connsiteY72" fmla="*/ 218379 h 697893"/>
                      <a:gd name="connsiteX73" fmla="*/ 285821 w 916049"/>
                      <a:gd name="connsiteY73" fmla="*/ 235529 h 697893"/>
                      <a:gd name="connsiteX74" fmla="*/ 275935 w 916049"/>
                      <a:gd name="connsiteY74" fmla="*/ 235055 h 697893"/>
                      <a:gd name="connsiteX75" fmla="*/ 260123 w 916049"/>
                      <a:gd name="connsiteY75" fmla="*/ 235474 h 697893"/>
                      <a:gd name="connsiteX76" fmla="*/ 236417 w 916049"/>
                      <a:gd name="connsiteY76" fmla="*/ 280417 h 697893"/>
                      <a:gd name="connsiteX77" fmla="*/ 212305 w 916049"/>
                      <a:gd name="connsiteY77" fmla="*/ 338694 h 697893"/>
                      <a:gd name="connsiteX78" fmla="*/ 208431 w 916049"/>
                      <a:gd name="connsiteY78" fmla="*/ 340720 h 697893"/>
                      <a:gd name="connsiteX79" fmla="*/ 202084 w 916049"/>
                      <a:gd name="connsiteY79" fmla="*/ 344803 h 697893"/>
                      <a:gd name="connsiteX80" fmla="*/ 199001 w 916049"/>
                      <a:gd name="connsiteY80" fmla="*/ 357941 h 697893"/>
                      <a:gd name="connsiteX81" fmla="*/ 189718 w 916049"/>
                      <a:gd name="connsiteY81" fmla="*/ 379266 h 697893"/>
                      <a:gd name="connsiteX82" fmla="*/ 187931 w 916049"/>
                      <a:gd name="connsiteY82" fmla="*/ 380262 h 697893"/>
                      <a:gd name="connsiteX83" fmla="*/ 170468 w 916049"/>
                      <a:gd name="connsiteY83" fmla="*/ 376213 h 697893"/>
                      <a:gd name="connsiteX84" fmla="*/ 137799 w 916049"/>
                      <a:gd name="connsiteY84" fmla="*/ 461571 h 697893"/>
                      <a:gd name="connsiteX85" fmla="*/ 146246 w 916049"/>
                      <a:gd name="connsiteY85" fmla="*/ 472190 h 697893"/>
                      <a:gd name="connsiteX86" fmla="*/ 147345 w 916049"/>
                      <a:gd name="connsiteY86" fmla="*/ 494876 h 697893"/>
                      <a:gd name="connsiteX87" fmla="*/ 146111 w 916049"/>
                      <a:gd name="connsiteY87" fmla="*/ 497926 h 697893"/>
                      <a:gd name="connsiteX88" fmla="*/ 142823 w 916049"/>
                      <a:gd name="connsiteY88" fmla="*/ 498167 h 697893"/>
                      <a:gd name="connsiteX89" fmla="*/ 99464 w 916049"/>
                      <a:gd name="connsiteY89" fmla="*/ 512424 h 697893"/>
                      <a:gd name="connsiteX90" fmla="*/ 92475 w 916049"/>
                      <a:gd name="connsiteY90" fmla="*/ 534973 h 697893"/>
                      <a:gd name="connsiteX91" fmla="*/ 100586 w 916049"/>
                      <a:gd name="connsiteY91" fmla="*/ 546806 h 697893"/>
                      <a:gd name="connsiteX92" fmla="*/ 97760 w 916049"/>
                      <a:gd name="connsiteY92" fmla="*/ 552695 h 697893"/>
                      <a:gd name="connsiteX93" fmla="*/ 127813 w 916049"/>
                      <a:gd name="connsiteY93" fmla="*/ 556841 h 697893"/>
                      <a:gd name="connsiteX94" fmla="*/ 165387 w 916049"/>
                      <a:gd name="connsiteY94" fmla="*/ 588580 h 697893"/>
                      <a:gd name="connsiteX95" fmla="*/ 164390 w 916049"/>
                      <a:gd name="connsiteY95" fmla="*/ 620274 h 697893"/>
                      <a:gd name="connsiteX96" fmla="*/ 192870 w 916049"/>
                      <a:gd name="connsiteY96" fmla="*/ 679294 h 697893"/>
                      <a:gd name="connsiteX97" fmla="*/ 260608 w 916049"/>
                      <a:gd name="connsiteY97" fmla="*/ 652589 h 697893"/>
                      <a:gd name="connsiteX98" fmla="*/ 278038 w 916049"/>
                      <a:gd name="connsiteY98" fmla="*/ 673742 h 697893"/>
                      <a:gd name="connsiteX99" fmla="*/ 288572 w 916049"/>
                      <a:gd name="connsiteY99" fmla="*/ 641456 h 697893"/>
                      <a:gd name="connsiteX100" fmla="*/ 317513 w 916049"/>
                      <a:gd name="connsiteY100" fmla="*/ 640279 h 697893"/>
                      <a:gd name="connsiteX101" fmla="*/ 340012 w 916049"/>
                      <a:gd name="connsiteY101" fmla="*/ 664477 h 697893"/>
                      <a:gd name="connsiteX102" fmla="*/ 369779 w 916049"/>
                      <a:gd name="connsiteY102" fmla="*/ 676173 h 697893"/>
                      <a:gd name="connsiteX103" fmla="*/ 463148 w 916049"/>
                      <a:gd name="connsiteY103" fmla="*/ 697893 h 697893"/>
                      <a:gd name="connsiteX104" fmla="*/ 479291 w 916049"/>
                      <a:gd name="connsiteY104" fmla="*/ 646460 h 697893"/>
                      <a:gd name="connsiteX105" fmla="*/ 533085 w 916049"/>
                      <a:gd name="connsiteY105" fmla="*/ 642950 h 697893"/>
                      <a:gd name="connsiteX106" fmla="*/ 548637 w 916049"/>
                      <a:gd name="connsiteY106" fmla="*/ 650388 h 697893"/>
                      <a:gd name="connsiteX107" fmla="*/ 569915 w 916049"/>
                      <a:gd name="connsiteY107" fmla="*/ 627093 h 697893"/>
                      <a:gd name="connsiteX108" fmla="*/ 581806 w 916049"/>
                      <a:gd name="connsiteY108" fmla="*/ 595399 h 697893"/>
                      <a:gd name="connsiteX109" fmla="*/ 640991 w 916049"/>
                      <a:gd name="connsiteY109" fmla="*/ 579057 h 697893"/>
                      <a:gd name="connsiteX110" fmla="*/ 629908 w 916049"/>
                      <a:gd name="connsiteY110" fmla="*/ 535843 h 697893"/>
                      <a:gd name="connsiteX111" fmla="*/ 666179 w 916049"/>
                      <a:gd name="connsiteY111" fmla="*/ 469304 h 697893"/>
                      <a:gd name="connsiteX112" fmla="*/ 733873 w 916049"/>
                      <a:gd name="connsiteY112" fmla="*/ 424293 h 697893"/>
                      <a:gd name="connsiteX113" fmla="*/ 755475 w 916049"/>
                      <a:gd name="connsiteY113" fmla="*/ 397058 h 697893"/>
                      <a:gd name="connsiteX114" fmla="*/ 778552 w 916049"/>
                      <a:gd name="connsiteY114" fmla="*/ 388447 h 697893"/>
                      <a:gd name="connsiteX115" fmla="*/ 908517 w 916049"/>
                      <a:gd name="connsiteY115" fmla="*/ 334430 h 697893"/>
                      <a:gd name="connsiteX116" fmla="*/ 916049 w 916049"/>
                      <a:gd name="connsiteY116" fmla="*/ 317129 h 697893"/>
                      <a:gd name="connsiteX117" fmla="*/ 914592 w 916049"/>
                      <a:gd name="connsiteY117" fmla="*/ 317185 h 69789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  <a:cxn ang="0">
                        <a:pos x="connsiteX25" y="connsiteY25"/>
                      </a:cxn>
                      <a:cxn ang="0">
                        <a:pos x="connsiteX26" y="connsiteY26"/>
                      </a:cxn>
                      <a:cxn ang="0">
                        <a:pos x="connsiteX27" y="connsiteY27"/>
                      </a:cxn>
                      <a:cxn ang="0">
                        <a:pos x="connsiteX28" y="connsiteY28"/>
                      </a:cxn>
                      <a:cxn ang="0">
                        <a:pos x="connsiteX29" y="connsiteY29"/>
                      </a:cxn>
                      <a:cxn ang="0">
                        <a:pos x="connsiteX30" y="connsiteY30"/>
                      </a:cxn>
                      <a:cxn ang="0">
                        <a:pos x="connsiteX31" y="connsiteY31"/>
                      </a:cxn>
                      <a:cxn ang="0">
                        <a:pos x="connsiteX32" y="connsiteY32"/>
                      </a:cxn>
                      <a:cxn ang="0">
                        <a:pos x="connsiteX33" y="connsiteY33"/>
                      </a:cxn>
                      <a:cxn ang="0">
                        <a:pos x="connsiteX34" y="connsiteY34"/>
                      </a:cxn>
                      <a:cxn ang="0">
                        <a:pos x="connsiteX35" y="connsiteY35"/>
                      </a:cxn>
                      <a:cxn ang="0">
                        <a:pos x="connsiteX36" y="connsiteY36"/>
                      </a:cxn>
                      <a:cxn ang="0">
                        <a:pos x="connsiteX37" y="connsiteY37"/>
                      </a:cxn>
                      <a:cxn ang="0">
                        <a:pos x="connsiteX38" y="connsiteY38"/>
                      </a:cxn>
                      <a:cxn ang="0">
                        <a:pos x="connsiteX39" y="connsiteY39"/>
                      </a:cxn>
                      <a:cxn ang="0">
                        <a:pos x="connsiteX40" y="connsiteY40"/>
                      </a:cxn>
                      <a:cxn ang="0">
                        <a:pos x="connsiteX41" y="connsiteY41"/>
                      </a:cxn>
                      <a:cxn ang="0">
                        <a:pos x="connsiteX42" y="connsiteY42"/>
                      </a:cxn>
                      <a:cxn ang="0">
                        <a:pos x="connsiteX43" y="connsiteY43"/>
                      </a:cxn>
                      <a:cxn ang="0">
                        <a:pos x="connsiteX44" y="connsiteY44"/>
                      </a:cxn>
                      <a:cxn ang="0">
                        <a:pos x="connsiteX45" y="connsiteY45"/>
                      </a:cxn>
                      <a:cxn ang="0">
                        <a:pos x="connsiteX46" y="connsiteY46"/>
                      </a:cxn>
                      <a:cxn ang="0">
                        <a:pos x="connsiteX47" y="connsiteY47"/>
                      </a:cxn>
                      <a:cxn ang="0">
                        <a:pos x="connsiteX48" y="connsiteY48"/>
                      </a:cxn>
                      <a:cxn ang="0">
                        <a:pos x="connsiteX49" y="connsiteY49"/>
                      </a:cxn>
                      <a:cxn ang="0">
                        <a:pos x="connsiteX50" y="connsiteY50"/>
                      </a:cxn>
                      <a:cxn ang="0">
                        <a:pos x="connsiteX51" y="connsiteY51"/>
                      </a:cxn>
                      <a:cxn ang="0">
                        <a:pos x="connsiteX52" y="connsiteY52"/>
                      </a:cxn>
                      <a:cxn ang="0">
                        <a:pos x="connsiteX53" y="connsiteY53"/>
                      </a:cxn>
                      <a:cxn ang="0">
                        <a:pos x="connsiteX54" y="connsiteY54"/>
                      </a:cxn>
                      <a:cxn ang="0">
                        <a:pos x="connsiteX55" y="connsiteY55"/>
                      </a:cxn>
                      <a:cxn ang="0">
                        <a:pos x="connsiteX56" y="connsiteY56"/>
                      </a:cxn>
                      <a:cxn ang="0">
                        <a:pos x="connsiteX57" y="connsiteY57"/>
                      </a:cxn>
                      <a:cxn ang="0">
                        <a:pos x="connsiteX58" y="connsiteY58"/>
                      </a:cxn>
                      <a:cxn ang="0">
                        <a:pos x="connsiteX59" y="connsiteY59"/>
                      </a:cxn>
                      <a:cxn ang="0">
                        <a:pos x="connsiteX60" y="connsiteY60"/>
                      </a:cxn>
                      <a:cxn ang="0">
                        <a:pos x="connsiteX61" y="connsiteY61"/>
                      </a:cxn>
                      <a:cxn ang="0">
                        <a:pos x="connsiteX62" y="connsiteY62"/>
                      </a:cxn>
                      <a:cxn ang="0">
                        <a:pos x="connsiteX63" y="connsiteY63"/>
                      </a:cxn>
                      <a:cxn ang="0">
                        <a:pos x="connsiteX64" y="connsiteY64"/>
                      </a:cxn>
                      <a:cxn ang="0">
                        <a:pos x="connsiteX65" y="connsiteY65"/>
                      </a:cxn>
                      <a:cxn ang="0">
                        <a:pos x="connsiteX66" y="connsiteY66"/>
                      </a:cxn>
                      <a:cxn ang="0">
                        <a:pos x="connsiteX67" y="connsiteY67"/>
                      </a:cxn>
                      <a:cxn ang="0">
                        <a:pos x="connsiteX68" y="connsiteY68"/>
                      </a:cxn>
                      <a:cxn ang="0">
                        <a:pos x="connsiteX69" y="connsiteY69"/>
                      </a:cxn>
                      <a:cxn ang="0">
                        <a:pos x="connsiteX70" y="connsiteY70"/>
                      </a:cxn>
                      <a:cxn ang="0">
                        <a:pos x="connsiteX71" y="connsiteY71"/>
                      </a:cxn>
                      <a:cxn ang="0">
                        <a:pos x="connsiteX72" y="connsiteY72"/>
                      </a:cxn>
                      <a:cxn ang="0">
                        <a:pos x="connsiteX73" y="connsiteY73"/>
                      </a:cxn>
                      <a:cxn ang="0">
                        <a:pos x="connsiteX74" y="connsiteY74"/>
                      </a:cxn>
                      <a:cxn ang="0">
                        <a:pos x="connsiteX75" y="connsiteY75"/>
                      </a:cxn>
                      <a:cxn ang="0">
                        <a:pos x="connsiteX76" y="connsiteY76"/>
                      </a:cxn>
                      <a:cxn ang="0">
                        <a:pos x="connsiteX77" y="connsiteY77"/>
                      </a:cxn>
                      <a:cxn ang="0">
                        <a:pos x="connsiteX78" y="connsiteY78"/>
                      </a:cxn>
                      <a:cxn ang="0">
                        <a:pos x="connsiteX79" y="connsiteY79"/>
                      </a:cxn>
                      <a:cxn ang="0">
                        <a:pos x="connsiteX80" y="connsiteY80"/>
                      </a:cxn>
                      <a:cxn ang="0">
                        <a:pos x="connsiteX81" y="connsiteY81"/>
                      </a:cxn>
                      <a:cxn ang="0">
                        <a:pos x="connsiteX82" y="connsiteY82"/>
                      </a:cxn>
                      <a:cxn ang="0">
                        <a:pos x="connsiteX83" y="connsiteY83"/>
                      </a:cxn>
                      <a:cxn ang="0">
                        <a:pos x="connsiteX84" y="connsiteY84"/>
                      </a:cxn>
                      <a:cxn ang="0">
                        <a:pos x="connsiteX85" y="connsiteY85"/>
                      </a:cxn>
                      <a:cxn ang="0">
                        <a:pos x="connsiteX86" y="connsiteY86"/>
                      </a:cxn>
                      <a:cxn ang="0">
                        <a:pos x="connsiteX87" y="connsiteY87"/>
                      </a:cxn>
                      <a:cxn ang="0">
                        <a:pos x="connsiteX88" y="connsiteY88"/>
                      </a:cxn>
                      <a:cxn ang="0">
                        <a:pos x="connsiteX89" y="connsiteY89"/>
                      </a:cxn>
                      <a:cxn ang="0">
                        <a:pos x="connsiteX90" y="connsiteY90"/>
                      </a:cxn>
                      <a:cxn ang="0">
                        <a:pos x="connsiteX91" y="connsiteY91"/>
                      </a:cxn>
                      <a:cxn ang="0">
                        <a:pos x="connsiteX92" y="connsiteY92"/>
                      </a:cxn>
                      <a:cxn ang="0">
                        <a:pos x="connsiteX93" y="connsiteY93"/>
                      </a:cxn>
                      <a:cxn ang="0">
                        <a:pos x="connsiteX94" y="connsiteY94"/>
                      </a:cxn>
                      <a:cxn ang="0">
                        <a:pos x="connsiteX95" y="connsiteY95"/>
                      </a:cxn>
                      <a:cxn ang="0">
                        <a:pos x="connsiteX96" y="connsiteY96"/>
                      </a:cxn>
                      <a:cxn ang="0">
                        <a:pos x="connsiteX97" y="connsiteY97"/>
                      </a:cxn>
                      <a:cxn ang="0">
                        <a:pos x="connsiteX98" y="connsiteY98"/>
                      </a:cxn>
                      <a:cxn ang="0">
                        <a:pos x="connsiteX99" y="connsiteY99"/>
                      </a:cxn>
                      <a:cxn ang="0">
                        <a:pos x="connsiteX100" y="connsiteY100"/>
                      </a:cxn>
                      <a:cxn ang="0">
                        <a:pos x="connsiteX101" y="connsiteY101"/>
                      </a:cxn>
                      <a:cxn ang="0">
                        <a:pos x="connsiteX102" y="connsiteY102"/>
                      </a:cxn>
                      <a:cxn ang="0">
                        <a:pos x="connsiteX103" y="connsiteY103"/>
                      </a:cxn>
                      <a:cxn ang="0">
                        <a:pos x="connsiteX104" y="connsiteY104"/>
                      </a:cxn>
                      <a:cxn ang="0">
                        <a:pos x="connsiteX105" y="connsiteY105"/>
                      </a:cxn>
                      <a:cxn ang="0">
                        <a:pos x="connsiteX106" y="connsiteY106"/>
                      </a:cxn>
                      <a:cxn ang="0">
                        <a:pos x="connsiteX107" y="connsiteY107"/>
                      </a:cxn>
                      <a:cxn ang="0">
                        <a:pos x="connsiteX108" y="connsiteY108"/>
                      </a:cxn>
                      <a:cxn ang="0">
                        <a:pos x="connsiteX109" y="connsiteY109"/>
                      </a:cxn>
                      <a:cxn ang="0">
                        <a:pos x="connsiteX110" y="connsiteY110"/>
                      </a:cxn>
                      <a:cxn ang="0">
                        <a:pos x="connsiteX111" y="connsiteY111"/>
                      </a:cxn>
                      <a:cxn ang="0">
                        <a:pos x="connsiteX112" y="connsiteY112"/>
                      </a:cxn>
                      <a:cxn ang="0">
                        <a:pos x="connsiteX113" y="connsiteY113"/>
                      </a:cxn>
                      <a:cxn ang="0">
                        <a:pos x="connsiteX114" y="connsiteY114"/>
                      </a:cxn>
                      <a:cxn ang="0">
                        <a:pos x="connsiteX115" y="connsiteY115"/>
                      </a:cxn>
                      <a:cxn ang="0">
                        <a:pos x="connsiteX116" y="connsiteY116"/>
                      </a:cxn>
                      <a:cxn ang="0">
                        <a:pos x="connsiteX117" y="connsiteY117"/>
                      </a:cxn>
                    </a:cxnLst>
                    <a:rect l="l" t="t" r="r" b="b"/>
                    <a:pathLst>
                      <a:path w="916049" h="697893">
                        <a:moveTo>
                          <a:pt x="914592" y="317185"/>
                        </a:moveTo>
                        <a:cubicBezTo>
                          <a:pt x="914305" y="309907"/>
                          <a:pt x="903702" y="305973"/>
                          <a:pt x="896255" y="305502"/>
                        </a:cubicBezTo>
                        <a:cubicBezTo>
                          <a:pt x="893954" y="305352"/>
                          <a:pt x="891600" y="305320"/>
                          <a:pt x="889242" y="305284"/>
                        </a:cubicBezTo>
                        <a:cubicBezTo>
                          <a:pt x="880677" y="305152"/>
                          <a:pt x="870963" y="304997"/>
                          <a:pt x="862953" y="299504"/>
                        </a:cubicBezTo>
                        <a:lnTo>
                          <a:pt x="860843" y="298062"/>
                        </a:lnTo>
                        <a:lnTo>
                          <a:pt x="859799" y="283144"/>
                        </a:lnTo>
                        <a:cubicBezTo>
                          <a:pt x="856354" y="281607"/>
                          <a:pt x="850183" y="284217"/>
                          <a:pt x="845495" y="287946"/>
                        </a:cubicBezTo>
                        <a:cubicBezTo>
                          <a:pt x="838272" y="293680"/>
                          <a:pt x="828381" y="301529"/>
                          <a:pt x="817659" y="297185"/>
                        </a:cubicBezTo>
                        <a:lnTo>
                          <a:pt x="812683" y="295164"/>
                        </a:lnTo>
                        <a:lnTo>
                          <a:pt x="814774" y="290213"/>
                        </a:lnTo>
                        <a:cubicBezTo>
                          <a:pt x="818354" y="281726"/>
                          <a:pt x="818450" y="271879"/>
                          <a:pt x="815140" y="263287"/>
                        </a:cubicBezTo>
                        <a:cubicBezTo>
                          <a:pt x="787621" y="262987"/>
                          <a:pt x="756901" y="262172"/>
                          <a:pt x="729908" y="249322"/>
                        </a:cubicBezTo>
                        <a:cubicBezTo>
                          <a:pt x="710984" y="240309"/>
                          <a:pt x="694665" y="225415"/>
                          <a:pt x="683966" y="207384"/>
                        </a:cubicBezTo>
                        <a:cubicBezTo>
                          <a:pt x="682306" y="204574"/>
                          <a:pt x="681043" y="202442"/>
                          <a:pt x="679516" y="201583"/>
                        </a:cubicBezTo>
                        <a:cubicBezTo>
                          <a:pt x="678113" y="200808"/>
                          <a:pt x="675756" y="200742"/>
                          <a:pt x="673675" y="200698"/>
                        </a:cubicBezTo>
                        <a:lnTo>
                          <a:pt x="642279" y="199867"/>
                        </a:lnTo>
                        <a:lnTo>
                          <a:pt x="642249" y="194737"/>
                        </a:lnTo>
                        <a:cubicBezTo>
                          <a:pt x="642104" y="170453"/>
                          <a:pt x="615791" y="154462"/>
                          <a:pt x="592886" y="143257"/>
                        </a:cubicBezTo>
                        <a:lnTo>
                          <a:pt x="596028" y="136838"/>
                        </a:lnTo>
                        <a:cubicBezTo>
                          <a:pt x="583822" y="135354"/>
                          <a:pt x="571623" y="131701"/>
                          <a:pt x="560138" y="127329"/>
                        </a:cubicBezTo>
                        <a:cubicBezTo>
                          <a:pt x="540668" y="119920"/>
                          <a:pt x="521946" y="110561"/>
                          <a:pt x="504332" y="99437"/>
                        </a:cubicBezTo>
                        <a:cubicBezTo>
                          <a:pt x="497817" y="95324"/>
                          <a:pt x="491101" y="90838"/>
                          <a:pt x="483429" y="90123"/>
                        </a:cubicBezTo>
                        <a:cubicBezTo>
                          <a:pt x="467025" y="88589"/>
                          <a:pt x="450545" y="104552"/>
                          <a:pt x="435678" y="97450"/>
                        </a:cubicBezTo>
                        <a:cubicBezTo>
                          <a:pt x="422397" y="91105"/>
                          <a:pt x="422280" y="71736"/>
                          <a:pt x="412118" y="61086"/>
                        </a:cubicBezTo>
                        <a:cubicBezTo>
                          <a:pt x="398871" y="47204"/>
                          <a:pt x="376206" y="53521"/>
                          <a:pt x="357294" y="56775"/>
                        </a:cubicBezTo>
                        <a:cubicBezTo>
                          <a:pt x="338382" y="60028"/>
                          <a:pt x="316729" y="59947"/>
                          <a:pt x="319039" y="40897"/>
                        </a:cubicBezTo>
                        <a:cubicBezTo>
                          <a:pt x="315226" y="46339"/>
                          <a:pt x="306213" y="44695"/>
                          <a:pt x="301701" y="39815"/>
                        </a:cubicBezTo>
                        <a:cubicBezTo>
                          <a:pt x="297193" y="34934"/>
                          <a:pt x="295570" y="28143"/>
                          <a:pt x="292781" y="22110"/>
                        </a:cubicBezTo>
                        <a:cubicBezTo>
                          <a:pt x="286996" y="9602"/>
                          <a:pt x="274403" y="-453"/>
                          <a:pt x="260627" y="16"/>
                        </a:cubicBezTo>
                        <a:cubicBezTo>
                          <a:pt x="246852" y="484"/>
                          <a:pt x="234015" y="14066"/>
                          <a:pt x="237068" y="27507"/>
                        </a:cubicBezTo>
                        <a:cubicBezTo>
                          <a:pt x="213798" y="17390"/>
                          <a:pt x="186680" y="16457"/>
                          <a:pt x="162768" y="24944"/>
                        </a:cubicBezTo>
                        <a:cubicBezTo>
                          <a:pt x="169685" y="38600"/>
                          <a:pt x="176772" y="52951"/>
                          <a:pt x="176534" y="68258"/>
                        </a:cubicBezTo>
                        <a:cubicBezTo>
                          <a:pt x="176297" y="83565"/>
                          <a:pt x="166089" y="99890"/>
                          <a:pt x="150861" y="101453"/>
                        </a:cubicBezTo>
                        <a:cubicBezTo>
                          <a:pt x="151129" y="145265"/>
                          <a:pt x="131832" y="186528"/>
                          <a:pt x="112941" y="226061"/>
                        </a:cubicBezTo>
                        <a:cubicBezTo>
                          <a:pt x="98843" y="255567"/>
                          <a:pt x="84375" y="285617"/>
                          <a:pt x="61770" y="309246"/>
                        </a:cubicBezTo>
                        <a:cubicBezTo>
                          <a:pt x="44289" y="327521"/>
                          <a:pt x="21460" y="342808"/>
                          <a:pt x="13718" y="366887"/>
                        </a:cubicBezTo>
                        <a:cubicBezTo>
                          <a:pt x="27615" y="372712"/>
                          <a:pt x="43229" y="381892"/>
                          <a:pt x="44216" y="396931"/>
                        </a:cubicBezTo>
                        <a:cubicBezTo>
                          <a:pt x="44691" y="404150"/>
                          <a:pt x="41505" y="411047"/>
                          <a:pt x="38392" y="417580"/>
                        </a:cubicBezTo>
                        <a:cubicBezTo>
                          <a:pt x="27032" y="441427"/>
                          <a:pt x="15672" y="465275"/>
                          <a:pt x="4311" y="489121"/>
                        </a:cubicBezTo>
                        <a:cubicBezTo>
                          <a:pt x="930" y="496220"/>
                          <a:pt x="-2335" y="505078"/>
                          <a:pt x="2292" y="511435"/>
                        </a:cubicBezTo>
                        <a:cubicBezTo>
                          <a:pt x="3861" y="513591"/>
                          <a:pt x="6146" y="515094"/>
                          <a:pt x="8380" y="516550"/>
                        </a:cubicBezTo>
                        <a:cubicBezTo>
                          <a:pt x="29693" y="530434"/>
                          <a:pt x="51640" y="544590"/>
                          <a:pt x="76528" y="549844"/>
                        </a:cubicBezTo>
                        <a:cubicBezTo>
                          <a:pt x="80922" y="550772"/>
                          <a:pt x="85366" y="551404"/>
                          <a:pt x="89830" y="551913"/>
                        </a:cubicBezTo>
                        <a:cubicBezTo>
                          <a:pt x="85844" y="548082"/>
                          <a:pt x="83079" y="542952"/>
                          <a:pt x="82034" y="536738"/>
                        </a:cubicBezTo>
                        <a:cubicBezTo>
                          <a:pt x="80112" y="525302"/>
                          <a:pt x="84026" y="512810"/>
                          <a:pt x="92015" y="504901"/>
                        </a:cubicBezTo>
                        <a:cubicBezTo>
                          <a:pt x="104191" y="492844"/>
                          <a:pt x="121305" y="489395"/>
                          <a:pt x="138389" y="487901"/>
                        </a:cubicBezTo>
                        <a:cubicBezTo>
                          <a:pt x="139020" y="484341"/>
                          <a:pt x="138441" y="480424"/>
                          <a:pt x="136692" y="476764"/>
                        </a:cubicBezTo>
                        <a:cubicBezTo>
                          <a:pt x="134432" y="472044"/>
                          <a:pt x="130611" y="468577"/>
                          <a:pt x="126204" y="467245"/>
                        </a:cubicBezTo>
                        <a:lnTo>
                          <a:pt x="115009" y="463864"/>
                        </a:lnTo>
                        <a:lnTo>
                          <a:pt x="124945" y="457677"/>
                        </a:lnTo>
                        <a:cubicBezTo>
                          <a:pt x="153245" y="440067"/>
                          <a:pt x="167599" y="402643"/>
                          <a:pt x="158326" y="370628"/>
                        </a:cubicBezTo>
                        <a:lnTo>
                          <a:pt x="155816" y="361958"/>
                        </a:lnTo>
                        <a:lnTo>
                          <a:pt x="185903" y="368922"/>
                        </a:lnTo>
                        <a:cubicBezTo>
                          <a:pt x="187745" y="366787"/>
                          <a:pt x="188088" y="362916"/>
                          <a:pt x="188432" y="357298"/>
                        </a:cubicBezTo>
                        <a:cubicBezTo>
                          <a:pt x="188828" y="350819"/>
                          <a:pt x="189275" y="343483"/>
                          <a:pt x="194039" y="337914"/>
                        </a:cubicBezTo>
                        <a:cubicBezTo>
                          <a:pt x="196863" y="334614"/>
                          <a:pt x="200521" y="332807"/>
                          <a:pt x="203752" y="331221"/>
                        </a:cubicBezTo>
                        <a:cubicBezTo>
                          <a:pt x="204854" y="330675"/>
                          <a:pt x="205957" y="330139"/>
                          <a:pt x="207013" y="329533"/>
                        </a:cubicBezTo>
                        <a:cubicBezTo>
                          <a:pt x="221384" y="321232"/>
                          <a:pt x="224053" y="301995"/>
                          <a:pt x="225861" y="279566"/>
                        </a:cubicBezTo>
                        <a:cubicBezTo>
                          <a:pt x="228336" y="248851"/>
                          <a:pt x="239241" y="230069"/>
                          <a:pt x="257393" y="225237"/>
                        </a:cubicBezTo>
                        <a:cubicBezTo>
                          <a:pt x="263984" y="223481"/>
                          <a:pt x="270479" y="223980"/>
                          <a:pt x="276777" y="224503"/>
                        </a:cubicBezTo>
                        <a:cubicBezTo>
                          <a:pt x="279752" y="224741"/>
                          <a:pt x="282784" y="224945"/>
                          <a:pt x="285679" y="224943"/>
                        </a:cubicBezTo>
                        <a:cubicBezTo>
                          <a:pt x="292835" y="224848"/>
                          <a:pt x="300750" y="221770"/>
                          <a:pt x="302033" y="216061"/>
                        </a:cubicBezTo>
                        <a:cubicBezTo>
                          <a:pt x="302994" y="211761"/>
                          <a:pt x="300267" y="206817"/>
                          <a:pt x="297140" y="201699"/>
                        </a:cubicBezTo>
                        <a:cubicBezTo>
                          <a:pt x="291848" y="193082"/>
                          <a:pt x="285256" y="182345"/>
                          <a:pt x="275474" y="177968"/>
                        </a:cubicBezTo>
                        <a:cubicBezTo>
                          <a:pt x="271374" y="176128"/>
                          <a:pt x="266711" y="175376"/>
                          <a:pt x="261770" y="174575"/>
                        </a:cubicBezTo>
                        <a:cubicBezTo>
                          <a:pt x="259950" y="174276"/>
                          <a:pt x="258127" y="173981"/>
                          <a:pt x="256318" y="173633"/>
                        </a:cubicBezTo>
                        <a:cubicBezTo>
                          <a:pt x="217102" y="166067"/>
                          <a:pt x="188630" y="135397"/>
                          <a:pt x="160527" y="101929"/>
                        </a:cubicBezTo>
                        <a:lnTo>
                          <a:pt x="168636" y="95124"/>
                        </a:lnTo>
                        <a:cubicBezTo>
                          <a:pt x="195468" y="127070"/>
                          <a:pt x="222518" y="156324"/>
                          <a:pt x="258324" y="163233"/>
                        </a:cubicBezTo>
                        <a:cubicBezTo>
                          <a:pt x="260034" y="163561"/>
                          <a:pt x="261747" y="163838"/>
                          <a:pt x="263466" y="164115"/>
                        </a:cubicBezTo>
                        <a:cubicBezTo>
                          <a:pt x="268862" y="164995"/>
                          <a:pt x="274439" y="165895"/>
                          <a:pt x="279804" y="168295"/>
                        </a:cubicBezTo>
                        <a:cubicBezTo>
                          <a:pt x="292573" y="174024"/>
                          <a:pt x="300114" y="186294"/>
                          <a:pt x="306170" y="196158"/>
                        </a:cubicBezTo>
                        <a:cubicBezTo>
                          <a:pt x="310312" y="202932"/>
                          <a:pt x="314193" y="210215"/>
                          <a:pt x="312363" y="218379"/>
                        </a:cubicBezTo>
                        <a:cubicBezTo>
                          <a:pt x="309754" y="230014"/>
                          <a:pt x="297150" y="235383"/>
                          <a:pt x="285821" y="235529"/>
                        </a:cubicBezTo>
                        <a:cubicBezTo>
                          <a:pt x="282639" y="235606"/>
                          <a:pt x="279235" y="235319"/>
                          <a:pt x="275935" y="235055"/>
                        </a:cubicBezTo>
                        <a:cubicBezTo>
                          <a:pt x="270290" y="234602"/>
                          <a:pt x="264965" y="234177"/>
                          <a:pt x="260123" y="235474"/>
                        </a:cubicBezTo>
                        <a:cubicBezTo>
                          <a:pt x="242266" y="240220"/>
                          <a:pt x="237604" y="265668"/>
                          <a:pt x="236417" y="280417"/>
                        </a:cubicBezTo>
                        <a:cubicBezTo>
                          <a:pt x="234831" y="300048"/>
                          <a:pt x="232665" y="326948"/>
                          <a:pt x="212305" y="338694"/>
                        </a:cubicBezTo>
                        <a:cubicBezTo>
                          <a:pt x="211054" y="339418"/>
                          <a:pt x="209745" y="340069"/>
                          <a:pt x="208431" y="340720"/>
                        </a:cubicBezTo>
                        <a:cubicBezTo>
                          <a:pt x="205895" y="341971"/>
                          <a:pt x="203493" y="343148"/>
                          <a:pt x="202084" y="344803"/>
                        </a:cubicBezTo>
                        <a:cubicBezTo>
                          <a:pt x="199628" y="347675"/>
                          <a:pt x="199324" y="352664"/>
                          <a:pt x="199001" y="357941"/>
                        </a:cubicBezTo>
                        <a:cubicBezTo>
                          <a:pt x="198544" y="365382"/>
                          <a:pt x="197977" y="374654"/>
                          <a:pt x="189718" y="379266"/>
                        </a:cubicBezTo>
                        <a:lnTo>
                          <a:pt x="187931" y="380262"/>
                        </a:lnTo>
                        <a:lnTo>
                          <a:pt x="170468" y="376213"/>
                        </a:lnTo>
                        <a:cubicBezTo>
                          <a:pt x="175921" y="407627"/>
                          <a:pt x="162819" y="441824"/>
                          <a:pt x="137799" y="461571"/>
                        </a:cubicBezTo>
                        <a:cubicBezTo>
                          <a:pt x="141288" y="464296"/>
                          <a:pt x="144206" y="467924"/>
                          <a:pt x="146246" y="472190"/>
                        </a:cubicBezTo>
                        <a:cubicBezTo>
                          <a:pt x="149785" y="479580"/>
                          <a:pt x="150191" y="487852"/>
                          <a:pt x="147345" y="494876"/>
                        </a:cubicBezTo>
                        <a:lnTo>
                          <a:pt x="146111" y="497926"/>
                        </a:lnTo>
                        <a:lnTo>
                          <a:pt x="142823" y="498167"/>
                        </a:lnTo>
                        <a:cubicBezTo>
                          <a:pt x="126573" y="499366"/>
                          <a:pt x="110070" y="501917"/>
                          <a:pt x="99464" y="512424"/>
                        </a:cubicBezTo>
                        <a:cubicBezTo>
                          <a:pt x="93935" y="517895"/>
                          <a:pt x="91128" y="526956"/>
                          <a:pt x="92475" y="534973"/>
                        </a:cubicBezTo>
                        <a:cubicBezTo>
                          <a:pt x="93141" y="538919"/>
                          <a:pt x="95084" y="544168"/>
                          <a:pt x="100586" y="546806"/>
                        </a:cubicBezTo>
                        <a:lnTo>
                          <a:pt x="97760" y="552695"/>
                        </a:lnTo>
                        <a:cubicBezTo>
                          <a:pt x="107861" y="553628"/>
                          <a:pt x="117983" y="554421"/>
                          <a:pt x="127813" y="556841"/>
                        </a:cubicBezTo>
                        <a:cubicBezTo>
                          <a:pt x="144582" y="560967"/>
                          <a:pt x="161497" y="571757"/>
                          <a:pt x="165387" y="588580"/>
                        </a:cubicBezTo>
                        <a:cubicBezTo>
                          <a:pt x="167779" y="598925"/>
                          <a:pt x="164869" y="609666"/>
                          <a:pt x="164390" y="620274"/>
                        </a:cubicBezTo>
                        <a:cubicBezTo>
                          <a:pt x="163362" y="643013"/>
                          <a:pt x="174433" y="665951"/>
                          <a:pt x="192870" y="679294"/>
                        </a:cubicBezTo>
                        <a:cubicBezTo>
                          <a:pt x="215449" y="670393"/>
                          <a:pt x="238029" y="661491"/>
                          <a:pt x="260608" y="652589"/>
                        </a:cubicBezTo>
                        <a:cubicBezTo>
                          <a:pt x="266417" y="659640"/>
                          <a:pt x="272227" y="666693"/>
                          <a:pt x="278038" y="673742"/>
                        </a:cubicBezTo>
                        <a:cubicBezTo>
                          <a:pt x="289934" y="668842"/>
                          <a:pt x="295289" y="652427"/>
                          <a:pt x="288572" y="641456"/>
                        </a:cubicBezTo>
                        <a:cubicBezTo>
                          <a:pt x="293831" y="631751"/>
                          <a:pt x="308940" y="633327"/>
                          <a:pt x="317513" y="640279"/>
                        </a:cubicBezTo>
                        <a:cubicBezTo>
                          <a:pt x="326085" y="647235"/>
                          <a:pt x="331339" y="657650"/>
                          <a:pt x="340012" y="664477"/>
                        </a:cubicBezTo>
                        <a:cubicBezTo>
                          <a:pt x="348461" y="671127"/>
                          <a:pt x="359307" y="673737"/>
                          <a:pt x="369779" y="676173"/>
                        </a:cubicBezTo>
                        <a:cubicBezTo>
                          <a:pt x="400902" y="683414"/>
                          <a:pt x="432023" y="690654"/>
                          <a:pt x="463148" y="697893"/>
                        </a:cubicBezTo>
                        <a:cubicBezTo>
                          <a:pt x="457566" y="679630"/>
                          <a:pt x="464274" y="658257"/>
                          <a:pt x="479291" y="646460"/>
                        </a:cubicBezTo>
                        <a:cubicBezTo>
                          <a:pt x="494309" y="634663"/>
                          <a:pt x="516662" y="633204"/>
                          <a:pt x="533085" y="642950"/>
                        </a:cubicBezTo>
                        <a:cubicBezTo>
                          <a:pt x="538078" y="645916"/>
                          <a:pt x="542851" y="649910"/>
                          <a:pt x="548637" y="650388"/>
                        </a:cubicBezTo>
                        <a:cubicBezTo>
                          <a:pt x="560141" y="651341"/>
                          <a:pt x="567657" y="638410"/>
                          <a:pt x="569915" y="627093"/>
                        </a:cubicBezTo>
                        <a:cubicBezTo>
                          <a:pt x="572172" y="615772"/>
                          <a:pt x="572904" y="602747"/>
                          <a:pt x="581806" y="595399"/>
                        </a:cubicBezTo>
                        <a:cubicBezTo>
                          <a:pt x="598269" y="581810"/>
                          <a:pt x="630567" y="597685"/>
                          <a:pt x="640991" y="579057"/>
                        </a:cubicBezTo>
                        <a:cubicBezTo>
                          <a:pt x="648551" y="565549"/>
                          <a:pt x="634708" y="550561"/>
                          <a:pt x="629908" y="535843"/>
                        </a:cubicBezTo>
                        <a:cubicBezTo>
                          <a:pt x="621444" y="509892"/>
                          <a:pt x="642892" y="483546"/>
                          <a:pt x="666179" y="469304"/>
                        </a:cubicBezTo>
                        <a:cubicBezTo>
                          <a:pt x="689465" y="455059"/>
                          <a:pt x="717075" y="445812"/>
                          <a:pt x="733873" y="424293"/>
                        </a:cubicBezTo>
                        <a:cubicBezTo>
                          <a:pt x="741040" y="415114"/>
                          <a:pt x="746042" y="403888"/>
                          <a:pt x="755475" y="397058"/>
                        </a:cubicBezTo>
                        <a:cubicBezTo>
                          <a:pt x="762175" y="392204"/>
                          <a:pt x="770442" y="390097"/>
                          <a:pt x="778552" y="388447"/>
                        </a:cubicBezTo>
                        <a:cubicBezTo>
                          <a:pt x="826147" y="378759"/>
                          <a:pt x="884048" y="376388"/>
                          <a:pt x="908517" y="334430"/>
                        </a:cubicBezTo>
                        <a:cubicBezTo>
                          <a:pt x="911704" y="328967"/>
                          <a:pt x="914029" y="323116"/>
                          <a:pt x="916049" y="317129"/>
                        </a:cubicBezTo>
                        <a:lnTo>
                          <a:pt x="914592" y="317185"/>
                        </a:lnTo>
                        <a:close/>
                      </a:path>
                    </a:pathLst>
                  </a:custGeom>
                  <a:grpFill/>
                  <a:ln w="1649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s-ES_tradnl" sz="2400"/>
                  </a:p>
                </p:txBody>
              </p:sp>
              <p:sp>
                <p:nvSpPr>
                  <p:cNvPr id="218" name="Forma libre 217">
                    <a:extLst>
                      <a:ext uri="{FF2B5EF4-FFF2-40B4-BE49-F238E27FC236}">
                        <a16:creationId xmlns:a16="http://schemas.microsoft.com/office/drawing/2014/main" id="{D2BAF95B-89E8-1E40-B1C8-768BF4A9534B}"/>
                      </a:ext>
                    </a:extLst>
                  </p:cNvPr>
                  <p:cNvSpPr/>
                  <p:nvPr/>
                </p:nvSpPr>
                <p:spPr>
                  <a:xfrm>
                    <a:off x="4590129" y="2769819"/>
                    <a:ext cx="1372780" cy="1222690"/>
                  </a:xfrm>
                  <a:custGeom>
                    <a:avLst/>
                    <a:gdLst>
                      <a:gd name="connsiteX0" fmla="*/ 1371443 w 1372780"/>
                      <a:gd name="connsiteY0" fmla="*/ 1034124 h 1222690"/>
                      <a:gd name="connsiteX1" fmla="*/ 1327178 w 1372780"/>
                      <a:gd name="connsiteY1" fmla="*/ 992867 h 1222690"/>
                      <a:gd name="connsiteX2" fmla="*/ 1198543 w 1372780"/>
                      <a:gd name="connsiteY2" fmla="*/ 922455 h 1222690"/>
                      <a:gd name="connsiteX3" fmla="*/ 1224168 w 1372780"/>
                      <a:gd name="connsiteY3" fmla="*/ 904816 h 1222690"/>
                      <a:gd name="connsiteX4" fmla="*/ 1195781 w 1372780"/>
                      <a:gd name="connsiteY4" fmla="*/ 885501 h 1222690"/>
                      <a:gd name="connsiteX5" fmla="*/ 1158710 w 1372780"/>
                      <a:gd name="connsiteY5" fmla="*/ 886883 h 1222690"/>
                      <a:gd name="connsiteX6" fmla="*/ 1129936 w 1372780"/>
                      <a:gd name="connsiteY6" fmla="*/ 875148 h 1222690"/>
                      <a:gd name="connsiteX7" fmla="*/ 1076188 w 1372780"/>
                      <a:gd name="connsiteY7" fmla="*/ 791608 h 1222690"/>
                      <a:gd name="connsiteX8" fmla="*/ 1065883 w 1372780"/>
                      <a:gd name="connsiteY8" fmla="*/ 742045 h 1222690"/>
                      <a:gd name="connsiteX9" fmla="*/ 983109 w 1372780"/>
                      <a:gd name="connsiteY9" fmla="*/ 666360 h 1222690"/>
                      <a:gd name="connsiteX10" fmla="*/ 989568 w 1372780"/>
                      <a:gd name="connsiteY10" fmla="*/ 621988 h 1222690"/>
                      <a:gd name="connsiteX11" fmla="*/ 977436 w 1372780"/>
                      <a:gd name="connsiteY11" fmla="*/ 581653 h 1222690"/>
                      <a:gd name="connsiteX12" fmla="*/ 1076358 w 1372780"/>
                      <a:gd name="connsiteY12" fmla="*/ 541848 h 1222690"/>
                      <a:gd name="connsiteX13" fmla="*/ 1068793 w 1372780"/>
                      <a:gd name="connsiteY13" fmla="*/ 490298 h 1222690"/>
                      <a:gd name="connsiteX14" fmla="*/ 1065507 w 1372780"/>
                      <a:gd name="connsiteY14" fmla="*/ 484653 h 1222690"/>
                      <a:gd name="connsiteX15" fmla="*/ 1050812 w 1372780"/>
                      <a:gd name="connsiteY15" fmla="*/ 485644 h 1222690"/>
                      <a:gd name="connsiteX16" fmla="*/ 1032150 w 1372780"/>
                      <a:gd name="connsiteY16" fmla="*/ 488598 h 1222690"/>
                      <a:gd name="connsiteX17" fmla="*/ 1018449 w 1372780"/>
                      <a:gd name="connsiteY17" fmla="*/ 482193 h 1222690"/>
                      <a:gd name="connsiteX18" fmla="*/ 971929 w 1372780"/>
                      <a:gd name="connsiteY18" fmla="*/ 450820 h 1222690"/>
                      <a:gd name="connsiteX19" fmla="*/ 955657 w 1372780"/>
                      <a:gd name="connsiteY19" fmla="*/ 443672 h 1222690"/>
                      <a:gd name="connsiteX20" fmla="*/ 940039 w 1372780"/>
                      <a:gd name="connsiteY20" fmla="*/ 449207 h 1222690"/>
                      <a:gd name="connsiteX21" fmla="*/ 912912 w 1372780"/>
                      <a:gd name="connsiteY21" fmla="*/ 453662 h 1222690"/>
                      <a:gd name="connsiteX22" fmla="*/ 905871 w 1372780"/>
                      <a:gd name="connsiteY22" fmla="*/ 449028 h 1222690"/>
                      <a:gd name="connsiteX23" fmla="*/ 899095 w 1372780"/>
                      <a:gd name="connsiteY23" fmla="*/ 445510 h 1222690"/>
                      <a:gd name="connsiteX24" fmla="*/ 897888 w 1372780"/>
                      <a:gd name="connsiteY24" fmla="*/ 453400 h 1222690"/>
                      <a:gd name="connsiteX25" fmla="*/ 892913 w 1372780"/>
                      <a:gd name="connsiteY25" fmla="*/ 470576 h 1222690"/>
                      <a:gd name="connsiteX26" fmla="*/ 871004 w 1372780"/>
                      <a:gd name="connsiteY26" fmla="*/ 469582 h 1222690"/>
                      <a:gd name="connsiteX27" fmla="*/ 863125 w 1372780"/>
                      <a:gd name="connsiteY27" fmla="*/ 466456 h 1222690"/>
                      <a:gd name="connsiteX28" fmla="*/ 846969 w 1372780"/>
                      <a:gd name="connsiteY28" fmla="*/ 501659 h 1222690"/>
                      <a:gd name="connsiteX29" fmla="*/ 841495 w 1372780"/>
                      <a:gd name="connsiteY29" fmla="*/ 505445 h 1222690"/>
                      <a:gd name="connsiteX30" fmla="*/ 839040 w 1372780"/>
                      <a:gd name="connsiteY30" fmla="*/ 499267 h 1222690"/>
                      <a:gd name="connsiteX31" fmla="*/ 820626 w 1372780"/>
                      <a:gd name="connsiteY31" fmla="*/ 473248 h 1222690"/>
                      <a:gd name="connsiteX32" fmla="*/ 806511 w 1372780"/>
                      <a:gd name="connsiteY32" fmla="*/ 499935 h 1222690"/>
                      <a:gd name="connsiteX33" fmla="*/ 802079 w 1372780"/>
                      <a:gd name="connsiteY33" fmla="*/ 489988 h 1222690"/>
                      <a:gd name="connsiteX34" fmla="*/ 788273 w 1372780"/>
                      <a:gd name="connsiteY34" fmla="*/ 476314 h 1222690"/>
                      <a:gd name="connsiteX35" fmla="*/ 785754 w 1372780"/>
                      <a:gd name="connsiteY35" fmla="*/ 477490 h 1222690"/>
                      <a:gd name="connsiteX36" fmla="*/ 785127 w 1372780"/>
                      <a:gd name="connsiteY36" fmla="*/ 486328 h 1222690"/>
                      <a:gd name="connsiteX37" fmla="*/ 783205 w 1372780"/>
                      <a:gd name="connsiteY37" fmla="*/ 501826 h 1222690"/>
                      <a:gd name="connsiteX38" fmla="*/ 770028 w 1372780"/>
                      <a:gd name="connsiteY38" fmla="*/ 508605 h 1222690"/>
                      <a:gd name="connsiteX39" fmla="*/ 751088 w 1372780"/>
                      <a:gd name="connsiteY39" fmla="*/ 496523 h 1222690"/>
                      <a:gd name="connsiteX40" fmla="*/ 746505 w 1372780"/>
                      <a:gd name="connsiteY40" fmla="*/ 478993 h 1222690"/>
                      <a:gd name="connsiteX41" fmla="*/ 744333 w 1372780"/>
                      <a:gd name="connsiteY41" fmla="*/ 468057 h 1222690"/>
                      <a:gd name="connsiteX42" fmla="*/ 735496 w 1372780"/>
                      <a:gd name="connsiteY42" fmla="*/ 458256 h 1222690"/>
                      <a:gd name="connsiteX43" fmla="*/ 733541 w 1372780"/>
                      <a:gd name="connsiteY43" fmla="*/ 457826 h 1222690"/>
                      <a:gd name="connsiteX44" fmla="*/ 737026 w 1372780"/>
                      <a:gd name="connsiteY44" fmla="*/ 508087 h 1222690"/>
                      <a:gd name="connsiteX45" fmla="*/ 727614 w 1372780"/>
                      <a:gd name="connsiteY45" fmla="*/ 500596 h 1222690"/>
                      <a:gd name="connsiteX46" fmla="*/ 712884 w 1372780"/>
                      <a:gd name="connsiteY46" fmla="*/ 501307 h 1222690"/>
                      <a:gd name="connsiteX47" fmla="*/ 709086 w 1372780"/>
                      <a:gd name="connsiteY47" fmla="*/ 504985 h 1222690"/>
                      <a:gd name="connsiteX48" fmla="*/ 705401 w 1372780"/>
                      <a:gd name="connsiteY48" fmla="*/ 501186 h 1222690"/>
                      <a:gd name="connsiteX49" fmla="*/ 653082 w 1372780"/>
                      <a:gd name="connsiteY49" fmla="*/ 494731 h 1222690"/>
                      <a:gd name="connsiteX50" fmla="*/ 639952 w 1372780"/>
                      <a:gd name="connsiteY50" fmla="*/ 559473 h 1222690"/>
                      <a:gd name="connsiteX51" fmla="*/ 638696 w 1372780"/>
                      <a:gd name="connsiteY51" fmla="*/ 563505 h 1222690"/>
                      <a:gd name="connsiteX52" fmla="*/ 613087 w 1372780"/>
                      <a:gd name="connsiteY52" fmla="*/ 561472 h 1222690"/>
                      <a:gd name="connsiteX53" fmla="*/ 624193 w 1372780"/>
                      <a:gd name="connsiteY53" fmla="*/ 576512 h 1222690"/>
                      <a:gd name="connsiteX54" fmla="*/ 640624 w 1372780"/>
                      <a:gd name="connsiteY54" fmla="*/ 604790 h 1222690"/>
                      <a:gd name="connsiteX55" fmla="*/ 635496 w 1372780"/>
                      <a:gd name="connsiteY55" fmla="*/ 618150 h 1222690"/>
                      <a:gd name="connsiteX56" fmla="*/ 632311 w 1372780"/>
                      <a:gd name="connsiteY56" fmla="*/ 624472 h 1222690"/>
                      <a:gd name="connsiteX57" fmla="*/ 633236 w 1372780"/>
                      <a:gd name="connsiteY57" fmla="*/ 637466 h 1222690"/>
                      <a:gd name="connsiteX58" fmla="*/ 670270 w 1372780"/>
                      <a:gd name="connsiteY58" fmla="*/ 661711 h 1222690"/>
                      <a:gd name="connsiteX59" fmla="*/ 667249 w 1372780"/>
                      <a:gd name="connsiteY59" fmla="*/ 671870 h 1222690"/>
                      <a:gd name="connsiteX60" fmla="*/ 623802 w 1372780"/>
                      <a:gd name="connsiteY60" fmla="*/ 642275 h 1222690"/>
                      <a:gd name="connsiteX61" fmla="*/ 622314 w 1372780"/>
                      <a:gd name="connsiteY61" fmla="*/ 620969 h 1222690"/>
                      <a:gd name="connsiteX62" fmla="*/ 626325 w 1372780"/>
                      <a:gd name="connsiteY62" fmla="*/ 612850 h 1222690"/>
                      <a:gd name="connsiteX63" fmla="*/ 630069 w 1372780"/>
                      <a:gd name="connsiteY63" fmla="*/ 603916 h 1222690"/>
                      <a:gd name="connsiteX64" fmla="*/ 616910 w 1372780"/>
                      <a:gd name="connsiteY64" fmla="*/ 584198 h 1222690"/>
                      <a:gd name="connsiteX65" fmla="*/ 604964 w 1372780"/>
                      <a:gd name="connsiteY65" fmla="*/ 553134 h 1222690"/>
                      <a:gd name="connsiteX66" fmla="*/ 606654 w 1372780"/>
                      <a:gd name="connsiteY66" fmla="*/ 550328 h 1222690"/>
                      <a:gd name="connsiteX67" fmla="*/ 631073 w 1372780"/>
                      <a:gd name="connsiteY67" fmla="*/ 552277 h 1222690"/>
                      <a:gd name="connsiteX68" fmla="*/ 643955 w 1372780"/>
                      <a:gd name="connsiteY68" fmla="*/ 445876 h 1222690"/>
                      <a:gd name="connsiteX69" fmla="*/ 602561 w 1372780"/>
                      <a:gd name="connsiteY69" fmla="*/ 467305 h 1222690"/>
                      <a:gd name="connsiteX70" fmla="*/ 600447 w 1372780"/>
                      <a:gd name="connsiteY70" fmla="*/ 461768 h 1222690"/>
                      <a:gd name="connsiteX71" fmla="*/ 614635 w 1372780"/>
                      <a:gd name="connsiteY71" fmla="*/ 427105 h 1222690"/>
                      <a:gd name="connsiteX72" fmla="*/ 671682 w 1372780"/>
                      <a:gd name="connsiteY72" fmla="*/ 372223 h 1222690"/>
                      <a:gd name="connsiteX73" fmla="*/ 699394 w 1372780"/>
                      <a:gd name="connsiteY73" fmla="*/ 370589 h 1222690"/>
                      <a:gd name="connsiteX74" fmla="*/ 756699 w 1372780"/>
                      <a:gd name="connsiteY74" fmla="*/ 243787 h 1222690"/>
                      <a:gd name="connsiteX75" fmla="*/ 754414 w 1372780"/>
                      <a:gd name="connsiteY75" fmla="*/ 239761 h 1222690"/>
                      <a:gd name="connsiteX76" fmla="*/ 735062 w 1372780"/>
                      <a:gd name="connsiteY76" fmla="*/ 234062 h 1222690"/>
                      <a:gd name="connsiteX77" fmla="*/ 728727 w 1372780"/>
                      <a:gd name="connsiteY77" fmla="*/ 234690 h 1222690"/>
                      <a:gd name="connsiteX78" fmla="*/ 695444 w 1372780"/>
                      <a:gd name="connsiteY78" fmla="*/ 229230 h 1222690"/>
                      <a:gd name="connsiteX79" fmla="*/ 684011 w 1372780"/>
                      <a:gd name="connsiteY79" fmla="*/ 205392 h 1222690"/>
                      <a:gd name="connsiteX80" fmla="*/ 678019 w 1372780"/>
                      <a:gd name="connsiteY80" fmla="*/ 188982 h 1222690"/>
                      <a:gd name="connsiteX81" fmla="*/ 645771 w 1372780"/>
                      <a:gd name="connsiteY81" fmla="*/ 179114 h 1222690"/>
                      <a:gd name="connsiteX82" fmla="*/ 620046 w 1372780"/>
                      <a:gd name="connsiteY82" fmla="*/ 175784 h 1222690"/>
                      <a:gd name="connsiteX83" fmla="*/ 578325 w 1372780"/>
                      <a:gd name="connsiteY83" fmla="*/ 139674 h 1222690"/>
                      <a:gd name="connsiteX84" fmla="*/ 572829 w 1372780"/>
                      <a:gd name="connsiteY84" fmla="*/ 121398 h 1222690"/>
                      <a:gd name="connsiteX85" fmla="*/ 564471 w 1372780"/>
                      <a:gd name="connsiteY85" fmla="*/ 101063 h 1222690"/>
                      <a:gd name="connsiteX86" fmla="*/ 553793 w 1372780"/>
                      <a:gd name="connsiteY86" fmla="*/ 100788 h 1222690"/>
                      <a:gd name="connsiteX87" fmla="*/ 551345 w 1372780"/>
                      <a:gd name="connsiteY87" fmla="*/ 101101 h 1222690"/>
                      <a:gd name="connsiteX88" fmla="*/ 524193 w 1372780"/>
                      <a:gd name="connsiteY88" fmla="*/ 98797 h 1222690"/>
                      <a:gd name="connsiteX89" fmla="*/ 516187 w 1372780"/>
                      <a:gd name="connsiteY89" fmla="*/ 94415 h 1222690"/>
                      <a:gd name="connsiteX90" fmla="*/ 512053 w 1372780"/>
                      <a:gd name="connsiteY90" fmla="*/ 83203 h 1222690"/>
                      <a:gd name="connsiteX91" fmla="*/ 510191 w 1372780"/>
                      <a:gd name="connsiteY91" fmla="*/ 66036 h 1222690"/>
                      <a:gd name="connsiteX92" fmla="*/ 508830 w 1372780"/>
                      <a:gd name="connsiteY92" fmla="*/ 61051 h 1222690"/>
                      <a:gd name="connsiteX93" fmla="*/ 506542 w 1372780"/>
                      <a:gd name="connsiteY93" fmla="*/ 60189 h 1222690"/>
                      <a:gd name="connsiteX94" fmla="*/ 504625 w 1372780"/>
                      <a:gd name="connsiteY94" fmla="*/ 59584 h 1222690"/>
                      <a:gd name="connsiteX95" fmla="*/ 486564 w 1372780"/>
                      <a:gd name="connsiteY95" fmla="*/ 39219 h 1222690"/>
                      <a:gd name="connsiteX96" fmla="*/ 481131 w 1372780"/>
                      <a:gd name="connsiteY96" fmla="*/ 26532 h 1222690"/>
                      <a:gd name="connsiteX97" fmla="*/ 468619 w 1372780"/>
                      <a:gd name="connsiteY97" fmla="*/ 1917 h 1222690"/>
                      <a:gd name="connsiteX98" fmla="*/ 471019 w 1372780"/>
                      <a:gd name="connsiteY98" fmla="*/ 0 h 1222690"/>
                      <a:gd name="connsiteX99" fmla="*/ 445282 w 1372780"/>
                      <a:gd name="connsiteY99" fmla="*/ 10579 h 1222690"/>
                      <a:gd name="connsiteX100" fmla="*/ 373779 w 1372780"/>
                      <a:gd name="connsiteY100" fmla="*/ 84789 h 1222690"/>
                      <a:gd name="connsiteX101" fmla="*/ 350185 w 1372780"/>
                      <a:gd name="connsiteY101" fmla="*/ 105150 h 1222690"/>
                      <a:gd name="connsiteX102" fmla="*/ 241286 w 1372780"/>
                      <a:gd name="connsiteY102" fmla="*/ 73102 h 1222690"/>
                      <a:gd name="connsiteX103" fmla="*/ 236294 w 1372780"/>
                      <a:gd name="connsiteY103" fmla="*/ 65957 h 1222690"/>
                      <a:gd name="connsiteX104" fmla="*/ 215546 w 1372780"/>
                      <a:gd name="connsiteY104" fmla="*/ 73062 h 1222690"/>
                      <a:gd name="connsiteX105" fmla="*/ 213419 w 1372780"/>
                      <a:gd name="connsiteY105" fmla="*/ 97952 h 1222690"/>
                      <a:gd name="connsiteX106" fmla="*/ 207872 w 1372780"/>
                      <a:gd name="connsiteY106" fmla="*/ 121909 h 1222690"/>
                      <a:gd name="connsiteX107" fmla="*/ 171795 w 1372780"/>
                      <a:gd name="connsiteY107" fmla="*/ 125586 h 1222690"/>
                      <a:gd name="connsiteX108" fmla="*/ 1846 w 1372780"/>
                      <a:gd name="connsiteY108" fmla="*/ 99997 h 1222690"/>
                      <a:gd name="connsiteX109" fmla="*/ 33588 w 1372780"/>
                      <a:gd name="connsiteY109" fmla="*/ 124453 h 1222690"/>
                      <a:gd name="connsiteX110" fmla="*/ 0 w 1372780"/>
                      <a:gd name="connsiteY110" fmla="*/ 159457 h 1222690"/>
                      <a:gd name="connsiteX111" fmla="*/ 100770 w 1372780"/>
                      <a:gd name="connsiteY111" fmla="*/ 209741 h 1222690"/>
                      <a:gd name="connsiteX112" fmla="*/ 120099 w 1372780"/>
                      <a:gd name="connsiteY112" fmla="*/ 248118 h 1222690"/>
                      <a:gd name="connsiteX113" fmla="*/ 137719 w 1372780"/>
                      <a:gd name="connsiteY113" fmla="*/ 271325 h 1222690"/>
                      <a:gd name="connsiteX114" fmla="*/ 123442 w 1372780"/>
                      <a:gd name="connsiteY114" fmla="*/ 300385 h 1222690"/>
                      <a:gd name="connsiteX115" fmla="*/ 182929 w 1372780"/>
                      <a:gd name="connsiteY115" fmla="*/ 332578 h 1222690"/>
                      <a:gd name="connsiteX116" fmla="*/ 171605 w 1372780"/>
                      <a:gd name="connsiteY116" fmla="*/ 454061 h 1222690"/>
                      <a:gd name="connsiteX117" fmla="*/ 156075 w 1372780"/>
                      <a:gd name="connsiteY117" fmla="*/ 420117 h 1222690"/>
                      <a:gd name="connsiteX118" fmla="*/ 107465 w 1372780"/>
                      <a:gd name="connsiteY118" fmla="*/ 521569 h 1222690"/>
                      <a:gd name="connsiteX119" fmla="*/ 59465 w 1372780"/>
                      <a:gd name="connsiteY119" fmla="*/ 561214 h 1222690"/>
                      <a:gd name="connsiteX120" fmla="*/ 33541 w 1372780"/>
                      <a:gd name="connsiteY120" fmla="*/ 565076 h 1222690"/>
                      <a:gd name="connsiteX121" fmla="*/ 81150 w 1372780"/>
                      <a:gd name="connsiteY121" fmla="*/ 617106 h 1222690"/>
                      <a:gd name="connsiteX122" fmla="*/ 102586 w 1372780"/>
                      <a:gd name="connsiteY122" fmla="*/ 617670 h 1222690"/>
                      <a:gd name="connsiteX123" fmla="*/ 113302 w 1372780"/>
                      <a:gd name="connsiteY123" fmla="*/ 619897 h 1222690"/>
                      <a:gd name="connsiteX124" fmla="*/ 121392 w 1372780"/>
                      <a:gd name="connsiteY124" fmla="*/ 629021 h 1222690"/>
                      <a:gd name="connsiteX125" fmla="*/ 163092 w 1372780"/>
                      <a:gd name="connsiteY125" fmla="*/ 667318 h 1222690"/>
                      <a:gd name="connsiteX126" fmla="*/ 247293 w 1372780"/>
                      <a:gd name="connsiteY126" fmla="*/ 680299 h 1222690"/>
                      <a:gd name="connsiteX127" fmla="*/ 250543 w 1372780"/>
                      <a:gd name="connsiteY127" fmla="*/ 680337 h 1222690"/>
                      <a:gd name="connsiteX128" fmla="*/ 251985 w 1372780"/>
                      <a:gd name="connsiteY128" fmla="*/ 683241 h 1222690"/>
                      <a:gd name="connsiteX129" fmla="*/ 255459 w 1372780"/>
                      <a:gd name="connsiteY129" fmla="*/ 714907 h 1222690"/>
                      <a:gd name="connsiteX130" fmla="*/ 267534 w 1372780"/>
                      <a:gd name="connsiteY130" fmla="*/ 707225 h 1222690"/>
                      <a:gd name="connsiteX131" fmla="*/ 297413 w 1372780"/>
                      <a:gd name="connsiteY131" fmla="*/ 704364 h 1222690"/>
                      <a:gd name="connsiteX132" fmla="*/ 298700 w 1372780"/>
                      <a:gd name="connsiteY132" fmla="*/ 705730 h 1222690"/>
                      <a:gd name="connsiteX133" fmla="*/ 299668 w 1372780"/>
                      <a:gd name="connsiteY133" fmla="*/ 719551 h 1222690"/>
                      <a:gd name="connsiteX134" fmla="*/ 318038 w 1372780"/>
                      <a:gd name="connsiteY134" fmla="*/ 722259 h 1222690"/>
                      <a:gd name="connsiteX135" fmla="*/ 325564 w 1372780"/>
                      <a:gd name="connsiteY135" fmla="*/ 722494 h 1222690"/>
                      <a:gd name="connsiteX136" fmla="*/ 348559 w 1372780"/>
                      <a:gd name="connsiteY136" fmla="*/ 732266 h 1222690"/>
                      <a:gd name="connsiteX137" fmla="*/ 357829 w 1372780"/>
                      <a:gd name="connsiteY137" fmla="*/ 706091 h 1222690"/>
                      <a:gd name="connsiteX138" fmla="*/ 445528 w 1372780"/>
                      <a:gd name="connsiteY138" fmla="*/ 659501 h 1222690"/>
                      <a:gd name="connsiteX139" fmla="*/ 529789 w 1372780"/>
                      <a:gd name="connsiteY139" fmla="*/ 716360 h 1222690"/>
                      <a:gd name="connsiteX140" fmla="*/ 530174 w 1372780"/>
                      <a:gd name="connsiteY140" fmla="*/ 716172 h 1222690"/>
                      <a:gd name="connsiteX141" fmla="*/ 530857 w 1372780"/>
                      <a:gd name="connsiteY141" fmla="*/ 723539 h 1222690"/>
                      <a:gd name="connsiteX142" fmla="*/ 544262 w 1372780"/>
                      <a:gd name="connsiteY142" fmla="*/ 732449 h 1222690"/>
                      <a:gd name="connsiteX143" fmla="*/ 573009 w 1372780"/>
                      <a:gd name="connsiteY143" fmla="*/ 736625 h 1222690"/>
                      <a:gd name="connsiteX144" fmla="*/ 595110 w 1372780"/>
                      <a:gd name="connsiteY144" fmla="*/ 720140 h 1222690"/>
                      <a:gd name="connsiteX145" fmla="*/ 625372 w 1372780"/>
                      <a:gd name="connsiteY145" fmla="*/ 695535 h 1222690"/>
                      <a:gd name="connsiteX146" fmla="*/ 659700 w 1372780"/>
                      <a:gd name="connsiteY146" fmla="*/ 688431 h 1222690"/>
                      <a:gd name="connsiteX147" fmla="*/ 666286 w 1372780"/>
                      <a:gd name="connsiteY147" fmla="*/ 675589 h 1222690"/>
                      <a:gd name="connsiteX148" fmla="*/ 695907 w 1372780"/>
                      <a:gd name="connsiteY148" fmla="*/ 667176 h 1222690"/>
                      <a:gd name="connsiteX149" fmla="*/ 715232 w 1372780"/>
                      <a:gd name="connsiteY149" fmla="*/ 647928 h 1222690"/>
                      <a:gd name="connsiteX150" fmla="*/ 775444 w 1372780"/>
                      <a:gd name="connsiteY150" fmla="*/ 655078 h 1222690"/>
                      <a:gd name="connsiteX151" fmla="*/ 820123 w 1372780"/>
                      <a:gd name="connsiteY151" fmla="*/ 622217 h 1222690"/>
                      <a:gd name="connsiteX152" fmla="*/ 827744 w 1372780"/>
                      <a:gd name="connsiteY152" fmla="*/ 702274 h 1222690"/>
                      <a:gd name="connsiteX153" fmla="*/ 907869 w 1372780"/>
                      <a:gd name="connsiteY153" fmla="*/ 829394 h 1222690"/>
                      <a:gd name="connsiteX154" fmla="*/ 1045419 w 1372780"/>
                      <a:gd name="connsiteY154" fmla="*/ 954752 h 1222690"/>
                      <a:gd name="connsiteX155" fmla="*/ 1123563 w 1372780"/>
                      <a:gd name="connsiteY155" fmla="*/ 1023664 h 1222690"/>
                      <a:gd name="connsiteX156" fmla="*/ 1125381 w 1372780"/>
                      <a:gd name="connsiteY156" fmla="*/ 1037276 h 1222690"/>
                      <a:gd name="connsiteX157" fmla="*/ 1148194 w 1372780"/>
                      <a:gd name="connsiteY157" fmla="*/ 1042789 h 1222690"/>
                      <a:gd name="connsiteX158" fmla="*/ 1180509 w 1372780"/>
                      <a:gd name="connsiteY158" fmla="*/ 1065099 h 1222690"/>
                      <a:gd name="connsiteX159" fmla="*/ 1169920 w 1372780"/>
                      <a:gd name="connsiteY159" fmla="*/ 1213047 h 1222690"/>
                      <a:gd name="connsiteX160" fmla="*/ 1216166 w 1372780"/>
                      <a:gd name="connsiteY160" fmla="*/ 1222691 h 1222690"/>
                      <a:gd name="connsiteX161" fmla="*/ 1274367 w 1372780"/>
                      <a:gd name="connsiteY161" fmla="*/ 1114743 h 1222690"/>
                      <a:gd name="connsiteX162" fmla="*/ 1242154 w 1372780"/>
                      <a:gd name="connsiteY162" fmla="*/ 1067522 h 1222690"/>
                      <a:gd name="connsiteX163" fmla="*/ 1288020 w 1372780"/>
                      <a:gd name="connsiteY163" fmla="*/ 1020394 h 1222690"/>
                      <a:gd name="connsiteX164" fmla="*/ 1340521 w 1372780"/>
                      <a:gd name="connsiteY164" fmla="*/ 1072962 h 1222690"/>
                      <a:gd name="connsiteX165" fmla="*/ 1371443 w 1372780"/>
                      <a:gd name="connsiteY165" fmla="*/ 1034124 h 122269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  <a:cxn ang="0">
                        <a:pos x="connsiteX25" y="connsiteY25"/>
                      </a:cxn>
                      <a:cxn ang="0">
                        <a:pos x="connsiteX26" y="connsiteY26"/>
                      </a:cxn>
                      <a:cxn ang="0">
                        <a:pos x="connsiteX27" y="connsiteY27"/>
                      </a:cxn>
                      <a:cxn ang="0">
                        <a:pos x="connsiteX28" y="connsiteY28"/>
                      </a:cxn>
                      <a:cxn ang="0">
                        <a:pos x="connsiteX29" y="connsiteY29"/>
                      </a:cxn>
                      <a:cxn ang="0">
                        <a:pos x="connsiteX30" y="connsiteY30"/>
                      </a:cxn>
                      <a:cxn ang="0">
                        <a:pos x="connsiteX31" y="connsiteY31"/>
                      </a:cxn>
                      <a:cxn ang="0">
                        <a:pos x="connsiteX32" y="connsiteY32"/>
                      </a:cxn>
                      <a:cxn ang="0">
                        <a:pos x="connsiteX33" y="connsiteY33"/>
                      </a:cxn>
                      <a:cxn ang="0">
                        <a:pos x="connsiteX34" y="connsiteY34"/>
                      </a:cxn>
                      <a:cxn ang="0">
                        <a:pos x="connsiteX35" y="connsiteY35"/>
                      </a:cxn>
                      <a:cxn ang="0">
                        <a:pos x="connsiteX36" y="connsiteY36"/>
                      </a:cxn>
                      <a:cxn ang="0">
                        <a:pos x="connsiteX37" y="connsiteY37"/>
                      </a:cxn>
                      <a:cxn ang="0">
                        <a:pos x="connsiteX38" y="connsiteY38"/>
                      </a:cxn>
                      <a:cxn ang="0">
                        <a:pos x="connsiteX39" y="connsiteY39"/>
                      </a:cxn>
                      <a:cxn ang="0">
                        <a:pos x="connsiteX40" y="connsiteY40"/>
                      </a:cxn>
                      <a:cxn ang="0">
                        <a:pos x="connsiteX41" y="connsiteY41"/>
                      </a:cxn>
                      <a:cxn ang="0">
                        <a:pos x="connsiteX42" y="connsiteY42"/>
                      </a:cxn>
                      <a:cxn ang="0">
                        <a:pos x="connsiteX43" y="connsiteY43"/>
                      </a:cxn>
                      <a:cxn ang="0">
                        <a:pos x="connsiteX44" y="connsiteY44"/>
                      </a:cxn>
                      <a:cxn ang="0">
                        <a:pos x="connsiteX45" y="connsiteY45"/>
                      </a:cxn>
                      <a:cxn ang="0">
                        <a:pos x="connsiteX46" y="connsiteY46"/>
                      </a:cxn>
                      <a:cxn ang="0">
                        <a:pos x="connsiteX47" y="connsiteY47"/>
                      </a:cxn>
                      <a:cxn ang="0">
                        <a:pos x="connsiteX48" y="connsiteY48"/>
                      </a:cxn>
                      <a:cxn ang="0">
                        <a:pos x="connsiteX49" y="connsiteY49"/>
                      </a:cxn>
                      <a:cxn ang="0">
                        <a:pos x="connsiteX50" y="connsiteY50"/>
                      </a:cxn>
                      <a:cxn ang="0">
                        <a:pos x="connsiteX51" y="connsiteY51"/>
                      </a:cxn>
                      <a:cxn ang="0">
                        <a:pos x="connsiteX52" y="connsiteY52"/>
                      </a:cxn>
                      <a:cxn ang="0">
                        <a:pos x="connsiteX53" y="connsiteY53"/>
                      </a:cxn>
                      <a:cxn ang="0">
                        <a:pos x="connsiteX54" y="connsiteY54"/>
                      </a:cxn>
                      <a:cxn ang="0">
                        <a:pos x="connsiteX55" y="connsiteY55"/>
                      </a:cxn>
                      <a:cxn ang="0">
                        <a:pos x="connsiteX56" y="connsiteY56"/>
                      </a:cxn>
                      <a:cxn ang="0">
                        <a:pos x="connsiteX57" y="connsiteY57"/>
                      </a:cxn>
                      <a:cxn ang="0">
                        <a:pos x="connsiteX58" y="connsiteY58"/>
                      </a:cxn>
                      <a:cxn ang="0">
                        <a:pos x="connsiteX59" y="connsiteY59"/>
                      </a:cxn>
                      <a:cxn ang="0">
                        <a:pos x="connsiteX60" y="connsiteY60"/>
                      </a:cxn>
                      <a:cxn ang="0">
                        <a:pos x="connsiteX61" y="connsiteY61"/>
                      </a:cxn>
                      <a:cxn ang="0">
                        <a:pos x="connsiteX62" y="connsiteY62"/>
                      </a:cxn>
                      <a:cxn ang="0">
                        <a:pos x="connsiteX63" y="connsiteY63"/>
                      </a:cxn>
                      <a:cxn ang="0">
                        <a:pos x="connsiteX64" y="connsiteY64"/>
                      </a:cxn>
                      <a:cxn ang="0">
                        <a:pos x="connsiteX65" y="connsiteY65"/>
                      </a:cxn>
                      <a:cxn ang="0">
                        <a:pos x="connsiteX66" y="connsiteY66"/>
                      </a:cxn>
                      <a:cxn ang="0">
                        <a:pos x="connsiteX67" y="connsiteY67"/>
                      </a:cxn>
                      <a:cxn ang="0">
                        <a:pos x="connsiteX68" y="connsiteY68"/>
                      </a:cxn>
                      <a:cxn ang="0">
                        <a:pos x="connsiteX69" y="connsiteY69"/>
                      </a:cxn>
                      <a:cxn ang="0">
                        <a:pos x="connsiteX70" y="connsiteY70"/>
                      </a:cxn>
                      <a:cxn ang="0">
                        <a:pos x="connsiteX71" y="connsiteY71"/>
                      </a:cxn>
                      <a:cxn ang="0">
                        <a:pos x="connsiteX72" y="connsiteY72"/>
                      </a:cxn>
                      <a:cxn ang="0">
                        <a:pos x="connsiteX73" y="connsiteY73"/>
                      </a:cxn>
                      <a:cxn ang="0">
                        <a:pos x="connsiteX74" y="connsiteY74"/>
                      </a:cxn>
                      <a:cxn ang="0">
                        <a:pos x="connsiteX75" y="connsiteY75"/>
                      </a:cxn>
                      <a:cxn ang="0">
                        <a:pos x="connsiteX76" y="connsiteY76"/>
                      </a:cxn>
                      <a:cxn ang="0">
                        <a:pos x="connsiteX77" y="connsiteY77"/>
                      </a:cxn>
                      <a:cxn ang="0">
                        <a:pos x="connsiteX78" y="connsiteY78"/>
                      </a:cxn>
                      <a:cxn ang="0">
                        <a:pos x="connsiteX79" y="connsiteY79"/>
                      </a:cxn>
                      <a:cxn ang="0">
                        <a:pos x="connsiteX80" y="connsiteY80"/>
                      </a:cxn>
                      <a:cxn ang="0">
                        <a:pos x="connsiteX81" y="connsiteY81"/>
                      </a:cxn>
                      <a:cxn ang="0">
                        <a:pos x="connsiteX82" y="connsiteY82"/>
                      </a:cxn>
                      <a:cxn ang="0">
                        <a:pos x="connsiteX83" y="connsiteY83"/>
                      </a:cxn>
                      <a:cxn ang="0">
                        <a:pos x="connsiteX84" y="connsiteY84"/>
                      </a:cxn>
                      <a:cxn ang="0">
                        <a:pos x="connsiteX85" y="connsiteY85"/>
                      </a:cxn>
                      <a:cxn ang="0">
                        <a:pos x="connsiteX86" y="connsiteY86"/>
                      </a:cxn>
                      <a:cxn ang="0">
                        <a:pos x="connsiteX87" y="connsiteY87"/>
                      </a:cxn>
                      <a:cxn ang="0">
                        <a:pos x="connsiteX88" y="connsiteY88"/>
                      </a:cxn>
                      <a:cxn ang="0">
                        <a:pos x="connsiteX89" y="connsiteY89"/>
                      </a:cxn>
                      <a:cxn ang="0">
                        <a:pos x="connsiteX90" y="connsiteY90"/>
                      </a:cxn>
                      <a:cxn ang="0">
                        <a:pos x="connsiteX91" y="connsiteY91"/>
                      </a:cxn>
                      <a:cxn ang="0">
                        <a:pos x="connsiteX92" y="connsiteY92"/>
                      </a:cxn>
                      <a:cxn ang="0">
                        <a:pos x="connsiteX93" y="connsiteY93"/>
                      </a:cxn>
                      <a:cxn ang="0">
                        <a:pos x="connsiteX94" y="connsiteY94"/>
                      </a:cxn>
                      <a:cxn ang="0">
                        <a:pos x="connsiteX95" y="connsiteY95"/>
                      </a:cxn>
                      <a:cxn ang="0">
                        <a:pos x="connsiteX96" y="connsiteY96"/>
                      </a:cxn>
                      <a:cxn ang="0">
                        <a:pos x="connsiteX97" y="connsiteY97"/>
                      </a:cxn>
                      <a:cxn ang="0">
                        <a:pos x="connsiteX98" y="connsiteY98"/>
                      </a:cxn>
                      <a:cxn ang="0">
                        <a:pos x="connsiteX99" y="connsiteY99"/>
                      </a:cxn>
                      <a:cxn ang="0">
                        <a:pos x="connsiteX100" y="connsiteY100"/>
                      </a:cxn>
                      <a:cxn ang="0">
                        <a:pos x="connsiteX101" y="connsiteY101"/>
                      </a:cxn>
                      <a:cxn ang="0">
                        <a:pos x="connsiteX102" y="connsiteY102"/>
                      </a:cxn>
                      <a:cxn ang="0">
                        <a:pos x="connsiteX103" y="connsiteY103"/>
                      </a:cxn>
                      <a:cxn ang="0">
                        <a:pos x="connsiteX104" y="connsiteY104"/>
                      </a:cxn>
                      <a:cxn ang="0">
                        <a:pos x="connsiteX105" y="connsiteY105"/>
                      </a:cxn>
                      <a:cxn ang="0">
                        <a:pos x="connsiteX106" y="connsiteY106"/>
                      </a:cxn>
                      <a:cxn ang="0">
                        <a:pos x="connsiteX107" y="connsiteY107"/>
                      </a:cxn>
                      <a:cxn ang="0">
                        <a:pos x="connsiteX108" y="connsiteY108"/>
                      </a:cxn>
                      <a:cxn ang="0">
                        <a:pos x="connsiteX109" y="connsiteY109"/>
                      </a:cxn>
                      <a:cxn ang="0">
                        <a:pos x="connsiteX110" y="connsiteY110"/>
                      </a:cxn>
                      <a:cxn ang="0">
                        <a:pos x="connsiteX111" y="connsiteY111"/>
                      </a:cxn>
                      <a:cxn ang="0">
                        <a:pos x="connsiteX112" y="connsiteY112"/>
                      </a:cxn>
                      <a:cxn ang="0">
                        <a:pos x="connsiteX113" y="connsiteY113"/>
                      </a:cxn>
                      <a:cxn ang="0">
                        <a:pos x="connsiteX114" y="connsiteY114"/>
                      </a:cxn>
                      <a:cxn ang="0">
                        <a:pos x="connsiteX115" y="connsiteY115"/>
                      </a:cxn>
                      <a:cxn ang="0">
                        <a:pos x="connsiteX116" y="connsiteY116"/>
                      </a:cxn>
                      <a:cxn ang="0">
                        <a:pos x="connsiteX117" y="connsiteY117"/>
                      </a:cxn>
                      <a:cxn ang="0">
                        <a:pos x="connsiteX118" y="connsiteY118"/>
                      </a:cxn>
                      <a:cxn ang="0">
                        <a:pos x="connsiteX119" y="connsiteY119"/>
                      </a:cxn>
                      <a:cxn ang="0">
                        <a:pos x="connsiteX120" y="connsiteY120"/>
                      </a:cxn>
                      <a:cxn ang="0">
                        <a:pos x="connsiteX121" y="connsiteY121"/>
                      </a:cxn>
                      <a:cxn ang="0">
                        <a:pos x="connsiteX122" y="connsiteY122"/>
                      </a:cxn>
                      <a:cxn ang="0">
                        <a:pos x="connsiteX123" y="connsiteY123"/>
                      </a:cxn>
                      <a:cxn ang="0">
                        <a:pos x="connsiteX124" y="connsiteY124"/>
                      </a:cxn>
                      <a:cxn ang="0">
                        <a:pos x="connsiteX125" y="connsiteY125"/>
                      </a:cxn>
                      <a:cxn ang="0">
                        <a:pos x="connsiteX126" y="connsiteY126"/>
                      </a:cxn>
                      <a:cxn ang="0">
                        <a:pos x="connsiteX127" y="connsiteY127"/>
                      </a:cxn>
                      <a:cxn ang="0">
                        <a:pos x="connsiteX128" y="connsiteY128"/>
                      </a:cxn>
                      <a:cxn ang="0">
                        <a:pos x="connsiteX129" y="connsiteY129"/>
                      </a:cxn>
                      <a:cxn ang="0">
                        <a:pos x="connsiteX130" y="connsiteY130"/>
                      </a:cxn>
                      <a:cxn ang="0">
                        <a:pos x="connsiteX131" y="connsiteY131"/>
                      </a:cxn>
                      <a:cxn ang="0">
                        <a:pos x="connsiteX132" y="connsiteY132"/>
                      </a:cxn>
                      <a:cxn ang="0">
                        <a:pos x="connsiteX133" y="connsiteY133"/>
                      </a:cxn>
                      <a:cxn ang="0">
                        <a:pos x="connsiteX134" y="connsiteY134"/>
                      </a:cxn>
                      <a:cxn ang="0">
                        <a:pos x="connsiteX135" y="connsiteY135"/>
                      </a:cxn>
                      <a:cxn ang="0">
                        <a:pos x="connsiteX136" y="connsiteY136"/>
                      </a:cxn>
                      <a:cxn ang="0">
                        <a:pos x="connsiteX137" y="connsiteY137"/>
                      </a:cxn>
                      <a:cxn ang="0">
                        <a:pos x="connsiteX138" y="connsiteY138"/>
                      </a:cxn>
                      <a:cxn ang="0">
                        <a:pos x="connsiteX139" y="connsiteY139"/>
                      </a:cxn>
                      <a:cxn ang="0">
                        <a:pos x="connsiteX140" y="connsiteY140"/>
                      </a:cxn>
                      <a:cxn ang="0">
                        <a:pos x="connsiteX141" y="connsiteY141"/>
                      </a:cxn>
                      <a:cxn ang="0">
                        <a:pos x="connsiteX142" y="connsiteY142"/>
                      </a:cxn>
                      <a:cxn ang="0">
                        <a:pos x="connsiteX143" y="connsiteY143"/>
                      </a:cxn>
                      <a:cxn ang="0">
                        <a:pos x="connsiteX144" y="connsiteY144"/>
                      </a:cxn>
                      <a:cxn ang="0">
                        <a:pos x="connsiteX145" y="connsiteY145"/>
                      </a:cxn>
                      <a:cxn ang="0">
                        <a:pos x="connsiteX146" y="connsiteY146"/>
                      </a:cxn>
                      <a:cxn ang="0">
                        <a:pos x="connsiteX147" y="connsiteY147"/>
                      </a:cxn>
                      <a:cxn ang="0">
                        <a:pos x="connsiteX148" y="connsiteY148"/>
                      </a:cxn>
                      <a:cxn ang="0">
                        <a:pos x="connsiteX149" y="connsiteY149"/>
                      </a:cxn>
                      <a:cxn ang="0">
                        <a:pos x="connsiteX150" y="connsiteY150"/>
                      </a:cxn>
                      <a:cxn ang="0">
                        <a:pos x="connsiteX151" y="connsiteY151"/>
                      </a:cxn>
                      <a:cxn ang="0">
                        <a:pos x="connsiteX152" y="connsiteY152"/>
                      </a:cxn>
                      <a:cxn ang="0">
                        <a:pos x="connsiteX153" y="connsiteY153"/>
                      </a:cxn>
                      <a:cxn ang="0">
                        <a:pos x="connsiteX154" y="connsiteY154"/>
                      </a:cxn>
                      <a:cxn ang="0">
                        <a:pos x="connsiteX155" y="connsiteY155"/>
                      </a:cxn>
                      <a:cxn ang="0">
                        <a:pos x="connsiteX156" y="connsiteY156"/>
                      </a:cxn>
                      <a:cxn ang="0">
                        <a:pos x="connsiteX157" y="connsiteY157"/>
                      </a:cxn>
                      <a:cxn ang="0">
                        <a:pos x="connsiteX158" y="connsiteY158"/>
                      </a:cxn>
                      <a:cxn ang="0">
                        <a:pos x="connsiteX159" y="connsiteY159"/>
                      </a:cxn>
                      <a:cxn ang="0">
                        <a:pos x="connsiteX160" y="connsiteY160"/>
                      </a:cxn>
                      <a:cxn ang="0">
                        <a:pos x="connsiteX161" y="connsiteY161"/>
                      </a:cxn>
                      <a:cxn ang="0">
                        <a:pos x="connsiteX162" y="connsiteY162"/>
                      </a:cxn>
                      <a:cxn ang="0">
                        <a:pos x="connsiteX163" y="connsiteY163"/>
                      </a:cxn>
                      <a:cxn ang="0">
                        <a:pos x="connsiteX164" y="connsiteY164"/>
                      </a:cxn>
                      <a:cxn ang="0">
                        <a:pos x="connsiteX165" y="connsiteY165"/>
                      </a:cxn>
                    </a:cxnLst>
                    <a:rect l="l" t="t" r="r" b="b"/>
                    <a:pathLst>
                      <a:path w="1372780" h="1222690">
                        <a:moveTo>
                          <a:pt x="1371443" y="1034124"/>
                        </a:moveTo>
                        <a:cubicBezTo>
                          <a:pt x="1364976" y="1014476"/>
                          <a:pt x="1345324" y="1002798"/>
                          <a:pt x="1327178" y="992867"/>
                        </a:cubicBezTo>
                        <a:cubicBezTo>
                          <a:pt x="1284299" y="969397"/>
                          <a:pt x="1241422" y="945924"/>
                          <a:pt x="1198543" y="922455"/>
                        </a:cubicBezTo>
                        <a:cubicBezTo>
                          <a:pt x="1201774" y="911729"/>
                          <a:pt x="1212996" y="904003"/>
                          <a:pt x="1224168" y="904816"/>
                        </a:cubicBezTo>
                        <a:cubicBezTo>
                          <a:pt x="1222039" y="892615"/>
                          <a:pt x="1208155" y="886037"/>
                          <a:pt x="1195781" y="885501"/>
                        </a:cubicBezTo>
                        <a:cubicBezTo>
                          <a:pt x="1183406" y="884967"/>
                          <a:pt x="1171005" y="888380"/>
                          <a:pt x="1158710" y="886883"/>
                        </a:cubicBezTo>
                        <a:cubicBezTo>
                          <a:pt x="1148334" y="885620"/>
                          <a:pt x="1138657" y="880909"/>
                          <a:pt x="1129936" y="875148"/>
                        </a:cubicBezTo>
                        <a:cubicBezTo>
                          <a:pt x="1101495" y="856363"/>
                          <a:pt x="1081495" y="825276"/>
                          <a:pt x="1076188" y="791608"/>
                        </a:cubicBezTo>
                        <a:cubicBezTo>
                          <a:pt x="1073544" y="774824"/>
                          <a:pt x="1074180" y="756871"/>
                          <a:pt x="1065883" y="742045"/>
                        </a:cubicBezTo>
                        <a:cubicBezTo>
                          <a:pt x="1047129" y="708540"/>
                          <a:pt x="990605" y="704020"/>
                          <a:pt x="983109" y="666360"/>
                        </a:cubicBezTo>
                        <a:cubicBezTo>
                          <a:pt x="980165" y="651574"/>
                          <a:pt x="986508" y="636751"/>
                          <a:pt x="989568" y="621988"/>
                        </a:cubicBezTo>
                        <a:cubicBezTo>
                          <a:pt x="992628" y="607225"/>
                          <a:pt x="990712" y="588796"/>
                          <a:pt x="977436" y="581653"/>
                        </a:cubicBezTo>
                        <a:cubicBezTo>
                          <a:pt x="1011698" y="571933"/>
                          <a:pt x="1044836" y="558426"/>
                          <a:pt x="1076358" y="541848"/>
                        </a:cubicBezTo>
                        <a:cubicBezTo>
                          <a:pt x="1082740" y="527140"/>
                          <a:pt x="1076658" y="508470"/>
                          <a:pt x="1068793" y="490298"/>
                        </a:cubicBezTo>
                        <a:cubicBezTo>
                          <a:pt x="1067855" y="488133"/>
                          <a:pt x="1066887" y="485884"/>
                          <a:pt x="1065507" y="484653"/>
                        </a:cubicBezTo>
                        <a:cubicBezTo>
                          <a:pt x="1062528" y="481976"/>
                          <a:pt x="1057978" y="483283"/>
                          <a:pt x="1050812" y="485644"/>
                        </a:cubicBezTo>
                        <a:cubicBezTo>
                          <a:pt x="1045101" y="487516"/>
                          <a:pt x="1038632" y="489613"/>
                          <a:pt x="1032150" y="488598"/>
                        </a:cubicBezTo>
                        <a:cubicBezTo>
                          <a:pt x="1026662" y="487718"/>
                          <a:pt x="1022109" y="484648"/>
                          <a:pt x="1018449" y="482193"/>
                        </a:cubicBezTo>
                        <a:lnTo>
                          <a:pt x="971929" y="450820"/>
                        </a:lnTo>
                        <a:cubicBezTo>
                          <a:pt x="966142" y="446934"/>
                          <a:pt x="960926" y="443704"/>
                          <a:pt x="955657" y="443672"/>
                        </a:cubicBezTo>
                        <a:cubicBezTo>
                          <a:pt x="950718" y="443553"/>
                          <a:pt x="945535" y="446344"/>
                          <a:pt x="940039" y="449207"/>
                        </a:cubicBezTo>
                        <a:cubicBezTo>
                          <a:pt x="931890" y="453447"/>
                          <a:pt x="922658" y="458253"/>
                          <a:pt x="912912" y="453662"/>
                        </a:cubicBezTo>
                        <a:cubicBezTo>
                          <a:pt x="910307" y="452429"/>
                          <a:pt x="908050" y="450707"/>
                          <a:pt x="905871" y="449028"/>
                        </a:cubicBezTo>
                        <a:cubicBezTo>
                          <a:pt x="902692" y="446599"/>
                          <a:pt x="900363" y="444932"/>
                          <a:pt x="899095" y="445510"/>
                        </a:cubicBezTo>
                        <a:cubicBezTo>
                          <a:pt x="897832" y="446098"/>
                          <a:pt x="897799" y="449150"/>
                          <a:pt x="897888" y="453400"/>
                        </a:cubicBezTo>
                        <a:cubicBezTo>
                          <a:pt x="898009" y="458996"/>
                          <a:pt x="898159" y="465953"/>
                          <a:pt x="892913" y="470576"/>
                        </a:cubicBezTo>
                        <a:cubicBezTo>
                          <a:pt x="885872" y="476773"/>
                          <a:pt x="877280" y="472638"/>
                          <a:pt x="871004" y="469582"/>
                        </a:cubicBezTo>
                        <a:cubicBezTo>
                          <a:pt x="867820" y="468042"/>
                          <a:pt x="865166" y="466821"/>
                          <a:pt x="863125" y="466456"/>
                        </a:cubicBezTo>
                        <a:cubicBezTo>
                          <a:pt x="864441" y="479953"/>
                          <a:pt x="858237" y="493870"/>
                          <a:pt x="846969" y="501659"/>
                        </a:cubicBezTo>
                        <a:lnTo>
                          <a:pt x="841495" y="505445"/>
                        </a:lnTo>
                        <a:lnTo>
                          <a:pt x="839040" y="499267"/>
                        </a:lnTo>
                        <a:cubicBezTo>
                          <a:pt x="835102" y="489356"/>
                          <a:pt x="828669" y="480304"/>
                          <a:pt x="820626" y="473248"/>
                        </a:cubicBezTo>
                        <a:lnTo>
                          <a:pt x="806511" y="499935"/>
                        </a:lnTo>
                        <a:lnTo>
                          <a:pt x="802079" y="489988"/>
                        </a:lnTo>
                        <a:cubicBezTo>
                          <a:pt x="799130" y="483349"/>
                          <a:pt x="792549" y="476830"/>
                          <a:pt x="788273" y="476314"/>
                        </a:cubicBezTo>
                        <a:cubicBezTo>
                          <a:pt x="787358" y="476207"/>
                          <a:pt x="786634" y="476356"/>
                          <a:pt x="785754" y="477490"/>
                        </a:cubicBezTo>
                        <a:cubicBezTo>
                          <a:pt x="784361" y="479280"/>
                          <a:pt x="784717" y="482544"/>
                          <a:pt x="785127" y="486328"/>
                        </a:cubicBezTo>
                        <a:cubicBezTo>
                          <a:pt x="785665" y="491216"/>
                          <a:pt x="786269" y="496757"/>
                          <a:pt x="783205" y="501826"/>
                        </a:cubicBezTo>
                        <a:cubicBezTo>
                          <a:pt x="780478" y="506335"/>
                          <a:pt x="775818" y="508954"/>
                          <a:pt x="770028" y="508605"/>
                        </a:cubicBezTo>
                        <a:cubicBezTo>
                          <a:pt x="762367" y="508333"/>
                          <a:pt x="754578" y="503363"/>
                          <a:pt x="751088" y="496523"/>
                        </a:cubicBezTo>
                        <a:cubicBezTo>
                          <a:pt x="748190" y="490835"/>
                          <a:pt x="747334" y="484811"/>
                          <a:pt x="746505" y="478993"/>
                        </a:cubicBezTo>
                        <a:cubicBezTo>
                          <a:pt x="745953" y="475109"/>
                          <a:pt x="745428" y="471441"/>
                          <a:pt x="744333" y="468057"/>
                        </a:cubicBezTo>
                        <a:cubicBezTo>
                          <a:pt x="742929" y="463744"/>
                          <a:pt x="739212" y="459625"/>
                          <a:pt x="735496" y="458256"/>
                        </a:cubicBezTo>
                        <a:cubicBezTo>
                          <a:pt x="734759" y="457983"/>
                          <a:pt x="734106" y="457864"/>
                          <a:pt x="733541" y="457826"/>
                        </a:cubicBezTo>
                        <a:lnTo>
                          <a:pt x="737026" y="508087"/>
                        </a:lnTo>
                        <a:lnTo>
                          <a:pt x="727614" y="500596"/>
                        </a:lnTo>
                        <a:cubicBezTo>
                          <a:pt x="723529" y="497348"/>
                          <a:pt x="716649" y="497668"/>
                          <a:pt x="712884" y="501307"/>
                        </a:cubicBezTo>
                        <a:lnTo>
                          <a:pt x="709086" y="504985"/>
                        </a:lnTo>
                        <a:lnTo>
                          <a:pt x="705401" y="501186"/>
                        </a:lnTo>
                        <a:cubicBezTo>
                          <a:pt x="692251" y="487625"/>
                          <a:pt x="669248" y="485141"/>
                          <a:pt x="653082" y="494731"/>
                        </a:cubicBezTo>
                        <a:cubicBezTo>
                          <a:pt x="650829" y="516745"/>
                          <a:pt x="646474" y="538562"/>
                          <a:pt x="639952" y="559473"/>
                        </a:cubicBezTo>
                        <a:lnTo>
                          <a:pt x="638696" y="563505"/>
                        </a:lnTo>
                        <a:lnTo>
                          <a:pt x="613087" y="561472"/>
                        </a:lnTo>
                        <a:cubicBezTo>
                          <a:pt x="612888" y="565291"/>
                          <a:pt x="616782" y="569481"/>
                          <a:pt x="624193" y="576512"/>
                        </a:cubicBezTo>
                        <a:cubicBezTo>
                          <a:pt x="632344" y="584241"/>
                          <a:pt x="641590" y="593003"/>
                          <a:pt x="640624" y="604790"/>
                        </a:cubicBezTo>
                        <a:cubicBezTo>
                          <a:pt x="640191" y="610016"/>
                          <a:pt x="637702" y="614339"/>
                          <a:pt x="635496" y="618150"/>
                        </a:cubicBezTo>
                        <a:cubicBezTo>
                          <a:pt x="634230" y="620352"/>
                          <a:pt x="633030" y="622418"/>
                          <a:pt x="632311" y="624472"/>
                        </a:cubicBezTo>
                        <a:cubicBezTo>
                          <a:pt x="630746" y="628922"/>
                          <a:pt x="631046" y="633168"/>
                          <a:pt x="633236" y="637466"/>
                        </a:cubicBezTo>
                        <a:cubicBezTo>
                          <a:pt x="639114" y="648975"/>
                          <a:pt x="656856" y="657728"/>
                          <a:pt x="670270" y="661711"/>
                        </a:cubicBezTo>
                        <a:lnTo>
                          <a:pt x="667249" y="671870"/>
                        </a:lnTo>
                        <a:cubicBezTo>
                          <a:pt x="659407" y="669531"/>
                          <a:pt x="633104" y="660501"/>
                          <a:pt x="623802" y="642275"/>
                        </a:cubicBezTo>
                        <a:cubicBezTo>
                          <a:pt x="620275" y="635371"/>
                          <a:pt x="619777" y="628196"/>
                          <a:pt x="622314" y="620969"/>
                        </a:cubicBezTo>
                        <a:cubicBezTo>
                          <a:pt x="623363" y="617982"/>
                          <a:pt x="624869" y="615374"/>
                          <a:pt x="626325" y="612850"/>
                        </a:cubicBezTo>
                        <a:cubicBezTo>
                          <a:pt x="628132" y="609732"/>
                          <a:pt x="629836" y="606783"/>
                          <a:pt x="630069" y="603916"/>
                        </a:cubicBezTo>
                        <a:cubicBezTo>
                          <a:pt x="630619" y="597188"/>
                          <a:pt x="623649" y="590581"/>
                          <a:pt x="616910" y="584198"/>
                        </a:cubicBezTo>
                        <a:cubicBezTo>
                          <a:pt x="608207" y="575947"/>
                          <a:pt x="597373" y="565675"/>
                          <a:pt x="604964" y="553134"/>
                        </a:cubicBezTo>
                        <a:lnTo>
                          <a:pt x="606654" y="550328"/>
                        </a:lnTo>
                        <a:lnTo>
                          <a:pt x="631073" y="552277"/>
                        </a:lnTo>
                        <a:cubicBezTo>
                          <a:pt x="641226" y="518079"/>
                          <a:pt x="645643" y="481547"/>
                          <a:pt x="643955" y="445876"/>
                        </a:cubicBezTo>
                        <a:lnTo>
                          <a:pt x="602561" y="467305"/>
                        </a:lnTo>
                        <a:lnTo>
                          <a:pt x="600447" y="461768"/>
                        </a:lnTo>
                        <a:cubicBezTo>
                          <a:pt x="594570" y="446402"/>
                          <a:pt x="609671" y="431879"/>
                          <a:pt x="614635" y="427105"/>
                        </a:cubicBezTo>
                        <a:lnTo>
                          <a:pt x="671682" y="372223"/>
                        </a:lnTo>
                        <a:lnTo>
                          <a:pt x="699394" y="370589"/>
                        </a:lnTo>
                        <a:cubicBezTo>
                          <a:pt x="698533" y="322707"/>
                          <a:pt x="720148" y="274760"/>
                          <a:pt x="756699" y="243787"/>
                        </a:cubicBezTo>
                        <a:cubicBezTo>
                          <a:pt x="756416" y="242331"/>
                          <a:pt x="755654" y="241004"/>
                          <a:pt x="754414" y="239761"/>
                        </a:cubicBezTo>
                        <a:cubicBezTo>
                          <a:pt x="750537" y="235890"/>
                          <a:pt x="742396" y="233449"/>
                          <a:pt x="735062" y="234062"/>
                        </a:cubicBezTo>
                        <a:cubicBezTo>
                          <a:pt x="732983" y="234224"/>
                          <a:pt x="730867" y="234456"/>
                          <a:pt x="728727" y="234690"/>
                        </a:cubicBezTo>
                        <a:cubicBezTo>
                          <a:pt x="717606" y="235890"/>
                          <a:pt x="704994" y="237277"/>
                          <a:pt x="695444" y="229230"/>
                        </a:cubicBezTo>
                        <a:cubicBezTo>
                          <a:pt x="688017" y="222977"/>
                          <a:pt x="685980" y="214034"/>
                          <a:pt x="684011" y="205392"/>
                        </a:cubicBezTo>
                        <a:cubicBezTo>
                          <a:pt x="682600" y="199175"/>
                          <a:pt x="681261" y="193297"/>
                          <a:pt x="678019" y="188982"/>
                        </a:cubicBezTo>
                        <a:cubicBezTo>
                          <a:pt x="671405" y="180161"/>
                          <a:pt x="659527" y="179676"/>
                          <a:pt x="645771" y="179114"/>
                        </a:cubicBezTo>
                        <a:cubicBezTo>
                          <a:pt x="637162" y="178765"/>
                          <a:pt x="628255" y="178402"/>
                          <a:pt x="620046" y="175784"/>
                        </a:cubicBezTo>
                        <a:cubicBezTo>
                          <a:pt x="602810" y="170298"/>
                          <a:pt x="586341" y="153215"/>
                          <a:pt x="578325" y="139674"/>
                        </a:cubicBezTo>
                        <a:cubicBezTo>
                          <a:pt x="575422" y="134773"/>
                          <a:pt x="574165" y="128276"/>
                          <a:pt x="572829" y="121398"/>
                        </a:cubicBezTo>
                        <a:cubicBezTo>
                          <a:pt x="571194" y="112976"/>
                          <a:pt x="569344" y="103434"/>
                          <a:pt x="564471" y="101063"/>
                        </a:cubicBezTo>
                        <a:cubicBezTo>
                          <a:pt x="561724" y="99729"/>
                          <a:pt x="557877" y="100245"/>
                          <a:pt x="553793" y="100788"/>
                        </a:cubicBezTo>
                        <a:lnTo>
                          <a:pt x="551345" y="101101"/>
                        </a:lnTo>
                        <a:cubicBezTo>
                          <a:pt x="542318" y="102166"/>
                          <a:pt x="532921" y="101378"/>
                          <a:pt x="524193" y="98797"/>
                        </a:cubicBezTo>
                        <a:cubicBezTo>
                          <a:pt x="521549" y="98018"/>
                          <a:pt x="518521" y="96889"/>
                          <a:pt x="516187" y="94415"/>
                        </a:cubicBezTo>
                        <a:cubicBezTo>
                          <a:pt x="512881" y="90907"/>
                          <a:pt x="512380" y="86267"/>
                          <a:pt x="512053" y="83203"/>
                        </a:cubicBezTo>
                        <a:lnTo>
                          <a:pt x="510191" y="66036"/>
                        </a:lnTo>
                        <a:cubicBezTo>
                          <a:pt x="510052" y="64755"/>
                          <a:pt x="509731" y="61752"/>
                          <a:pt x="508830" y="61051"/>
                        </a:cubicBezTo>
                        <a:cubicBezTo>
                          <a:pt x="508454" y="60759"/>
                          <a:pt x="507439" y="60458"/>
                          <a:pt x="506542" y="60189"/>
                        </a:cubicBezTo>
                        <a:cubicBezTo>
                          <a:pt x="505894" y="59998"/>
                          <a:pt x="505252" y="59807"/>
                          <a:pt x="504625" y="59584"/>
                        </a:cubicBezTo>
                        <a:cubicBezTo>
                          <a:pt x="495395" y="56287"/>
                          <a:pt x="490640" y="47718"/>
                          <a:pt x="486564" y="39219"/>
                        </a:cubicBezTo>
                        <a:cubicBezTo>
                          <a:pt x="484682" y="35297"/>
                          <a:pt x="482922" y="30967"/>
                          <a:pt x="481131" y="26532"/>
                        </a:cubicBezTo>
                        <a:cubicBezTo>
                          <a:pt x="477513" y="17608"/>
                          <a:pt x="473776" y="8375"/>
                          <a:pt x="468619" y="1917"/>
                        </a:cubicBezTo>
                        <a:lnTo>
                          <a:pt x="471019" y="0"/>
                        </a:lnTo>
                        <a:cubicBezTo>
                          <a:pt x="462066" y="2001"/>
                          <a:pt x="453755" y="4916"/>
                          <a:pt x="445282" y="10579"/>
                        </a:cubicBezTo>
                        <a:cubicBezTo>
                          <a:pt x="417744" y="28978"/>
                          <a:pt x="397014" y="61133"/>
                          <a:pt x="373779" y="84789"/>
                        </a:cubicBezTo>
                        <a:cubicBezTo>
                          <a:pt x="366483" y="92219"/>
                          <a:pt x="359010" y="99621"/>
                          <a:pt x="350185" y="105150"/>
                        </a:cubicBezTo>
                        <a:cubicBezTo>
                          <a:pt x="314271" y="127646"/>
                          <a:pt x="261631" y="110275"/>
                          <a:pt x="241286" y="73102"/>
                        </a:cubicBezTo>
                        <a:cubicBezTo>
                          <a:pt x="239880" y="70535"/>
                          <a:pt x="238545" y="67823"/>
                          <a:pt x="236294" y="65957"/>
                        </a:cubicBezTo>
                        <a:cubicBezTo>
                          <a:pt x="229806" y="60578"/>
                          <a:pt x="219205" y="65473"/>
                          <a:pt x="215546" y="73062"/>
                        </a:cubicBezTo>
                        <a:cubicBezTo>
                          <a:pt x="211887" y="80654"/>
                          <a:pt x="212911" y="89540"/>
                          <a:pt x="213419" y="97952"/>
                        </a:cubicBezTo>
                        <a:cubicBezTo>
                          <a:pt x="213927" y="106365"/>
                          <a:pt x="213521" y="115658"/>
                          <a:pt x="207872" y="121909"/>
                        </a:cubicBezTo>
                        <a:cubicBezTo>
                          <a:pt x="199319" y="131370"/>
                          <a:pt x="184122" y="128863"/>
                          <a:pt x="171795" y="125586"/>
                        </a:cubicBezTo>
                        <a:cubicBezTo>
                          <a:pt x="116398" y="110864"/>
                          <a:pt x="59829" y="94486"/>
                          <a:pt x="1846" y="99997"/>
                        </a:cubicBezTo>
                        <a:cubicBezTo>
                          <a:pt x="12427" y="108149"/>
                          <a:pt x="23007" y="116301"/>
                          <a:pt x="33588" y="124453"/>
                        </a:cubicBezTo>
                        <a:cubicBezTo>
                          <a:pt x="22392" y="136122"/>
                          <a:pt x="11195" y="147790"/>
                          <a:pt x="0" y="159457"/>
                        </a:cubicBezTo>
                        <a:cubicBezTo>
                          <a:pt x="36814" y="168313"/>
                          <a:pt x="71557" y="185651"/>
                          <a:pt x="100770" y="209741"/>
                        </a:cubicBezTo>
                        <a:cubicBezTo>
                          <a:pt x="112499" y="219415"/>
                          <a:pt x="124347" y="233518"/>
                          <a:pt x="120099" y="248118"/>
                        </a:cubicBezTo>
                        <a:cubicBezTo>
                          <a:pt x="131041" y="248026"/>
                          <a:pt x="138660" y="260423"/>
                          <a:pt x="137719" y="271325"/>
                        </a:cubicBezTo>
                        <a:cubicBezTo>
                          <a:pt x="136779" y="282225"/>
                          <a:pt x="129989" y="291617"/>
                          <a:pt x="123442" y="300385"/>
                        </a:cubicBezTo>
                        <a:cubicBezTo>
                          <a:pt x="135053" y="321154"/>
                          <a:pt x="159193" y="334217"/>
                          <a:pt x="182929" y="332578"/>
                        </a:cubicBezTo>
                        <a:cubicBezTo>
                          <a:pt x="172443" y="372068"/>
                          <a:pt x="168598" y="413313"/>
                          <a:pt x="171605" y="454061"/>
                        </a:cubicBezTo>
                        <a:cubicBezTo>
                          <a:pt x="166427" y="442747"/>
                          <a:pt x="161254" y="431431"/>
                          <a:pt x="156075" y="420117"/>
                        </a:cubicBezTo>
                        <a:cubicBezTo>
                          <a:pt x="159216" y="458548"/>
                          <a:pt x="132565" y="492299"/>
                          <a:pt x="107465" y="521569"/>
                        </a:cubicBezTo>
                        <a:cubicBezTo>
                          <a:pt x="93793" y="537509"/>
                          <a:pt x="79218" y="554090"/>
                          <a:pt x="59465" y="561214"/>
                        </a:cubicBezTo>
                        <a:cubicBezTo>
                          <a:pt x="51090" y="564234"/>
                          <a:pt x="42358" y="565314"/>
                          <a:pt x="33541" y="565076"/>
                        </a:cubicBezTo>
                        <a:cubicBezTo>
                          <a:pt x="55636" y="576670"/>
                          <a:pt x="78211" y="592752"/>
                          <a:pt x="81150" y="617106"/>
                        </a:cubicBezTo>
                        <a:lnTo>
                          <a:pt x="102586" y="617670"/>
                        </a:lnTo>
                        <a:cubicBezTo>
                          <a:pt x="105544" y="617753"/>
                          <a:pt x="109611" y="617855"/>
                          <a:pt x="113302" y="619897"/>
                        </a:cubicBezTo>
                        <a:cubicBezTo>
                          <a:pt x="117343" y="622153"/>
                          <a:pt x="119586" y="625964"/>
                          <a:pt x="121392" y="629021"/>
                        </a:cubicBezTo>
                        <a:cubicBezTo>
                          <a:pt x="131349" y="645796"/>
                          <a:pt x="146042" y="659204"/>
                          <a:pt x="163092" y="667318"/>
                        </a:cubicBezTo>
                        <a:cubicBezTo>
                          <a:pt x="189098" y="679712"/>
                          <a:pt x="220016" y="680028"/>
                          <a:pt x="247293" y="680299"/>
                        </a:cubicBezTo>
                        <a:lnTo>
                          <a:pt x="250543" y="680337"/>
                        </a:lnTo>
                        <a:lnTo>
                          <a:pt x="251985" y="683241"/>
                        </a:lnTo>
                        <a:cubicBezTo>
                          <a:pt x="256807" y="692970"/>
                          <a:pt x="257994" y="704379"/>
                          <a:pt x="255459" y="714907"/>
                        </a:cubicBezTo>
                        <a:cubicBezTo>
                          <a:pt x="259442" y="713656"/>
                          <a:pt x="263797" y="710190"/>
                          <a:pt x="267534" y="707225"/>
                        </a:cubicBezTo>
                        <a:cubicBezTo>
                          <a:pt x="276798" y="699832"/>
                          <a:pt x="289652" y="696074"/>
                          <a:pt x="297413" y="704364"/>
                        </a:cubicBezTo>
                        <a:lnTo>
                          <a:pt x="298700" y="705730"/>
                        </a:lnTo>
                        <a:lnTo>
                          <a:pt x="299668" y="719551"/>
                        </a:lnTo>
                        <a:cubicBezTo>
                          <a:pt x="304782" y="722059"/>
                          <a:pt x="311246" y="722154"/>
                          <a:pt x="318038" y="722259"/>
                        </a:cubicBezTo>
                        <a:cubicBezTo>
                          <a:pt x="320567" y="722303"/>
                          <a:pt x="323091" y="722336"/>
                          <a:pt x="325564" y="722494"/>
                        </a:cubicBezTo>
                        <a:cubicBezTo>
                          <a:pt x="334281" y="723049"/>
                          <a:pt x="343137" y="726455"/>
                          <a:pt x="348559" y="732266"/>
                        </a:cubicBezTo>
                        <a:cubicBezTo>
                          <a:pt x="351167" y="723343"/>
                          <a:pt x="353751" y="714397"/>
                          <a:pt x="357829" y="706091"/>
                        </a:cubicBezTo>
                        <a:cubicBezTo>
                          <a:pt x="373342" y="674484"/>
                          <a:pt x="410478" y="656179"/>
                          <a:pt x="445528" y="659501"/>
                        </a:cubicBezTo>
                        <a:cubicBezTo>
                          <a:pt x="480581" y="662822"/>
                          <a:pt x="512264" y="685823"/>
                          <a:pt x="529789" y="716360"/>
                        </a:cubicBezTo>
                        <a:cubicBezTo>
                          <a:pt x="529935" y="716300"/>
                          <a:pt x="530033" y="716232"/>
                          <a:pt x="530174" y="716172"/>
                        </a:cubicBezTo>
                        <a:cubicBezTo>
                          <a:pt x="530140" y="718679"/>
                          <a:pt x="529996" y="721208"/>
                          <a:pt x="530857" y="723539"/>
                        </a:cubicBezTo>
                        <a:cubicBezTo>
                          <a:pt x="532791" y="728776"/>
                          <a:pt x="538889" y="730933"/>
                          <a:pt x="544262" y="732449"/>
                        </a:cubicBezTo>
                        <a:cubicBezTo>
                          <a:pt x="553643" y="735099"/>
                          <a:pt x="563327" y="737774"/>
                          <a:pt x="573009" y="736625"/>
                        </a:cubicBezTo>
                        <a:cubicBezTo>
                          <a:pt x="582689" y="735476"/>
                          <a:pt x="592480" y="729528"/>
                          <a:pt x="595110" y="720140"/>
                        </a:cubicBezTo>
                        <a:cubicBezTo>
                          <a:pt x="590055" y="709009"/>
                          <a:pt x="613151" y="695225"/>
                          <a:pt x="625372" y="695535"/>
                        </a:cubicBezTo>
                        <a:cubicBezTo>
                          <a:pt x="637595" y="695846"/>
                          <a:pt x="652488" y="698303"/>
                          <a:pt x="659700" y="688431"/>
                        </a:cubicBezTo>
                        <a:cubicBezTo>
                          <a:pt x="662546" y="684537"/>
                          <a:pt x="663386" y="679443"/>
                          <a:pt x="666286" y="675589"/>
                        </a:cubicBezTo>
                        <a:cubicBezTo>
                          <a:pt x="672672" y="667099"/>
                          <a:pt x="685320" y="668090"/>
                          <a:pt x="695907" y="667176"/>
                        </a:cubicBezTo>
                        <a:cubicBezTo>
                          <a:pt x="706493" y="666263"/>
                          <a:pt x="719292" y="657746"/>
                          <a:pt x="715232" y="647928"/>
                        </a:cubicBezTo>
                        <a:cubicBezTo>
                          <a:pt x="736653" y="638216"/>
                          <a:pt x="760282" y="637095"/>
                          <a:pt x="775444" y="655078"/>
                        </a:cubicBezTo>
                        <a:cubicBezTo>
                          <a:pt x="780346" y="635649"/>
                          <a:pt x="800116" y="621111"/>
                          <a:pt x="820123" y="622217"/>
                        </a:cubicBezTo>
                        <a:cubicBezTo>
                          <a:pt x="815657" y="648920"/>
                          <a:pt x="819178" y="676590"/>
                          <a:pt x="827744" y="702274"/>
                        </a:cubicBezTo>
                        <a:cubicBezTo>
                          <a:pt x="843687" y="750064"/>
                          <a:pt x="876096" y="790299"/>
                          <a:pt x="907869" y="829394"/>
                        </a:cubicBezTo>
                        <a:cubicBezTo>
                          <a:pt x="947344" y="877971"/>
                          <a:pt x="988777" y="928113"/>
                          <a:pt x="1045419" y="954752"/>
                        </a:cubicBezTo>
                        <a:cubicBezTo>
                          <a:pt x="1078839" y="970470"/>
                          <a:pt x="1123634" y="986729"/>
                          <a:pt x="1123563" y="1023664"/>
                        </a:cubicBezTo>
                        <a:cubicBezTo>
                          <a:pt x="1123553" y="1028318"/>
                          <a:pt x="1122826" y="1033384"/>
                          <a:pt x="1125381" y="1037276"/>
                        </a:cubicBezTo>
                        <a:cubicBezTo>
                          <a:pt x="1129869" y="1044101"/>
                          <a:pt x="1140049" y="1042146"/>
                          <a:pt x="1148194" y="1042789"/>
                        </a:cubicBezTo>
                        <a:cubicBezTo>
                          <a:pt x="1161677" y="1043854"/>
                          <a:pt x="1172667" y="1054080"/>
                          <a:pt x="1180509" y="1065099"/>
                        </a:cubicBezTo>
                        <a:cubicBezTo>
                          <a:pt x="1211585" y="1108766"/>
                          <a:pt x="1206898" y="1174253"/>
                          <a:pt x="1169920" y="1213047"/>
                        </a:cubicBezTo>
                        <a:cubicBezTo>
                          <a:pt x="1185336" y="1216261"/>
                          <a:pt x="1200750" y="1219476"/>
                          <a:pt x="1216166" y="1222691"/>
                        </a:cubicBezTo>
                        <a:cubicBezTo>
                          <a:pt x="1206113" y="1180737"/>
                          <a:pt x="1284886" y="1156584"/>
                          <a:pt x="1274367" y="1114743"/>
                        </a:cubicBezTo>
                        <a:cubicBezTo>
                          <a:pt x="1269673" y="1096077"/>
                          <a:pt x="1248228" y="1085788"/>
                          <a:pt x="1242154" y="1067522"/>
                        </a:cubicBezTo>
                        <a:cubicBezTo>
                          <a:pt x="1233884" y="1042665"/>
                          <a:pt x="1262066" y="1016834"/>
                          <a:pt x="1288020" y="1020394"/>
                        </a:cubicBezTo>
                        <a:cubicBezTo>
                          <a:pt x="1313973" y="1023956"/>
                          <a:pt x="1333157" y="1047822"/>
                          <a:pt x="1340521" y="1072962"/>
                        </a:cubicBezTo>
                        <a:cubicBezTo>
                          <a:pt x="1359828" y="1080384"/>
                          <a:pt x="1377912" y="1053771"/>
                          <a:pt x="1371443" y="1034124"/>
                        </a:cubicBezTo>
                        <a:close/>
                      </a:path>
                    </a:pathLst>
                  </a:custGeom>
                  <a:grpFill/>
                  <a:ln w="1649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s-ES_tradnl" sz="2400"/>
                  </a:p>
                </p:txBody>
              </p:sp>
            </p:grpSp>
            <p:sp>
              <p:nvSpPr>
                <p:cNvPr id="210" name="Forma libre 209">
                  <a:extLst>
                    <a:ext uri="{FF2B5EF4-FFF2-40B4-BE49-F238E27FC236}">
                      <a16:creationId xmlns:a16="http://schemas.microsoft.com/office/drawing/2014/main" id="{D0496A11-E240-BA46-B212-1E22217B2292}"/>
                    </a:ext>
                  </a:extLst>
                </p:cNvPr>
                <p:cNvSpPr/>
                <p:nvPr/>
              </p:nvSpPr>
              <p:spPr>
                <a:xfrm>
                  <a:off x="5200238" y="3125272"/>
                  <a:ext cx="271098" cy="142588"/>
                </a:xfrm>
                <a:custGeom>
                  <a:avLst/>
                  <a:gdLst>
                    <a:gd name="connsiteX0" fmla="*/ 268915 w 271098"/>
                    <a:gd name="connsiteY0" fmla="*/ 103012 h 142588"/>
                    <a:gd name="connsiteX1" fmla="*/ 269974 w 271098"/>
                    <a:gd name="connsiteY1" fmla="*/ 100863 h 142588"/>
                    <a:gd name="connsiteX2" fmla="*/ 271099 w 271098"/>
                    <a:gd name="connsiteY2" fmla="*/ 98299 h 142588"/>
                    <a:gd name="connsiteX3" fmla="*/ 266834 w 271098"/>
                    <a:gd name="connsiteY3" fmla="*/ 97165 h 142588"/>
                    <a:gd name="connsiteX4" fmla="*/ 265550 w 271098"/>
                    <a:gd name="connsiteY4" fmla="*/ 96832 h 142588"/>
                    <a:gd name="connsiteX5" fmla="*/ 235192 w 271098"/>
                    <a:gd name="connsiteY5" fmla="*/ 62929 h 142588"/>
                    <a:gd name="connsiteX6" fmla="*/ 232212 w 271098"/>
                    <a:gd name="connsiteY6" fmla="*/ 56807 h 142588"/>
                    <a:gd name="connsiteX7" fmla="*/ 207705 w 271098"/>
                    <a:gd name="connsiteY7" fmla="*/ 24286 h 142588"/>
                    <a:gd name="connsiteX8" fmla="*/ 199339 w 271098"/>
                    <a:gd name="connsiteY8" fmla="*/ 18835 h 142588"/>
                    <a:gd name="connsiteX9" fmla="*/ 195311 w 271098"/>
                    <a:gd name="connsiteY9" fmla="*/ 18379 h 142588"/>
                    <a:gd name="connsiteX10" fmla="*/ 188986 w 271098"/>
                    <a:gd name="connsiteY10" fmla="*/ 17516 h 142588"/>
                    <a:gd name="connsiteX11" fmla="*/ 178353 w 271098"/>
                    <a:gd name="connsiteY11" fmla="*/ 11753 h 142588"/>
                    <a:gd name="connsiteX12" fmla="*/ 169928 w 271098"/>
                    <a:gd name="connsiteY12" fmla="*/ 7617 h 142588"/>
                    <a:gd name="connsiteX13" fmla="*/ 163910 w 271098"/>
                    <a:gd name="connsiteY13" fmla="*/ 9689 h 142588"/>
                    <a:gd name="connsiteX14" fmla="*/ 151618 w 271098"/>
                    <a:gd name="connsiteY14" fmla="*/ 12605 h 142588"/>
                    <a:gd name="connsiteX15" fmla="*/ 142419 w 271098"/>
                    <a:gd name="connsiteY15" fmla="*/ 8568 h 142588"/>
                    <a:gd name="connsiteX16" fmla="*/ 141509 w 271098"/>
                    <a:gd name="connsiteY16" fmla="*/ 7976 h 142588"/>
                    <a:gd name="connsiteX17" fmla="*/ 100254 w 271098"/>
                    <a:gd name="connsiteY17" fmla="*/ 1806 h 142588"/>
                    <a:gd name="connsiteX18" fmla="*/ 100044 w 271098"/>
                    <a:gd name="connsiteY18" fmla="*/ 19839 h 142588"/>
                    <a:gd name="connsiteX19" fmla="*/ 100323 w 271098"/>
                    <a:gd name="connsiteY19" fmla="*/ 25092 h 142588"/>
                    <a:gd name="connsiteX20" fmla="*/ 66097 w 271098"/>
                    <a:gd name="connsiteY20" fmla="*/ 27128 h 142588"/>
                    <a:gd name="connsiteX21" fmla="*/ 11866 w 271098"/>
                    <a:gd name="connsiteY21" fmla="*/ 79299 h 142588"/>
                    <a:gd name="connsiteX22" fmla="*/ 0 w 271098"/>
                    <a:gd name="connsiteY22" fmla="*/ 96031 h 142588"/>
                    <a:gd name="connsiteX23" fmla="*/ 43339 w 271098"/>
                    <a:gd name="connsiteY23" fmla="*/ 73592 h 142588"/>
                    <a:gd name="connsiteX24" fmla="*/ 43926 w 271098"/>
                    <a:gd name="connsiteY24" fmla="*/ 81594 h 142588"/>
                    <a:gd name="connsiteX25" fmla="*/ 44059 w 271098"/>
                    <a:gd name="connsiteY25" fmla="*/ 126920 h 142588"/>
                    <a:gd name="connsiteX26" fmla="*/ 99512 w 271098"/>
                    <a:gd name="connsiteY26" fmla="*/ 135189 h 142588"/>
                    <a:gd name="connsiteX27" fmla="*/ 114921 w 271098"/>
                    <a:gd name="connsiteY27" fmla="*/ 132716 h 142588"/>
                    <a:gd name="connsiteX28" fmla="*/ 112358 w 271098"/>
                    <a:gd name="connsiteY28" fmla="*/ 95749 h 142588"/>
                    <a:gd name="connsiteX29" fmla="*/ 115076 w 271098"/>
                    <a:gd name="connsiteY29" fmla="*/ 94072 h 142588"/>
                    <a:gd name="connsiteX30" fmla="*/ 129029 w 271098"/>
                    <a:gd name="connsiteY30" fmla="*/ 92860 h 142588"/>
                    <a:gd name="connsiteX31" fmla="*/ 144295 w 271098"/>
                    <a:gd name="connsiteY31" fmla="*/ 109348 h 142588"/>
                    <a:gd name="connsiteX32" fmla="*/ 146883 w 271098"/>
                    <a:gd name="connsiteY32" fmla="*/ 122050 h 142588"/>
                    <a:gd name="connsiteX33" fmla="*/ 150419 w 271098"/>
                    <a:gd name="connsiteY33" fmla="*/ 136265 h 142588"/>
                    <a:gd name="connsiteX34" fmla="*/ 160306 w 271098"/>
                    <a:gd name="connsiteY34" fmla="*/ 142573 h 142588"/>
                    <a:gd name="connsiteX35" fmla="*/ 164040 w 271098"/>
                    <a:gd name="connsiteY35" fmla="*/ 140901 h 142588"/>
                    <a:gd name="connsiteX36" fmla="*/ 164495 w 271098"/>
                    <a:gd name="connsiteY36" fmla="*/ 132032 h 142588"/>
                    <a:gd name="connsiteX37" fmla="*/ 167282 w 271098"/>
                    <a:gd name="connsiteY37" fmla="*/ 115545 h 142588"/>
                    <a:gd name="connsiteX38" fmla="*/ 179444 w 271098"/>
                    <a:gd name="connsiteY38" fmla="*/ 110345 h 142588"/>
                    <a:gd name="connsiteX39" fmla="*/ 196454 w 271098"/>
                    <a:gd name="connsiteY39" fmla="*/ 121740 h 142588"/>
                    <a:gd name="connsiteX40" fmla="*/ 206988 w 271098"/>
                    <a:gd name="connsiteY40" fmla="*/ 101812 h 142588"/>
                    <a:gd name="connsiteX41" fmla="*/ 211929 w 271098"/>
                    <a:gd name="connsiteY41" fmla="*/ 105396 h 142588"/>
                    <a:gd name="connsiteX42" fmla="*/ 235681 w 271098"/>
                    <a:gd name="connsiteY42" fmla="*/ 133122 h 142588"/>
                    <a:gd name="connsiteX43" fmla="*/ 241842 w 271098"/>
                    <a:gd name="connsiteY43" fmla="*/ 108314 h 142588"/>
                    <a:gd name="connsiteX44" fmla="*/ 240955 w 271098"/>
                    <a:gd name="connsiteY44" fmla="*/ 104775 h 142588"/>
                    <a:gd name="connsiteX45" fmla="*/ 243949 w 271098"/>
                    <a:gd name="connsiteY45" fmla="*/ 102694 h 142588"/>
                    <a:gd name="connsiteX46" fmla="*/ 265502 w 271098"/>
                    <a:gd name="connsiteY46" fmla="*/ 104600 h 142588"/>
                    <a:gd name="connsiteX47" fmla="*/ 268090 w 271098"/>
                    <a:gd name="connsiteY47" fmla="*/ 105808 h 142588"/>
                    <a:gd name="connsiteX48" fmla="*/ 268915 w 271098"/>
                    <a:gd name="connsiteY48" fmla="*/ 103012 h 14258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</a:cxnLst>
                  <a:rect l="l" t="t" r="r" b="b"/>
                  <a:pathLst>
                    <a:path w="271098" h="142588">
                      <a:moveTo>
                        <a:pt x="268915" y="103012"/>
                      </a:moveTo>
                      <a:cubicBezTo>
                        <a:pt x="269234" y="102295"/>
                        <a:pt x="269602" y="101581"/>
                        <a:pt x="269974" y="100863"/>
                      </a:cubicBezTo>
                      <a:cubicBezTo>
                        <a:pt x="270388" y="100085"/>
                        <a:pt x="271076" y="98767"/>
                        <a:pt x="271099" y="98299"/>
                      </a:cubicBezTo>
                      <a:cubicBezTo>
                        <a:pt x="270695" y="98128"/>
                        <a:pt x="268181" y="97495"/>
                        <a:pt x="266834" y="97165"/>
                      </a:cubicBezTo>
                      <a:lnTo>
                        <a:pt x="265550" y="96832"/>
                      </a:lnTo>
                      <a:cubicBezTo>
                        <a:pt x="249404" y="92600"/>
                        <a:pt x="241853" y="76842"/>
                        <a:pt x="235192" y="62929"/>
                      </a:cubicBezTo>
                      <a:cubicBezTo>
                        <a:pt x="234199" y="60846"/>
                        <a:pt x="233212" y="58796"/>
                        <a:pt x="232212" y="56807"/>
                      </a:cubicBezTo>
                      <a:cubicBezTo>
                        <a:pt x="226040" y="44535"/>
                        <a:pt x="217793" y="33591"/>
                        <a:pt x="207705" y="24286"/>
                      </a:cubicBezTo>
                      <a:cubicBezTo>
                        <a:pt x="205102" y="21885"/>
                        <a:pt x="202281" y="19557"/>
                        <a:pt x="199339" y="18835"/>
                      </a:cubicBezTo>
                      <a:cubicBezTo>
                        <a:pt x="198028" y="18524"/>
                        <a:pt x="196668" y="18461"/>
                        <a:pt x="195311" y="18379"/>
                      </a:cubicBezTo>
                      <a:cubicBezTo>
                        <a:pt x="193176" y="18240"/>
                        <a:pt x="191050" y="18080"/>
                        <a:pt x="188986" y="17516"/>
                      </a:cubicBezTo>
                      <a:cubicBezTo>
                        <a:pt x="184805" y="16410"/>
                        <a:pt x="181378" y="13934"/>
                        <a:pt x="178353" y="11753"/>
                      </a:cubicBezTo>
                      <a:cubicBezTo>
                        <a:pt x="175224" y="9491"/>
                        <a:pt x="172528" y="7454"/>
                        <a:pt x="169928" y="7617"/>
                      </a:cubicBezTo>
                      <a:cubicBezTo>
                        <a:pt x="168196" y="7660"/>
                        <a:pt x="166115" y="8649"/>
                        <a:pt x="163910" y="9689"/>
                      </a:cubicBezTo>
                      <a:cubicBezTo>
                        <a:pt x="160395" y="11361"/>
                        <a:pt x="156427" y="13230"/>
                        <a:pt x="151618" y="12605"/>
                      </a:cubicBezTo>
                      <a:cubicBezTo>
                        <a:pt x="147844" y="12106"/>
                        <a:pt x="144836" y="10144"/>
                        <a:pt x="142419" y="8568"/>
                      </a:cubicBezTo>
                      <a:lnTo>
                        <a:pt x="141509" y="7976"/>
                      </a:lnTo>
                      <a:cubicBezTo>
                        <a:pt x="129437" y="226"/>
                        <a:pt x="114089" y="-1974"/>
                        <a:pt x="100254" y="1806"/>
                      </a:cubicBezTo>
                      <a:cubicBezTo>
                        <a:pt x="99819" y="7805"/>
                        <a:pt x="99730" y="13827"/>
                        <a:pt x="100044" y="19839"/>
                      </a:cubicBezTo>
                      <a:lnTo>
                        <a:pt x="100323" y="25092"/>
                      </a:lnTo>
                      <a:lnTo>
                        <a:pt x="66097" y="27128"/>
                      </a:lnTo>
                      <a:lnTo>
                        <a:pt x="11866" y="79299"/>
                      </a:lnTo>
                      <a:cubicBezTo>
                        <a:pt x="5140" y="85764"/>
                        <a:pt x="1203" y="91306"/>
                        <a:pt x="0" y="96031"/>
                      </a:cubicBezTo>
                      <a:lnTo>
                        <a:pt x="43339" y="73592"/>
                      </a:lnTo>
                      <a:lnTo>
                        <a:pt x="43926" y="81594"/>
                      </a:lnTo>
                      <a:cubicBezTo>
                        <a:pt x="45025" y="96588"/>
                        <a:pt x="45047" y="111771"/>
                        <a:pt x="44059" y="126920"/>
                      </a:cubicBezTo>
                      <a:cubicBezTo>
                        <a:pt x="62245" y="119421"/>
                        <a:pt x="84429" y="122350"/>
                        <a:pt x="99512" y="135189"/>
                      </a:cubicBezTo>
                      <a:cubicBezTo>
                        <a:pt x="104126" y="132569"/>
                        <a:pt x="109690" y="131720"/>
                        <a:pt x="114921" y="132716"/>
                      </a:cubicBezTo>
                      <a:lnTo>
                        <a:pt x="112358" y="95749"/>
                      </a:lnTo>
                      <a:lnTo>
                        <a:pt x="115076" y="94072"/>
                      </a:lnTo>
                      <a:cubicBezTo>
                        <a:pt x="119197" y="91497"/>
                        <a:pt x="124159" y="91067"/>
                        <a:pt x="129029" y="92860"/>
                      </a:cubicBezTo>
                      <a:cubicBezTo>
                        <a:pt x="135761" y="95335"/>
                        <a:pt x="141898" y="101951"/>
                        <a:pt x="144295" y="109348"/>
                      </a:cubicBezTo>
                      <a:cubicBezTo>
                        <a:pt x="145678" y="113588"/>
                        <a:pt x="146288" y="117897"/>
                        <a:pt x="146883" y="122050"/>
                      </a:cubicBezTo>
                      <a:cubicBezTo>
                        <a:pt x="147618" y="127246"/>
                        <a:pt x="148317" y="132144"/>
                        <a:pt x="150419" y="136265"/>
                      </a:cubicBezTo>
                      <a:cubicBezTo>
                        <a:pt x="152124" y="139614"/>
                        <a:pt x="156557" y="142446"/>
                        <a:pt x="160306" y="142573"/>
                      </a:cubicBezTo>
                      <a:cubicBezTo>
                        <a:pt x="162940" y="142749"/>
                        <a:pt x="163748" y="141389"/>
                        <a:pt x="164040" y="140901"/>
                      </a:cubicBezTo>
                      <a:cubicBezTo>
                        <a:pt x="165243" y="138895"/>
                        <a:pt x="164879" y="135568"/>
                        <a:pt x="164495" y="132032"/>
                      </a:cubicBezTo>
                      <a:cubicBezTo>
                        <a:pt x="163944" y="126989"/>
                        <a:pt x="163257" y="120728"/>
                        <a:pt x="167282" y="115545"/>
                      </a:cubicBezTo>
                      <a:cubicBezTo>
                        <a:pt x="170339" y="111601"/>
                        <a:pt x="174723" y="109842"/>
                        <a:pt x="179444" y="110345"/>
                      </a:cubicBezTo>
                      <a:cubicBezTo>
                        <a:pt x="185680" y="111105"/>
                        <a:pt x="191886" y="115950"/>
                        <a:pt x="196454" y="121740"/>
                      </a:cubicBezTo>
                      <a:lnTo>
                        <a:pt x="206988" y="101812"/>
                      </a:lnTo>
                      <a:lnTo>
                        <a:pt x="211929" y="105396"/>
                      </a:lnTo>
                      <a:cubicBezTo>
                        <a:pt x="221809" y="112553"/>
                        <a:pt x="230063" y="122223"/>
                        <a:pt x="235681" y="133122"/>
                      </a:cubicBezTo>
                      <a:cubicBezTo>
                        <a:pt x="241428" y="126438"/>
                        <a:pt x="243973" y="116864"/>
                        <a:pt x="241842" y="108314"/>
                      </a:cubicBezTo>
                      <a:lnTo>
                        <a:pt x="240955" y="104775"/>
                      </a:lnTo>
                      <a:lnTo>
                        <a:pt x="243949" y="102694"/>
                      </a:lnTo>
                      <a:cubicBezTo>
                        <a:pt x="251168" y="97664"/>
                        <a:pt x="259109" y="101504"/>
                        <a:pt x="265502" y="104600"/>
                      </a:cubicBezTo>
                      <a:cubicBezTo>
                        <a:pt x="266440" y="105053"/>
                        <a:pt x="267262" y="105429"/>
                        <a:pt x="268090" y="105808"/>
                      </a:cubicBezTo>
                      <a:cubicBezTo>
                        <a:pt x="268256" y="104844"/>
                        <a:pt x="268522" y="103899"/>
                        <a:pt x="268915" y="103012"/>
                      </a:cubicBezTo>
                      <a:close/>
                    </a:path>
                  </a:pathLst>
                </a:custGeom>
                <a:grpFill/>
                <a:ln w="164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s-ES_tradnl" sz="2400"/>
                </a:p>
              </p:txBody>
            </p:sp>
            <p:sp>
              <p:nvSpPr>
                <p:cNvPr id="211" name="Forma libre 210">
                  <a:extLst>
                    <a:ext uri="{FF2B5EF4-FFF2-40B4-BE49-F238E27FC236}">
                      <a16:creationId xmlns:a16="http://schemas.microsoft.com/office/drawing/2014/main" id="{0C78622E-BDF4-6C4E-8B3F-56261350AE56}"/>
                    </a:ext>
                  </a:extLst>
                </p:cNvPr>
                <p:cNvSpPr/>
                <p:nvPr/>
              </p:nvSpPr>
              <p:spPr>
                <a:xfrm>
                  <a:off x="5241165" y="2350976"/>
                  <a:ext cx="526261" cy="800278"/>
                </a:xfrm>
                <a:custGeom>
                  <a:avLst/>
                  <a:gdLst>
                    <a:gd name="connsiteX0" fmla="*/ 35454 w 526261"/>
                    <a:gd name="connsiteY0" fmla="*/ 601472 h 800278"/>
                    <a:gd name="connsiteX1" fmla="*/ 43303 w 526261"/>
                    <a:gd name="connsiteY1" fmla="*/ 621887 h 800278"/>
                    <a:gd name="connsiteX2" fmla="*/ 51222 w 526261"/>
                    <a:gd name="connsiteY2" fmla="*/ 639980 h 800278"/>
                    <a:gd name="connsiteX3" fmla="*/ 76538 w 526261"/>
                    <a:gd name="connsiteY3" fmla="*/ 643009 h 800278"/>
                    <a:gd name="connsiteX4" fmla="*/ 83205 w 526261"/>
                    <a:gd name="connsiteY4" fmla="*/ 642348 h 800278"/>
                    <a:gd name="connsiteX5" fmla="*/ 110864 w 526261"/>
                    <a:gd name="connsiteY5" fmla="*/ 651118 h 800278"/>
                    <a:gd name="connsiteX6" fmla="*/ 116324 w 526261"/>
                    <a:gd name="connsiteY6" fmla="*/ 665464 h 800278"/>
                    <a:gd name="connsiteX7" fmla="*/ 116151 w 526261"/>
                    <a:gd name="connsiteY7" fmla="*/ 667719 h 800278"/>
                    <a:gd name="connsiteX8" fmla="*/ 114400 w 526261"/>
                    <a:gd name="connsiteY8" fmla="*/ 669150 h 800278"/>
                    <a:gd name="connsiteX9" fmla="*/ 60789 w 526261"/>
                    <a:gd name="connsiteY9" fmla="*/ 764844 h 800278"/>
                    <a:gd name="connsiteX10" fmla="*/ 106296 w 526261"/>
                    <a:gd name="connsiteY10" fmla="*/ 773353 h 800278"/>
                    <a:gd name="connsiteX11" fmla="*/ 107273 w 526261"/>
                    <a:gd name="connsiteY11" fmla="*/ 773988 h 800278"/>
                    <a:gd name="connsiteX12" fmla="*/ 112074 w 526261"/>
                    <a:gd name="connsiteY12" fmla="*/ 776403 h 800278"/>
                    <a:gd name="connsiteX13" fmla="*/ 118446 w 526261"/>
                    <a:gd name="connsiteY13" fmla="*/ 774412 h 800278"/>
                    <a:gd name="connsiteX14" fmla="*/ 128718 w 526261"/>
                    <a:gd name="connsiteY14" fmla="*/ 771324 h 800278"/>
                    <a:gd name="connsiteX15" fmla="*/ 143627 w 526261"/>
                    <a:gd name="connsiteY15" fmla="*/ 777460 h 800278"/>
                    <a:gd name="connsiteX16" fmla="*/ 150796 w 526261"/>
                    <a:gd name="connsiteY16" fmla="*/ 781586 h 800278"/>
                    <a:gd name="connsiteX17" fmla="*/ 155045 w 526261"/>
                    <a:gd name="connsiteY17" fmla="*/ 782102 h 800278"/>
                    <a:gd name="connsiteX18" fmla="*/ 160919 w 526261"/>
                    <a:gd name="connsiteY18" fmla="*/ 782843 h 800278"/>
                    <a:gd name="connsiteX19" fmla="*/ 173954 w 526261"/>
                    <a:gd name="connsiteY19" fmla="*/ 790792 h 800278"/>
                    <a:gd name="connsiteX20" fmla="*/ 179192 w 526261"/>
                    <a:gd name="connsiteY20" fmla="*/ 796076 h 800278"/>
                    <a:gd name="connsiteX21" fmla="*/ 292942 w 526261"/>
                    <a:gd name="connsiteY21" fmla="*/ 799912 h 800278"/>
                    <a:gd name="connsiteX22" fmla="*/ 327926 w 526261"/>
                    <a:gd name="connsiteY22" fmla="*/ 799257 h 800278"/>
                    <a:gd name="connsiteX23" fmla="*/ 345492 w 526261"/>
                    <a:gd name="connsiteY23" fmla="*/ 796158 h 800278"/>
                    <a:gd name="connsiteX24" fmla="*/ 394075 w 526261"/>
                    <a:gd name="connsiteY24" fmla="*/ 794852 h 800278"/>
                    <a:gd name="connsiteX25" fmla="*/ 390280 w 526261"/>
                    <a:gd name="connsiteY25" fmla="*/ 762547 h 800278"/>
                    <a:gd name="connsiteX26" fmla="*/ 388494 w 526261"/>
                    <a:gd name="connsiteY26" fmla="*/ 757545 h 800278"/>
                    <a:gd name="connsiteX27" fmla="*/ 393496 w 526261"/>
                    <a:gd name="connsiteY27" fmla="*/ 755770 h 800278"/>
                    <a:gd name="connsiteX28" fmla="*/ 409416 w 526261"/>
                    <a:gd name="connsiteY28" fmla="*/ 735348 h 800278"/>
                    <a:gd name="connsiteX29" fmla="*/ 409858 w 526261"/>
                    <a:gd name="connsiteY29" fmla="*/ 730700 h 800278"/>
                    <a:gd name="connsiteX30" fmla="*/ 451169 w 526261"/>
                    <a:gd name="connsiteY30" fmla="*/ 729408 h 800278"/>
                    <a:gd name="connsiteX31" fmla="*/ 387236 w 526261"/>
                    <a:gd name="connsiteY31" fmla="*/ 625526 h 800278"/>
                    <a:gd name="connsiteX32" fmla="*/ 368984 w 526261"/>
                    <a:gd name="connsiteY32" fmla="*/ 572650 h 800278"/>
                    <a:gd name="connsiteX33" fmla="*/ 362406 w 526261"/>
                    <a:gd name="connsiteY33" fmla="*/ 552143 h 800278"/>
                    <a:gd name="connsiteX34" fmla="*/ 359132 w 526261"/>
                    <a:gd name="connsiteY34" fmla="*/ 542203 h 800278"/>
                    <a:gd name="connsiteX35" fmla="*/ 369081 w 526261"/>
                    <a:gd name="connsiteY35" fmla="*/ 545454 h 800278"/>
                    <a:gd name="connsiteX36" fmla="*/ 424135 w 526261"/>
                    <a:gd name="connsiteY36" fmla="*/ 547948 h 800278"/>
                    <a:gd name="connsiteX37" fmla="*/ 451430 w 526261"/>
                    <a:gd name="connsiteY37" fmla="*/ 539009 h 800278"/>
                    <a:gd name="connsiteX38" fmla="*/ 522875 w 526261"/>
                    <a:gd name="connsiteY38" fmla="*/ 511985 h 800278"/>
                    <a:gd name="connsiteX39" fmla="*/ 514423 w 526261"/>
                    <a:gd name="connsiteY39" fmla="*/ 395941 h 800278"/>
                    <a:gd name="connsiteX40" fmla="*/ 510494 w 526261"/>
                    <a:gd name="connsiteY40" fmla="*/ 384424 h 800278"/>
                    <a:gd name="connsiteX41" fmla="*/ 500817 w 526261"/>
                    <a:gd name="connsiteY41" fmla="*/ 349114 h 800278"/>
                    <a:gd name="connsiteX42" fmla="*/ 513989 w 526261"/>
                    <a:gd name="connsiteY42" fmla="*/ 288373 h 800278"/>
                    <a:gd name="connsiteX43" fmla="*/ 501968 w 526261"/>
                    <a:gd name="connsiteY43" fmla="*/ 261968 h 800278"/>
                    <a:gd name="connsiteX44" fmla="*/ 474801 w 526261"/>
                    <a:gd name="connsiteY44" fmla="*/ 261005 h 800278"/>
                    <a:gd name="connsiteX45" fmla="*/ 432087 w 526261"/>
                    <a:gd name="connsiteY45" fmla="*/ 231504 h 800278"/>
                    <a:gd name="connsiteX46" fmla="*/ 373461 w 526261"/>
                    <a:gd name="connsiteY46" fmla="*/ 239987 h 800278"/>
                    <a:gd name="connsiteX47" fmla="*/ 283636 w 526261"/>
                    <a:gd name="connsiteY47" fmla="*/ 204838 h 800278"/>
                    <a:gd name="connsiteX48" fmla="*/ 278916 w 526261"/>
                    <a:gd name="connsiteY48" fmla="*/ 138187 h 800278"/>
                    <a:gd name="connsiteX49" fmla="*/ 314776 w 526261"/>
                    <a:gd name="connsiteY49" fmla="*/ 84695 h 800278"/>
                    <a:gd name="connsiteX50" fmla="*/ 349367 w 526261"/>
                    <a:gd name="connsiteY50" fmla="*/ 61681 h 800278"/>
                    <a:gd name="connsiteX51" fmla="*/ 338126 w 526261"/>
                    <a:gd name="connsiteY51" fmla="*/ 6184 h 800278"/>
                    <a:gd name="connsiteX52" fmla="*/ 316759 w 526261"/>
                    <a:gd name="connsiteY52" fmla="*/ 673 h 800278"/>
                    <a:gd name="connsiteX53" fmla="*/ 308162 w 526261"/>
                    <a:gd name="connsiteY53" fmla="*/ 20182 h 800278"/>
                    <a:gd name="connsiteX54" fmla="*/ 222936 w 526261"/>
                    <a:gd name="connsiteY54" fmla="*/ 12826 h 800278"/>
                    <a:gd name="connsiteX55" fmla="*/ 231148 w 526261"/>
                    <a:gd name="connsiteY55" fmla="*/ 143149 h 800278"/>
                    <a:gd name="connsiteX56" fmla="*/ 256232 w 526261"/>
                    <a:gd name="connsiteY56" fmla="*/ 243113 h 800278"/>
                    <a:gd name="connsiteX57" fmla="*/ 225023 w 526261"/>
                    <a:gd name="connsiteY57" fmla="*/ 290550 h 800278"/>
                    <a:gd name="connsiteX58" fmla="*/ 136733 w 526261"/>
                    <a:gd name="connsiteY58" fmla="*/ 248090 h 800278"/>
                    <a:gd name="connsiteX59" fmla="*/ 131212 w 526261"/>
                    <a:gd name="connsiteY59" fmla="*/ 276816 h 800278"/>
                    <a:gd name="connsiteX60" fmla="*/ 136502 w 526261"/>
                    <a:gd name="connsiteY60" fmla="*/ 278117 h 800278"/>
                    <a:gd name="connsiteX61" fmla="*/ 141659 w 526261"/>
                    <a:gd name="connsiteY61" fmla="*/ 286012 h 800278"/>
                    <a:gd name="connsiteX62" fmla="*/ 150454 w 526261"/>
                    <a:gd name="connsiteY62" fmla="*/ 299452 h 800278"/>
                    <a:gd name="connsiteX63" fmla="*/ 150195 w 526261"/>
                    <a:gd name="connsiteY63" fmla="*/ 308139 h 800278"/>
                    <a:gd name="connsiteX64" fmla="*/ 140587 w 526261"/>
                    <a:gd name="connsiteY64" fmla="*/ 368252 h 800278"/>
                    <a:gd name="connsiteX65" fmla="*/ 126695 w 526261"/>
                    <a:gd name="connsiteY65" fmla="*/ 393783 h 800278"/>
                    <a:gd name="connsiteX66" fmla="*/ 113767 w 526261"/>
                    <a:gd name="connsiteY66" fmla="*/ 395334 h 800278"/>
                    <a:gd name="connsiteX67" fmla="*/ 108925 w 526261"/>
                    <a:gd name="connsiteY67" fmla="*/ 393046 h 800278"/>
                    <a:gd name="connsiteX68" fmla="*/ 105444 w 526261"/>
                    <a:gd name="connsiteY68" fmla="*/ 391531 h 800278"/>
                    <a:gd name="connsiteX69" fmla="*/ 101001 w 526261"/>
                    <a:gd name="connsiteY69" fmla="*/ 397662 h 800278"/>
                    <a:gd name="connsiteX70" fmla="*/ 94512 w 526261"/>
                    <a:gd name="connsiteY70" fmla="*/ 407491 h 800278"/>
                    <a:gd name="connsiteX71" fmla="*/ 74154 w 526261"/>
                    <a:gd name="connsiteY71" fmla="*/ 411942 h 800278"/>
                    <a:gd name="connsiteX72" fmla="*/ 61625 w 526261"/>
                    <a:gd name="connsiteY72" fmla="*/ 413834 h 800278"/>
                    <a:gd name="connsiteX73" fmla="*/ 58878 w 526261"/>
                    <a:gd name="connsiteY73" fmla="*/ 419885 h 800278"/>
                    <a:gd name="connsiteX74" fmla="*/ 56087 w 526261"/>
                    <a:gd name="connsiteY74" fmla="*/ 426881 h 800278"/>
                    <a:gd name="connsiteX75" fmla="*/ 38861 w 526261"/>
                    <a:gd name="connsiteY75" fmla="*/ 440017 h 800278"/>
                    <a:gd name="connsiteX76" fmla="*/ 30777 w 526261"/>
                    <a:gd name="connsiteY76" fmla="*/ 444372 h 800278"/>
                    <a:gd name="connsiteX77" fmla="*/ 35098 w 526261"/>
                    <a:gd name="connsiteY77" fmla="*/ 452581 h 800278"/>
                    <a:gd name="connsiteX78" fmla="*/ 26128 w 526261"/>
                    <a:gd name="connsiteY78" fmla="*/ 457053 h 800278"/>
                    <a:gd name="connsiteX79" fmla="*/ 26193 w 526261"/>
                    <a:gd name="connsiteY79" fmla="*/ 457979 h 800278"/>
                    <a:gd name="connsiteX80" fmla="*/ 15790 w 526261"/>
                    <a:gd name="connsiteY80" fmla="*/ 530277 h 800278"/>
                    <a:gd name="connsiteX81" fmla="*/ 11135 w 526261"/>
                    <a:gd name="connsiteY81" fmla="*/ 541124 h 800278"/>
                    <a:gd name="connsiteX82" fmla="*/ 1177 w 526261"/>
                    <a:gd name="connsiteY82" fmla="*/ 587660 h 800278"/>
                    <a:gd name="connsiteX83" fmla="*/ 35454 w 526261"/>
                    <a:gd name="connsiteY83" fmla="*/ 601472 h 8002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</a:cxnLst>
                  <a:rect l="l" t="t" r="r" b="b"/>
                  <a:pathLst>
                    <a:path w="526261" h="800278">
                      <a:moveTo>
                        <a:pt x="35454" y="601472"/>
                      </a:moveTo>
                      <a:cubicBezTo>
                        <a:pt x="40045" y="607593"/>
                        <a:pt x="41702" y="614866"/>
                        <a:pt x="43303" y="621887"/>
                      </a:cubicBezTo>
                      <a:cubicBezTo>
                        <a:pt x="44955" y="629156"/>
                        <a:pt x="46516" y="636011"/>
                        <a:pt x="51222" y="639980"/>
                      </a:cubicBezTo>
                      <a:cubicBezTo>
                        <a:pt x="57301" y="645106"/>
                        <a:pt x="66646" y="644064"/>
                        <a:pt x="76538" y="643009"/>
                      </a:cubicBezTo>
                      <a:cubicBezTo>
                        <a:pt x="78789" y="642765"/>
                        <a:pt x="81024" y="642519"/>
                        <a:pt x="83205" y="642348"/>
                      </a:cubicBezTo>
                      <a:cubicBezTo>
                        <a:pt x="91945" y="641746"/>
                        <a:pt x="103861" y="644116"/>
                        <a:pt x="110864" y="651118"/>
                      </a:cubicBezTo>
                      <a:cubicBezTo>
                        <a:pt x="114855" y="655122"/>
                        <a:pt x="116743" y="660073"/>
                        <a:pt x="116324" y="665464"/>
                      </a:cubicBezTo>
                      <a:lnTo>
                        <a:pt x="116151" y="667719"/>
                      </a:lnTo>
                      <a:lnTo>
                        <a:pt x="114400" y="669150"/>
                      </a:lnTo>
                      <a:cubicBezTo>
                        <a:pt x="85415" y="692845"/>
                        <a:pt x="66331" y="727861"/>
                        <a:pt x="60789" y="764844"/>
                      </a:cubicBezTo>
                      <a:cubicBezTo>
                        <a:pt x="76315" y="761782"/>
                        <a:pt x="92959" y="764806"/>
                        <a:pt x="106296" y="773353"/>
                      </a:cubicBezTo>
                      <a:lnTo>
                        <a:pt x="107273" y="773988"/>
                      </a:lnTo>
                      <a:cubicBezTo>
                        <a:pt x="109029" y="775134"/>
                        <a:pt x="110688" y="776217"/>
                        <a:pt x="112074" y="776403"/>
                      </a:cubicBezTo>
                      <a:cubicBezTo>
                        <a:pt x="113714" y="776568"/>
                        <a:pt x="115932" y="775599"/>
                        <a:pt x="118446" y="774412"/>
                      </a:cubicBezTo>
                      <a:cubicBezTo>
                        <a:pt x="121403" y="773014"/>
                        <a:pt x="124753" y="771426"/>
                        <a:pt x="128718" y="771324"/>
                      </a:cubicBezTo>
                      <a:cubicBezTo>
                        <a:pt x="134831" y="771186"/>
                        <a:pt x="139531" y="774514"/>
                        <a:pt x="143627" y="777460"/>
                      </a:cubicBezTo>
                      <a:cubicBezTo>
                        <a:pt x="146128" y="779273"/>
                        <a:pt x="148489" y="780973"/>
                        <a:pt x="150796" y="781586"/>
                      </a:cubicBezTo>
                      <a:cubicBezTo>
                        <a:pt x="152185" y="781959"/>
                        <a:pt x="153618" y="782020"/>
                        <a:pt x="155045" y="782102"/>
                      </a:cubicBezTo>
                      <a:cubicBezTo>
                        <a:pt x="157027" y="782231"/>
                        <a:pt x="159002" y="782383"/>
                        <a:pt x="160919" y="782843"/>
                      </a:cubicBezTo>
                      <a:cubicBezTo>
                        <a:pt x="166204" y="784138"/>
                        <a:pt x="170309" y="787425"/>
                        <a:pt x="173954" y="790792"/>
                      </a:cubicBezTo>
                      <a:cubicBezTo>
                        <a:pt x="175783" y="792480"/>
                        <a:pt x="177474" y="794290"/>
                        <a:pt x="179192" y="796076"/>
                      </a:cubicBezTo>
                      <a:lnTo>
                        <a:pt x="292942" y="799912"/>
                      </a:lnTo>
                      <a:cubicBezTo>
                        <a:pt x="304476" y="800311"/>
                        <a:pt x="316410" y="800700"/>
                        <a:pt x="327926" y="799257"/>
                      </a:cubicBezTo>
                      <a:cubicBezTo>
                        <a:pt x="333709" y="798520"/>
                        <a:pt x="339590" y="797340"/>
                        <a:pt x="345492" y="796158"/>
                      </a:cubicBezTo>
                      <a:cubicBezTo>
                        <a:pt x="361756" y="792892"/>
                        <a:pt x="378503" y="789527"/>
                        <a:pt x="394075" y="794852"/>
                      </a:cubicBezTo>
                      <a:cubicBezTo>
                        <a:pt x="395276" y="783964"/>
                        <a:pt x="393987" y="772913"/>
                        <a:pt x="390280" y="762547"/>
                      </a:cubicBezTo>
                      <a:lnTo>
                        <a:pt x="388494" y="757545"/>
                      </a:lnTo>
                      <a:lnTo>
                        <a:pt x="393496" y="755770"/>
                      </a:lnTo>
                      <a:cubicBezTo>
                        <a:pt x="402017" y="752748"/>
                        <a:pt x="408564" y="744352"/>
                        <a:pt x="409416" y="735348"/>
                      </a:cubicBezTo>
                      <a:lnTo>
                        <a:pt x="409858" y="730700"/>
                      </a:lnTo>
                      <a:lnTo>
                        <a:pt x="451169" y="729408"/>
                      </a:lnTo>
                      <a:cubicBezTo>
                        <a:pt x="424123" y="698572"/>
                        <a:pt x="402642" y="663680"/>
                        <a:pt x="387236" y="625526"/>
                      </a:cubicBezTo>
                      <a:cubicBezTo>
                        <a:pt x="380224" y="608166"/>
                        <a:pt x="374511" y="590110"/>
                        <a:pt x="368984" y="572650"/>
                      </a:cubicBezTo>
                      <a:cubicBezTo>
                        <a:pt x="366817" y="565805"/>
                        <a:pt x="364650" y="558957"/>
                        <a:pt x="362406" y="552143"/>
                      </a:cubicBezTo>
                      <a:lnTo>
                        <a:pt x="359132" y="542203"/>
                      </a:lnTo>
                      <a:lnTo>
                        <a:pt x="369081" y="545454"/>
                      </a:lnTo>
                      <a:cubicBezTo>
                        <a:pt x="386877" y="551273"/>
                        <a:pt x="405915" y="552140"/>
                        <a:pt x="424135" y="547948"/>
                      </a:cubicBezTo>
                      <a:cubicBezTo>
                        <a:pt x="433361" y="545838"/>
                        <a:pt x="442546" y="542364"/>
                        <a:pt x="451430" y="539009"/>
                      </a:cubicBezTo>
                      <a:lnTo>
                        <a:pt x="522875" y="511985"/>
                      </a:lnTo>
                      <a:cubicBezTo>
                        <a:pt x="529385" y="473326"/>
                        <a:pt x="526479" y="433268"/>
                        <a:pt x="514423" y="395941"/>
                      </a:cubicBezTo>
                      <a:cubicBezTo>
                        <a:pt x="513180" y="392088"/>
                        <a:pt x="511838" y="388255"/>
                        <a:pt x="510494" y="384424"/>
                      </a:cubicBezTo>
                      <a:cubicBezTo>
                        <a:pt x="506536" y="373113"/>
                        <a:pt x="502444" y="361425"/>
                        <a:pt x="500817" y="349114"/>
                      </a:cubicBezTo>
                      <a:cubicBezTo>
                        <a:pt x="498059" y="328306"/>
                        <a:pt x="502868" y="306185"/>
                        <a:pt x="513989" y="288373"/>
                      </a:cubicBezTo>
                      <a:cubicBezTo>
                        <a:pt x="507588" y="280919"/>
                        <a:pt x="503183" y="271724"/>
                        <a:pt x="501968" y="261968"/>
                      </a:cubicBezTo>
                      <a:cubicBezTo>
                        <a:pt x="492912" y="261648"/>
                        <a:pt x="483855" y="261325"/>
                        <a:pt x="474801" y="261005"/>
                      </a:cubicBezTo>
                      <a:cubicBezTo>
                        <a:pt x="476812" y="241249"/>
                        <a:pt x="451837" y="229437"/>
                        <a:pt x="432087" y="231504"/>
                      </a:cubicBezTo>
                      <a:cubicBezTo>
                        <a:pt x="412336" y="233573"/>
                        <a:pt x="393074" y="243093"/>
                        <a:pt x="373461" y="239987"/>
                      </a:cubicBezTo>
                      <a:cubicBezTo>
                        <a:pt x="340887" y="234831"/>
                        <a:pt x="315470" y="196225"/>
                        <a:pt x="283636" y="204838"/>
                      </a:cubicBezTo>
                      <a:cubicBezTo>
                        <a:pt x="279609" y="182824"/>
                        <a:pt x="275568" y="160318"/>
                        <a:pt x="278916" y="138187"/>
                      </a:cubicBezTo>
                      <a:cubicBezTo>
                        <a:pt x="282261" y="116057"/>
                        <a:pt x="294408" y="93975"/>
                        <a:pt x="314776" y="84695"/>
                      </a:cubicBezTo>
                      <a:cubicBezTo>
                        <a:pt x="327944" y="78691"/>
                        <a:pt x="346164" y="75796"/>
                        <a:pt x="349367" y="61681"/>
                      </a:cubicBezTo>
                      <a:cubicBezTo>
                        <a:pt x="353858" y="41905"/>
                        <a:pt x="322618" y="19252"/>
                        <a:pt x="338126" y="6184"/>
                      </a:cubicBezTo>
                      <a:cubicBezTo>
                        <a:pt x="332527" y="937"/>
                        <a:pt x="324196" y="-1212"/>
                        <a:pt x="316759" y="673"/>
                      </a:cubicBezTo>
                      <a:cubicBezTo>
                        <a:pt x="313892" y="7176"/>
                        <a:pt x="311027" y="13680"/>
                        <a:pt x="308162" y="20182"/>
                      </a:cubicBezTo>
                      <a:cubicBezTo>
                        <a:pt x="281321" y="9367"/>
                        <a:pt x="251232" y="6769"/>
                        <a:pt x="222936" y="12826"/>
                      </a:cubicBezTo>
                      <a:cubicBezTo>
                        <a:pt x="225673" y="56267"/>
                        <a:pt x="228409" y="99708"/>
                        <a:pt x="231148" y="143149"/>
                      </a:cubicBezTo>
                      <a:cubicBezTo>
                        <a:pt x="233337" y="177901"/>
                        <a:pt x="236196" y="214636"/>
                        <a:pt x="256232" y="243113"/>
                      </a:cubicBezTo>
                      <a:cubicBezTo>
                        <a:pt x="240767" y="254681"/>
                        <a:pt x="229524" y="271772"/>
                        <a:pt x="225023" y="290550"/>
                      </a:cubicBezTo>
                      <a:cubicBezTo>
                        <a:pt x="200738" y="267981"/>
                        <a:pt x="169525" y="252971"/>
                        <a:pt x="136733" y="248090"/>
                      </a:cubicBezTo>
                      <a:cubicBezTo>
                        <a:pt x="134892" y="257667"/>
                        <a:pt x="133053" y="267241"/>
                        <a:pt x="131212" y="276816"/>
                      </a:cubicBezTo>
                      <a:lnTo>
                        <a:pt x="136502" y="278117"/>
                      </a:lnTo>
                      <a:cubicBezTo>
                        <a:pt x="135995" y="280163"/>
                        <a:pt x="138113" y="282466"/>
                        <a:pt x="141659" y="286012"/>
                      </a:cubicBezTo>
                      <a:cubicBezTo>
                        <a:pt x="145261" y="289616"/>
                        <a:pt x="149340" y="293696"/>
                        <a:pt x="150454" y="299452"/>
                      </a:cubicBezTo>
                      <a:cubicBezTo>
                        <a:pt x="151067" y="302639"/>
                        <a:pt x="150584" y="305689"/>
                        <a:pt x="150195" y="308139"/>
                      </a:cubicBezTo>
                      <a:lnTo>
                        <a:pt x="140587" y="368252"/>
                      </a:lnTo>
                      <a:cubicBezTo>
                        <a:pt x="139133" y="377365"/>
                        <a:pt x="134720" y="388854"/>
                        <a:pt x="126695" y="393783"/>
                      </a:cubicBezTo>
                      <a:cubicBezTo>
                        <a:pt x="122684" y="396234"/>
                        <a:pt x="118212" y="396773"/>
                        <a:pt x="113767" y="395334"/>
                      </a:cubicBezTo>
                      <a:cubicBezTo>
                        <a:pt x="111906" y="394738"/>
                        <a:pt x="110322" y="393839"/>
                        <a:pt x="108925" y="393046"/>
                      </a:cubicBezTo>
                      <a:cubicBezTo>
                        <a:pt x="107610" y="392303"/>
                        <a:pt x="106250" y="391526"/>
                        <a:pt x="105444" y="391531"/>
                      </a:cubicBezTo>
                      <a:cubicBezTo>
                        <a:pt x="104067" y="391543"/>
                        <a:pt x="102788" y="393968"/>
                        <a:pt x="101001" y="397662"/>
                      </a:cubicBezTo>
                      <a:cubicBezTo>
                        <a:pt x="99396" y="400974"/>
                        <a:pt x="97578" y="404726"/>
                        <a:pt x="94512" y="407491"/>
                      </a:cubicBezTo>
                      <a:cubicBezTo>
                        <a:pt x="88599" y="412814"/>
                        <a:pt x="80911" y="412356"/>
                        <a:pt x="74154" y="411942"/>
                      </a:cubicBezTo>
                      <a:cubicBezTo>
                        <a:pt x="67837" y="411548"/>
                        <a:pt x="63869" y="411495"/>
                        <a:pt x="61625" y="413834"/>
                      </a:cubicBezTo>
                      <a:cubicBezTo>
                        <a:pt x="60362" y="415151"/>
                        <a:pt x="59676" y="417344"/>
                        <a:pt x="58878" y="419885"/>
                      </a:cubicBezTo>
                      <a:cubicBezTo>
                        <a:pt x="58196" y="422066"/>
                        <a:pt x="57418" y="424545"/>
                        <a:pt x="56087" y="426881"/>
                      </a:cubicBezTo>
                      <a:cubicBezTo>
                        <a:pt x="52203" y="433701"/>
                        <a:pt x="45111" y="437053"/>
                        <a:pt x="38861" y="440017"/>
                      </a:cubicBezTo>
                      <a:cubicBezTo>
                        <a:pt x="35817" y="441456"/>
                        <a:pt x="33007" y="442806"/>
                        <a:pt x="30777" y="444372"/>
                      </a:cubicBezTo>
                      <a:cubicBezTo>
                        <a:pt x="32342" y="447148"/>
                        <a:pt x="33777" y="449938"/>
                        <a:pt x="35098" y="452581"/>
                      </a:cubicBezTo>
                      <a:lnTo>
                        <a:pt x="26128" y="457053"/>
                      </a:lnTo>
                      <a:cubicBezTo>
                        <a:pt x="26158" y="457369"/>
                        <a:pt x="26163" y="457656"/>
                        <a:pt x="26193" y="457979"/>
                      </a:cubicBezTo>
                      <a:cubicBezTo>
                        <a:pt x="28563" y="483009"/>
                        <a:pt x="24941" y="507730"/>
                        <a:pt x="15790" y="530277"/>
                      </a:cubicBezTo>
                      <a:cubicBezTo>
                        <a:pt x="14338" y="533851"/>
                        <a:pt x="12745" y="537473"/>
                        <a:pt x="11135" y="541124"/>
                      </a:cubicBezTo>
                      <a:cubicBezTo>
                        <a:pt x="4183" y="556914"/>
                        <a:pt x="-2847" y="573179"/>
                        <a:pt x="1177" y="587660"/>
                      </a:cubicBezTo>
                      <a:cubicBezTo>
                        <a:pt x="14263" y="588380"/>
                        <a:pt x="27099" y="590334"/>
                        <a:pt x="35454" y="601472"/>
                      </a:cubicBezTo>
                      <a:close/>
                    </a:path>
                  </a:pathLst>
                </a:custGeom>
                <a:grpFill/>
                <a:ln w="164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s-ES_tradnl" sz="2400"/>
                </a:p>
              </p:txBody>
            </p:sp>
            <p:sp>
              <p:nvSpPr>
                <p:cNvPr id="212" name="Forma libre 211">
                  <a:extLst>
                    <a:ext uri="{FF2B5EF4-FFF2-40B4-BE49-F238E27FC236}">
                      <a16:creationId xmlns:a16="http://schemas.microsoft.com/office/drawing/2014/main" id="{7A98B9DF-6651-CC42-82A2-43DD5B587794}"/>
                    </a:ext>
                  </a:extLst>
                </p:cNvPr>
                <p:cNvSpPr/>
                <p:nvPr/>
              </p:nvSpPr>
              <p:spPr>
                <a:xfrm>
                  <a:off x="4603767" y="2324372"/>
                  <a:ext cx="101815" cy="75916"/>
                </a:xfrm>
                <a:custGeom>
                  <a:avLst/>
                  <a:gdLst>
                    <a:gd name="connsiteX0" fmla="*/ 97832 w 101815"/>
                    <a:gd name="connsiteY0" fmla="*/ 75916 h 75916"/>
                    <a:gd name="connsiteX1" fmla="*/ 89574 w 101815"/>
                    <a:gd name="connsiteY1" fmla="*/ 71940 h 75916"/>
                    <a:gd name="connsiteX2" fmla="*/ 87021 w 101815"/>
                    <a:gd name="connsiteY2" fmla="*/ 55710 h 75916"/>
                    <a:gd name="connsiteX3" fmla="*/ 88956 w 101815"/>
                    <a:gd name="connsiteY3" fmla="*/ 50839 h 75916"/>
                    <a:gd name="connsiteX4" fmla="*/ 91048 w 101815"/>
                    <a:gd name="connsiteY4" fmla="*/ 42154 h 75916"/>
                    <a:gd name="connsiteX5" fmla="*/ 83010 w 101815"/>
                    <a:gd name="connsiteY5" fmla="*/ 37949 h 75916"/>
                    <a:gd name="connsiteX6" fmla="*/ 71984 w 101815"/>
                    <a:gd name="connsiteY6" fmla="*/ 40627 h 75916"/>
                    <a:gd name="connsiteX7" fmla="*/ 68447 w 101815"/>
                    <a:gd name="connsiteY7" fmla="*/ 41818 h 75916"/>
                    <a:gd name="connsiteX8" fmla="*/ 30472 w 101815"/>
                    <a:gd name="connsiteY8" fmla="*/ 44455 h 75916"/>
                    <a:gd name="connsiteX9" fmla="*/ 21421 w 101815"/>
                    <a:gd name="connsiteY9" fmla="*/ 40873 h 75916"/>
                    <a:gd name="connsiteX10" fmla="*/ 12602 w 101815"/>
                    <a:gd name="connsiteY10" fmla="*/ 22968 h 75916"/>
                    <a:gd name="connsiteX11" fmla="*/ 9064 w 101815"/>
                    <a:gd name="connsiteY11" fmla="*/ 13039 h 75916"/>
                    <a:gd name="connsiteX12" fmla="*/ 7054 w 101815"/>
                    <a:gd name="connsiteY12" fmla="*/ 10638 h 75916"/>
                    <a:gd name="connsiteX13" fmla="*/ 0 w 101815"/>
                    <a:gd name="connsiteY13" fmla="*/ 2852 h 75916"/>
                    <a:gd name="connsiteX14" fmla="*/ 11932 w 101815"/>
                    <a:gd name="connsiteY14" fmla="*/ 1238 h 75916"/>
                    <a:gd name="connsiteX15" fmla="*/ 18170 w 101815"/>
                    <a:gd name="connsiteY15" fmla="*/ 7640 h 75916"/>
                    <a:gd name="connsiteX16" fmla="*/ 22785 w 101815"/>
                    <a:gd name="connsiteY16" fmla="*/ 20042 h 75916"/>
                    <a:gd name="connsiteX17" fmla="*/ 28108 w 101815"/>
                    <a:gd name="connsiteY17" fmla="*/ 32662 h 75916"/>
                    <a:gd name="connsiteX18" fmla="*/ 32269 w 101815"/>
                    <a:gd name="connsiteY18" fmla="*/ 34017 h 75916"/>
                    <a:gd name="connsiteX19" fmla="*/ 65215 w 101815"/>
                    <a:gd name="connsiteY19" fmla="*/ 31732 h 75916"/>
                    <a:gd name="connsiteX20" fmla="*/ 68517 w 101815"/>
                    <a:gd name="connsiteY20" fmla="*/ 30617 h 75916"/>
                    <a:gd name="connsiteX21" fmla="*/ 82776 w 101815"/>
                    <a:gd name="connsiteY21" fmla="*/ 27360 h 75916"/>
                    <a:gd name="connsiteX22" fmla="*/ 101213 w 101815"/>
                    <a:gd name="connsiteY22" fmla="*/ 39188 h 75916"/>
                    <a:gd name="connsiteX23" fmla="*/ 98684 w 101815"/>
                    <a:gd name="connsiteY23" fmla="*/ 55026 h 75916"/>
                    <a:gd name="connsiteX24" fmla="*/ 97071 w 101815"/>
                    <a:gd name="connsiteY24" fmla="*/ 59062 h 75916"/>
                    <a:gd name="connsiteX25" fmla="*/ 97926 w 101815"/>
                    <a:gd name="connsiteY25" fmla="*/ 65385 h 75916"/>
                    <a:gd name="connsiteX26" fmla="*/ 99090 w 101815"/>
                    <a:gd name="connsiteY26" fmla="*/ 75834 h 75916"/>
                    <a:gd name="connsiteX27" fmla="*/ 97832 w 101815"/>
                    <a:gd name="connsiteY27" fmla="*/ 75916 h 7591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</a:cxnLst>
                  <a:rect l="l" t="t" r="r" b="b"/>
                  <a:pathLst>
                    <a:path w="101815" h="75916">
                      <a:moveTo>
                        <a:pt x="97832" y="75916"/>
                      </a:moveTo>
                      <a:cubicBezTo>
                        <a:pt x="94657" y="75941"/>
                        <a:pt x="91699" y="74530"/>
                        <a:pt x="89574" y="71940"/>
                      </a:cubicBezTo>
                      <a:cubicBezTo>
                        <a:pt x="86239" y="67863"/>
                        <a:pt x="85191" y="61190"/>
                        <a:pt x="87021" y="55710"/>
                      </a:cubicBezTo>
                      <a:cubicBezTo>
                        <a:pt x="87562" y="54091"/>
                        <a:pt x="88261" y="52462"/>
                        <a:pt x="88956" y="50839"/>
                      </a:cubicBezTo>
                      <a:cubicBezTo>
                        <a:pt x="90433" y="47410"/>
                        <a:pt x="91711" y="44442"/>
                        <a:pt x="91048" y="42154"/>
                      </a:cubicBezTo>
                      <a:cubicBezTo>
                        <a:pt x="90247" y="39426"/>
                        <a:pt x="86434" y="37960"/>
                        <a:pt x="83010" y="37949"/>
                      </a:cubicBezTo>
                      <a:cubicBezTo>
                        <a:pt x="79490" y="38026"/>
                        <a:pt x="75842" y="39289"/>
                        <a:pt x="71984" y="40627"/>
                      </a:cubicBezTo>
                      <a:lnTo>
                        <a:pt x="68447" y="41818"/>
                      </a:lnTo>
                      <a:cubicBezTo>
                        <a:pt x="56241" y="45735"/>
                        <a:pt x="43110" y="46641"/>
                        <a:pt x="30472" y="44455"/>
                      </a:cubicBezTo>
                      <a:cubicBezTo>
                        <a:pt x="27410" y="43929"/>
                        <a:pt x="24193" y="43131"/>
                        <a:pt x="21421" y="40873"/>
                      </a:cubicBezTo>
                      <a:cubicBezTo>
                        <a:pt x="16627" y="36973"/>
                        <a:pt x="14583" y="29852"/>
                        <a:pt x="12602" y="22968"/>
                      </a:cubicBezTo>
                      <a:cubicBezTo>
                        <a:pt x="11525" y="19201"/>
                        <a:pt x="10404" y="15304"/>
                        <a:pt x="9064" y="13039"/>
                      </a:cubicBezTo>
                      <a:cubicBezTo>
                        <a:pt x="8289" y="11731"/>
                        <a:pt x="7615" y="10924"/>
                        <a:pt x="7054" y="10638"/>
                      </a:cubicBezTo>
                      <a:lnTo>
                        <a:pt x="0" y="2852"/>
                      </a:lnTo>
                      <a:cubicBezTo>
                        <a:pt x="2933" y="-221"/>
                        <a:pt x="7832" y="-893"/>
                        <a:pt x="11932" y="1238"/>
                      </a:cubicBezTo>
                      <a:cubicBezTo>
                        <a:pt x="15094" y="2874"/>
                        <a:pt x="17008" y="5673"/>
                        <a:pt x="18170" y="7640"/>
                      </a:cubicBezTo>
                      <a:cubicBezTo>
                        <a:pt x="20208" y="11069"/>
                        <a:pt x="21519" y="15630"/>
                        <a:pt x="22785" y="20042"/>
                      </a:cubicBezTo>
                      <a:cubicBezTo>
                        <a:pt x="24164" y="24862"/>
                        <a:pt x="25891" y="30853"/>
                        <a:pt x="28108" y="32662"/>
                      </a:cubicBezTo>
                      <a:cubicBezTo>
                        <a:pt x="28991" y="33380"/>
                        <a:pt x="30708" y="33750"/>
                        <a:pt x="32269" y="34017"/>
                      </a:cubicBezTo>
                      <a:cubicBezTo>
                        <a:pt x="43217" y="35916"/>
                        <a:pt x="54620" y="35121"/>
                        <a:pt x="65215" y="31732"/>
                      </a:cubicBezTo>
                      <a:lnTo>
                        <a:pt x="68517" y="30617"/>
                      </a:lnTo>
                      <a:cubicBezTo>
                        <a:pt x="72978" y="29073"/>
                        <a:pt x="77596" y="27477"/>
                        <a:pt x="82776" y="27360"/>
                      </a:cubicBezTo>
                      <a:cubicBezTo>
                        <a:pt x="90197" y="27459"/>
                        <a:pt x="98777" y="30835"/>
                        <a:pt x="101213" y="39188"/>
                      </a:cubicBezTo>
                      <a:cubicBezTo>
                        <a:pt x="102944" y="45138"/>
                        <a:pt x="100580" y="50623"/>
                        <a:pt x="98684" y="55026"/>
                      </a:cubicBezTo>
                      <a:cubicBezTo>
                        <a:pt x="98104" y="56374"/>
                        <a:pt x="97520" y="57718"/>
                        <a:pt x="97071" y="59062"/>
                      </a:cubicBezTo>
                      <a:cubicBezTo>
                        <a:pt x="96182" y="61727"/>
                        <a:pt x="97224" y="64914"/>
                        <a:pt x="97926" y="65385"/>
                      </a:cubicBezTo>
                      <a:lnTo>
                        <a:pt x="99090" y="75834"/>
                      </a:lnTo>
                      <a:cubicBezTo>
                        <a:pt x="98670" y="75890"/>
                        <a:pt x="98251" y="75913"/>
                        <a:pt x="97832" y="75916"/>
                      </a:cubicBezTo>
                      <a:close/>
                    </a:path>
                  </a:pathLst>
                </a:custGeom>
                <a:grpFill/>
                <a:ln w="164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s-ES_tradnl" sz="2400"/>
                </a:p>
              </p:txBody>
            </p:sp>
            <p:sp>
              <p:nvSpPr>
                <p:cNvPr id="213" name="Forma libre 212">
                  <a:extLst>
                    <a:ext uri="{FF2B5EF4-FFF2-40B4-BE49-F238E27FC236}">
                      <a16:creationId xmlns:a16="http://schemas.microsoft.com/office/drawing/2014/main" id="{DCC87CC0-4ACF-054D-8AD7-17F89016B6A4}"/>
                    </a:ext>
                  </a:extLst>
                </p:cNvPr>
                <p:cNvSpPr/>
                <p:nvPr/>
              </p:nvSpPr>
              <p:spPr>
                <a:xfrm>
                  <a:off x="4610645" y="2291526"/>
                  <a:ext cx="68232" cy="39278"/>
                </a:xfrm>
                <a:custGeom>
                  <a:avLst/>
                  <a:gdLst>
                    <a:gd name="connsiteX0" fmla="*/ 6631 w 68232"/>
                    <a:gd name="connsiteY0" fmla="*/ 39278 h 39278"/>
                    <a:gd name="connsiteX1" fmla="*/ 0 w 68232"/>
                    <a:gd name="connsiteY1" fmla="*/ 31023 h 39278"/>
                    <a:gd name="connsiteX2" fmla="*/ 15421 w 68232"/>
                    <a:gd name="connsiteY2" fmla="*/ 27730 h 39278"/>
                    <a:gd name="connsiteX3" fmla="*/ 22818 w 68232"/>
                    <a:gd name="connsiteY3" fmla="*/ 27391 h 39278"/>
                    <a:gd name="connsiteX4" fmla="*/ 28144 w 68232"/>
                    <a:gd name="connsiteY4" fmla="*/ 24036 h 39278"/>
                    <a:gd name="connsiteX5" fmla="*/ 45017 w 68232"/>
                    <a:gd name="connsiteY5" fmla="*/ 8844 h 39278"/>
                    <a:gd name="connsiteX6" fmla="*/ 49546 w 68232"/>
                    <a:gd name="connsiteY6" fmla="*/ 4517 h 39278"/>
                    <a:gd name="connsiteX7" fmla="*/ 54538 w 68232"/>
                    <a:gd name="connsiteY7" fmla="*/ 2681 h 39278"/>
                    <a:gd name="connsiteX8" fmla="*/ 65786 w 68232"/>
                    <a:gd name="connsiteY8" fmla="*/ 0 h 39278"/>
                    <a:gd name="connsiteX9" fmla="*/ 68232 w 68232"/>
                    <a:gd name="connsiteY9" fmla="*/ 10303 h 39278"/>
                    <a:gd name="connsiteX10" fmla="*/ 56977 w 68232"/>
                    <a:gd name="connsiteY10" fmla="*/ 12984 h 39278"/>
                    <a:gd name="connsiteX11" fmla="*/ 55042 w 68232"/>
                    <a:gd name="connsiteY11" fmla="*/ 13572 h 39278"/>
                    <a:gd name="connsiteX12" fmla="*/ 53463 w 68232"/>
                    <a:gd name="connsiteY12" fmla="*/ 15249 h 39278"/>
                    <a:gd name="connsiteX13" fmla="*/ 34643 w 68232"/>
                    <a:gd name="connsiteY13" fmla="*/ 32389 h 39278"/>
                    <a:gd name="connsiteX14" fmla="*/ 26100 w 68232"/>
                    <a:gd name="connsiteY14" fmla="*/ 37458 h 39278"/>
                    <a:gd name="connsiteX15" fmla="*/ 14823 w 68232"/>
                    <a:gd name="connsiteY15" fmla="*/ 38303 h 39278"/>
                    <a:gd name="connsiteX16" fmla="*/ 6631 w 68232"/>
                    <a:gd name="connsiteY16" fmla="*/ 39278 h 392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</a:cxnLst>
                  <a:rect l="l" t="t" r="r" b="b"/>
                  <a:pathLst>
                    <a:path w="68232" h="39278">
                      <a:moveTo>
                        <a:pt x="6631" y="39278"/>
                      </a:moveTo>
                      <a:lnTo>
                        <a:pt x="0" y="31023"/>
                      </a:lnTo>
                      <a:cubicBezTo>
                        <a:pt x="4834" y="27138"/>
                        <a:pt x="10711" y="27478"/>
                        <a:pt x="15421" y="27730"/>
                      </a:cubicBezTo>
                      <a:cubicBezTo>
                        <a:pt x="18218" y="27890"/>
                        <a:pt x="20853" y="28042"/>
                        <a:pt x="22818" y="27391"/>
                      </a:cubicBezTo>
                      <a:cubicBezTo>
                        <a:pt x="24561" y="26825"/>
                        <a:pt x="26381" y="25404"/>
                        <a:pt x="28144" y="24036"/>
                      </a:cubicBezTo>
                      <a:cubicBezTo>
                        <a:pt x="34117" y="19389"/>
                        <a:pt x="40293" y="14585"/>
                        <a:pt x="45017" y="8844"/>
                      </a:cubicBezTo>
                      <a:cubicBezTo>
                        <a:pt x="46313" y="7268"/>
                        <a:pt x="47600" y="5697"/>
                        <a:pt x="49546" y="4517"/>
                      </a:cubicBezTo>
                      <a:cubicBezTo>
                        <a:pt x="51321" y="3439"/>
                        <a:pt x="53181" y="3000"/>
                        <a:pt x="54538" y="2681"/>
                      </a:cubicBezTo>
                      <a:lnTo>
                        <a:pt x="65786" y="0"/>
                      </a:lnTo>
                      <a:lnTo>
                        <a:pt x="68232" y="10303"/>
                      </a:lnTo>
                      <a:lnTo>
                        <a:pt x="56977" y="12984"/>
                      </a:lnTo>
                      <a:cubicBezTo>
                        <a:pt x="56264" y="13155"/>
                        <a:pt x="55388" y="13358"/>
                        <a:pt x="55042" y="13572"/>
                      </a:cubicBezTo>
                      <a:cubicBezTo>
                        <a:pt x="54641" y="13813"/>
                        <a:pt x="54017" y="14576"/>
                        <a:pt x="53463" y="15249"/>
                      </a:cubicBezTo>
                      <a:cubicBezTo>
                        <a:pt x="47722" y="22223"/>
                        <a:pt x="41072" y="27392"/>
                        <a:pt x="34643" y="32389"/>
                      </a:cubicBezTo>
                      <a:cubicBezTo>
                        <a:pt x="32402" y="34138"/>
                        <a:pt x="29603" y="36314"/>
                        <a:pt x="26100" y="37458"/>
                      </a:cubicBezTo>
                      <a:cubicBezTo>
                        <a:pt x="22241" y="38718"/>
                        <a:pt x="18299" y="38484"/>
                        <a:pt x="14823" y="38303"/>
                      </a:cubicBezTo>
                      <a:cubicBezTo>
                        <a:pt x="11317" y="38100"/>
                        <a:pt x="8291" y="37942"/>
                        <a:pt x="6631" y="39278"/>
                      </a:cubicBezTo>
                      <a:close/>
                    </a:path>
                  </a:pathLst>
                </a:custGeom>
                <a:grpFill/>
                <a:ln w="164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s-ES_tradnl" sz="2400"/>
                </a:p>
              </p:txBody>
            </p:sp>
            <p:sp>
              <p:nvSpPr>
                <p:cNvPr id="214" name="Forma libre 213">
                  <a:extLst>
                    <a:ext uri="{FF2B5EF4-FFF2-40B4-BE49-F238E27FC236}">
                      <a16:creationId xmlns:a16="http://schemas.microsoft.com/office/drawing/2014/main" id="{75E7C3BE-DCB5-2346-BA38-98046E07404C}"/>
                    </a:ext>
                  </a:extLst>
                </p:cNvPr>
                <p:cNvSpPr/>
                <p:nvPr/>
              </p:nvSpPr>
              <p:spPr>
                <a:xfrm>
                  <a:off x="6455702" y="3754595"/>
                  <a:ext cx="595428" cy="250262"/>
                </a:xfrm>
                <a:custGeom>
                  <a:avLst/>
                  <a:gdLst>
                    <a:gd name="connsiteX0" fmla="*/ 27283 w 595428"/>
                    <a:gd name="connsiteY0" fmla="*/ 150551 h 250262"/>
                    <a:gd name="connsiteX1" fmla="*/ 16476 w 595428"/>
                    <a:gd name="connsiteY1" fmla="*/ 152522 h 250262"/>
                    <a:gd name="connsiteX2" fmla="*/ 37771 w 595428"/>
                    <a:gd name="connsiteY2" fmla="*/ 174318 h 250262"/>
                    <a:gd name="connsiteX3" fmla="*/ 35525 w 595428"/>
                    <a:gd name="connsiteY3" fmla="*/ 195973 h 250262"/>
                    <a:gd name="connsiteX4" fmla="*/ 71377 w 595428"/>
                    <a:gd name="connsiteY4" fmla="*/ 208199 h 250262"/>
                    <a:gd name="connsiteX5" fmla="*/ 58724 w 595428"/>
                    <a:gd name="connsiteY5" fmla="*/ 216590 h 250262"/>
                    <a:gd name="connsiteX6" fmla="*/ 93739 w 595428"/>
                    <a:gd name="connsiteY6" fmla="*/ 218367 h 250262"/>
                    <a:gd name="connsiteX7" fmla="*/ 112880 w 595428"/>
                    <a:gd name="connsiteY7" fmla="*/ 240417 h 250262"/>
                    <a:gd name="connsiteX8" fmla="*/ 144464 w 595428"/>
                    <a:gd name="connsiteY8" fmla="*/ 232144 h 250262"/>
                    <a:gd name="connsiteX9" fmla="*/ 148786 w 595428"/>
                    <a:gd name="connsiteY9" fmla="*/ 220773 h 250262"/>
                    <a:gd name="connsiteX10" fmla="*/ 174271 w 595428"/>
                    <a:gd name="connsiteY10" fmla="*/ 227599 h 250262"/>
                    <a:gd name="connsiteX11" fmla="*/ 194510 w 595428"/>
                    <a:gd name="connsiteY11" fmla="*/ 249685 h 250262"/>
                    <a:gd name="connsiteX12" fmla="*/ 215947 w 595428"/>
                    <a:gd name="connsiteY12" fmla="*/ 244937 h 250262"/>
                    <a:gd name="connsiteX13" fmla="*/ 259914 w 595428"/>
                    <a:gd name="connsiteY13" fmla="*/ 223270 h 250262"/>
                    <a:gd name="connsiteX14" fmla="*/ 274528 w 595428"/>
                    <a:gd name="connsiteY14" fmla="*/ 218460 h 250262"/>
                    <a:gd name="connsiteX15" fmla="*/ 285956 w 595428"/>
                    <a:gd name="connsiteY15" fmla="*/ 220456 h 250262"/>
                    <a:gd name="connsiteX16" fmla="*/ 316766 w 595428"/>
                    <a:gd name="connsiteY16" fmla="*/ 229251 h 250262"/>
                    <a:gd name="connsiteX17" fmla="*/ 401451 w 595428"/>
                    <a:gd name="connsiteY17" fmla="*/ 223358 h 250262"/>
                    <a:gd name="connsiteX18" fmla="*/ 460177 w 595428"/>
                    <a:gd name="connsiteY18" fmla="*/ 205004 h 250262"/>
                    <a:gd name="connsiteX19" fmla="*/ 472716 w 595428"/>
                    <a:gd name="connsiteY19" fmla="*/ 198842 h 250262"/>
                    <a:gd name="connsiteX20" fmla="*/ 489774 w 595428"/>
                    <a:gd name="connsiteY20" fmla="*/ 199205 h 250262"/>
                    <a:gd name="connsiteX21" fmla="*/ 566175 w 595428"/>
                    <a:gd name="connsiteY21" fmla="*/ 195520 h 250262"/>
                    <a:gd name="connsiteX22" fmla="*/ 578903 w 595428"/>
                    <a:gd name="connsiteY22" fmla="*/ 188575 h 250262"/>
                    <a:gd name="connsiteX23" fmla="*/ 581582 w 595428"/>
                    <a:gd name="connsiteY23" fmla="*/ 166479 h 250262"/>
                    <a:gd name="connsiteX24" fmla="*/ 587655 w 595428"/>
                    <a:gd name="connsiteY24" fmla="*/ 156143 h 250262"/>
                    <a:gd name="connsiteX25" fmla="*/ 582883 w 595428"/>
                    <a:gd name="connsiteY25" fmla="*/ 107073 h 250262"/>
                    <a:gd name="connsiteX26" fmla="*/ 594945 w 595428"/>
                    <a:gd name="connsiteY26" fmla="*/ 102554 h 250262"/>
                    <a:gd name="connsiteX27" fmla="*/ 582891 w 595428"/>
                    <a:gd name="connsiteY27" fmla="*/ 83810 h 250262"/>
                    <a:gd name="connsiteX28" fmla="*/ 563426 w 595428"/>
                    <a:gd name="connsiteY28" fmla="*/ 70055 h 250262"/>
                    <a:gd name="connsiteX29" fmla="*/ 561184 w 595428"/>
                    <a:gd name="connsiteY29" fmla="*/ 46344 h 250262"/>
                    <a:gd name="connsiteX30" fmla="*/ 522694 w 595428"/>
                    <a:gd name="connsiteY30" fmla="*/ 22034 h 250262"/>
                    <a:gd name="connsiteX31" fmla="*/ 475406 w 595428"/>
                    <a:gd name="connsiteY31" fmla="*/ 37824 h 250262"/>
                    <a:gd name="connsiteX32" fmla="*/ 398124 w 595428"/>
                    <a:gd name="connsiteY32" fmla="*/ 45165 h 250262"/>
                    <a:gd name="connsiteX33" fmla="*/ 363208 w 595428"/>
                    <a:gd name="connsiteY33" fmla="*/ 34298 h 250262"/>
                    <a:gd name="connsiteX34" fmla="*/ 307127 w 595428"/>
                    <a:gd name="connsiteY34" fmla="*/ 13725 h 250262"/>
                    <a:gd name="connsiteX35" fmla="*/ 242681 w 595428"/>
                    <a:gd name="connsiteY35" fmla="*/ 303 h 250262"/>
                    <a:gd name="connsiteX36" fmla="*/ 137647 w 595428"/>
                    <a:gd name="connsiteY36" fmla="*/ 35061 h 250262"/>
                    <a:gd name="connsiteX37" fmla="*/ 123479 w 595428"/>
                    <a:gd name="connsiteY37" fmla="*/ 38168 h 250262"/>
                    <a:gd name="connsiteX38" fmla="*/ 112632 w 595428"/>
                    <a:gd name="connsiteY38" fmla="*/ 56469 h 250262"/>
                    <a:gd name="connsiteX39" fmla="*/ 11737 w 595428"/>
                    <a:gd name="connsiteY39" fmla="*/ 75398 h 250262"/>
                    <a:gd name="connsiteX40" fmla="*/ 3574 w 595428"/>
                    <a:gd name="connsiteY40" fmla="*/ 104816 h 250262"/>
                    <a:gd name="connsiteX41" fmla="*/ 23812 w 595428"/>
                    <a:gd name="connsiteY41" fmla="*/ 119108 h 250262"/>
                    <a:gd name="connsiteX42" fmla="*/ 27283 w 595428"/>
                    <a:gd name="connsiteY42" fmla="*/ 150551 h 25026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</a:cxnLst>
                  <a:rect l="l" t="t" r="r" b="b"/>
                  <a:pathLst>
                    <a:path w="595428" h="250262">
                      <a:moveTo>
                        <a:pt x="27283" y="150551"/>
                      </a:moveTo>
                      <a:cubicBezTo>
                        <a:pt x="23679" y="151207"/>
                        <a:pt x="20078" y="151865"/>
                        <a:pt x="16476" y="152522"/>
                      </a:cubicBezTo>
                      <a:cubicBezTo>
                        <a:pt x="18499" y="163091"/>
                        <a:pt x="27253" y="172049"/>
                        <a:pt x="37771" y="174318"/>
                      </a:cubicBezTo>
                      <a:cubicBezTo>
                        <a:pt x="34511" y="181026"/>
                        <a:pt x="32962" y="188970"/>
                        <a:pt x="35525" y="195973"/>
                      </a:cubicBezTo>
                      <a:cubicBezTo>
                        <a:pt x="40372" y="209220"/>
                        <a:pt x="58318" y="213531"/>
                        <a:pt x="71377" y="208199"/>
                      </a:cubicBezTo>
                      <a:cubicBezTo>
                        <a:pt x="67158" y="210997"/>
                        <a:pt x="62942" y="213794"/>
                        <a:pt x="58724" y="216590"/>
                      </a:cubicBezTo>
                      <a:cubicBezTo>
                        <a:pt x="69080" y="222452"/>
                        <a:pt x="82920" y="213417"/>
                        <a:pt x="93739" y="218367"/>
                      </a:cubicBezTo>
                      <a:cubicBezTo>
                        <a:pt x="102692" y="222462"/>
                        <a:pt x="105345" y="234080"/>
                        <a:pt x="112880" y="240417"/>
                      </a:cubicBezTo>
                      <a:cubicBezTo>
                        <a:pt x="122627" y="248610"/>
                        <a:pt x="139985" y="244062"/>
                        <a:pt x="144464" y="232144"/>
                      </a:cubicBezTo>
                      <a:cubicBezTo>
                        <a:pt x="145899" y="228323"/>
                        <a:pt x="146226" y="223951"/>
                        <a:pt x="148786" y="220773"/>
                      </a:cubicBezTo>
                      <a:cubicBezTo>
                        <a:pt x="155209" y="212800"/>
                        <a:pt x="168429" y="219191"/>
                        <a:pt x="174271" y="227599"/>
                      </a:cubicBezTo>
                      <a:cubicBezTo>
                        <a:pt x="180114" y="236007"/>
                        <a:pt x="184631" y="247004"/>
                        <a:pt x="194510" y="249685"/>
                      </a:cubicBezTo>
                      <a:cubicBezTo>
                        <a:pt x="201741" y="251647"/>
                        <a:pt x="209227" y="248249"/>
                        <a:pt x="215947" y="244937"/>
                      </a:cubicBezTo>
                      <a:cubicBezTo>
                        <a:pt x="230604" y="237715"/>
                        <a:pt x="245256" y="230493"/>
                        <a:pt x="259914" y="223270"/>
                      </a:cubicBezTo>
                      <a:cubicBezTo>
                        <a:pt x="264550" y="220985"/>
                        <a:pt x="269363" y="218654"/>
                        <a:pt x="274528" y="218460"/>
                      </a:cubicBezTo>
                      <a:cubicBezTo>
                        <a:pt x="278409" y="218314"/>
                        <a:pt x="282221" y="219389"/>
                        <a:pt x="285956" y="220456"/>
                      </a:cubicBezTo>
                      <a:cubicBezTo>
                        <a:pt x="296225" y="223386"/>
                        <a:pt x="306495" y="226320"/>
                        <a:pt x="316766" y="229251"/>
                      </a:cubicBezTo>
                      <a:cubicBezTo>
                        <a:pt x="343110" y="218404"/>
                        <a:pt x="373030" y="225346"/>
                        <a:pt x="401451" y="223358"/>
                      </a:cubicBezTo>
                      <a:cubicBezTo>
                        <a:pt x="422096" y="221912"/>
                        <a:pt x="442383" y="215572"/>
                        <a:pt x="460177" y="205004"/>
                      </a:cubicBezTo>
                      <a:cubicBezTo>
                        <a:pt x="464197" y="202615"/>
                        <a:pt x="468181" y="199976"/>
                        <a:pt x="472716" y="198842"/>
                      </a:cubicBezTo>
                      <a:cubicBezTo>
                        <a:pt x="478268" y="197450"/>
                        <a:pt x="484100" y="198440"/>
                        <a:pt x="489774" y="199205"/>
                      </a:cubicBezTo>
                      <a:cubicBezTo>
                        <a:pt x="515182" y="202630"/>
                        <a:pt x="541214" y="201374"/>
                        <a:pt x="566175" y="195520"/>
                      </a:cubicBezTo>
                      <a:cubicBezTo>
                        <a:pt x="571008" y="194386"/>
                        <a:pt x="576245" y="192767"/>
                        <a:pt x="578903" y="188575"/>
                      </a:cubicBezTo>
                      <a:cubicBezTo>
                        <a:pt x="582927" y="182224"/>
                        <a:pt x="578967" y="173528"/>
                        <a:pt x="581582" y="166479"/>
                      </a:cubicBezTo>
                      <a:cubicBezTo>
                        <a:pt x="582976" y="162724"/>
                        <a:pt x="586106" y="159837"/>
                        <a:pt x="587655" y="156143"/>
                      </a:cubicBezTo>
                      <a:cubicBezTo>
                        <a:pt x="594416" y="140010"/>
                        <a:pt x="569452" y="118278"/>
                        <a:pt x="582883" y="107073"/>
                      </a:cubicBezTo>
                      <a:cubicBezTo>
                        <a:pt x="586903" y="105568"/>
                        <a:pt x="590926" y="104061"/>
                        <a:pt x="594945" y="102554"/>
                      </a:cubicBezTo>
                      <a:cubicBezTo>
                        <a:pt x="597393" y="94834"/>
                        <a:pt x="590105" y="87490"/>
                        <a:pt x="582891" y="83810"/>
                      </a:cubicBezTo>
                      <a:cubicBezTo>
                        <a:pt x="575673" y="80133"/>
                        <a:pt x="567096" y="77277"/>
                        <a:pt x="563426" y="70055"/>
                      </a:cubicBezTo>
                      <a:cubicBezTo>
                        <a:pt x="559798" y="62913"/>
                        <a:pt x="562444" y="54254"/>
                        <a:pt x="561184" y="46344"/>
                      </a:cubicBezTo>
                      <a:cubicBezTo>
                        <a:pt x="558558" y="29860"/>
                        <a:pt x="539336" y="20735"/>
                        <a:pt x="522694" y="22034"/>
                      </a:cubicBezTo>
                      <a:cubicBezTo>
                        <a:pt x="506053" y="23333"/>
                        <a:pt x="490994" y="31851"/>
                        <a:pt x="475406" y="37824"/>
                      </a:cubicBezTo>
                      <a:cubicBezTo>
                        <a:pt x="450916" y="47209"/>
                        <a:pt x="423818" y="50426"/>
                        <a:pt x="398124" y="45165"/>
                      </a:cubicBezTo>
                      <a:cubicBezTo>
                        <a:pt x="386170" y="42719"/>
                        <a:pt x="374663" y="38500"/>
                        <a:pt x="363208" y="34298"/>
                      </a:cubicBezTo>
                      <a:cubicBezTo>
                        <a:pt x="344514" y="27441"/>
                        <a:pt x="325822" y="20583"/>
                        <a:pt x="307127" y="13725"/>
                      </a:cubicBezTo>
                      <a:cubicBezTo>
                        <a:pt x="286348" y="6104"/>
                        <a:pt x="264728" y="-1639"/>
                        <a:pt x="242681" y="303"/>
                      </a:cubicBezTo>
                      <a:cubicBezTo>
                        <a:pt x="205706" y="3564"/>
                        <a:pt x="174726" y="33379"/>
                        <a:pt x="137647" y="35061"/>
                      </a:cubicBezTo>
                      <a:cubicBezTo>
                        <a:pt x="132731" y="35285"/>
                        <a:pt x="127358" y="35139"/>
                        <a:pt x="123479" y="38168"/>
                      </a:cubicBezTo>
                      <a:cubicBezTo>
                        <a:pt x="117823" y="42586"/>
                        <a:pt x="117986" y="51693"/>
                        <a:pt x="112632" y="56469"/>
                      </a:cubicBezTo>
                      <a:cubicBezTo>
                        <a:pt x="86119" y="80118"/>
                        <a:pt x="39462" y="57938"/>
                        <a:pt x="11737" y="75398"/>
                      </a:cubicBezTo>
                      <a:cubicBezTo>
                        <a:pt x="983" y="82174"/>
                        <a:pt x="-3852" y="92160"/>
                        <a:pt x="3574" y="104816"/>
                      </a:cubicBezTo>
                      <a:cubicBezTo>
                        <a:pt x="10048" y="115848"/>
                        <a:pt x="17612" y="110992"/>
                        <a:pt x="23812" y="119108"/>
                      </a:cubicBezTo>
                      <a:cubicBezTo>
                        <a:pt x="25522" y="121337"/>
                        <a:pt x="28415" y="150343"/>
                        <a:pt x="27283" y="150551"/>
                      </a:cubicBezTo>
                      <a:close/>
                    </a:path>
                  </a:pathLst>
                </a:custGeom>
                <a:grpFill/>
                <a:ln w="164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s-ES_tradnl" sz="2400"/>
                </a:p>
              </p:txBody>
            </p:sp>
            <p:sp>
              <p:nvSpPr>
                <p:cNvPr id="215" name="Forma libre 214">
                  <a:extLst>
                    <a:ext uri="{FF2B5EF4-FFF2-40B4-BE49-F238E27FC236}">
                      <a16:creationId xmlns:a16="http://schemas.microsoft.com/office/drawing/2014/main" id="{345E4F99-2636-D74D-9A18-84919D8F88B8}"/>
                    </a:ext>
                  </a:extLst>
                </p:cNvPr>
                <p:cNvSpPr/>
                <p:nvPr/>
              </p:nvSpPr>
              <p:spPr>
                <a:xfrm>
                  <a:off x="6755763" y="3963802"/>
                  <a:ext cx="221878" cy="183425"/>
                </a:xfrm>
                <a:custGeom>
                  <a:avLst/>
                  <a:gdLst>
                    <a:gd name="connsiteX0" fmla="*/ 25616 w 221878"/>
                    <a:gd name="connsiteY0" fmla="*/ 39907 h 183425"/>
                    <a:gd name="connsiteX1" fmla="*/ 14585 w 221878"/>
                    <a:gd name="connsiteY1" fmla="*/ 44413 h 183425"/>
                    <a:gd name="connsiteX2" fmla="*/ 12390 w 221878"/>
                    <a:gd name="connsiteY2" fmla="*/ 50954 h 183425"/>
                    <a:gd name="connsiteX3" fmla="*/ 8720 w 221878"/>
                    <a:gd name="connsiteY3" fmla="*/ 83243 h 183425"/>
                    <a:gd name="connsiteX4" fmla="*/ 14958 w 221878"/>
                    <a:gd name="connsiteY4" fmla="*/ 100968 h 183425"/>
                    <a:gd name="connsiteX5" fmla="*/ 21938 w 221878"/>
                    <a:gd name="connsiteY5" fmla="*/ 102930 h 183425"/>
                    <a:gd name="connsiteX6" fmla="*/ 17765 w 221878"/>
                    <a:gd name="connsiteY6" fmla="*/ 115385 h 183425"/>
                    <a:gd name="connsiteX7" fmla="*/ 780 w 221878"/>
                    <a:gd name="connsiteY7" fmla="*/ 146243 h 183425"/>
                    <a:gd name="connsiteX8" fmla="*/ 6385 w 221878"/>
                    <a:gd name="connsiteY8" fmla="*/ 174947 h 183425"/>
                    <a:gd name="connsiteX9" fmla="*/ 33247 w 221878"/>
                    <a:gd name="connsiteY9" fmla="*/ 180709 h 183425"/>
                    <a:gd name="connsiteX10" fmla="*/ 52792 w 221878"/>
                    <a:gd name="connsiteY10" fmla="*/ 163795 h 183425"/>
                    <a:gd name="connsiteX11" fmla="*/ 65986 w 221878"/>
                    <a:gd name="connsiteY11" fmla="*/ 164745 h 183425"/>
                    <a:gd name="connsiteX12" fmla="*/ 78198 w 221878"/>
                    <a:gd name="connsiteY12" fmla="*/ 161290 h 183425"/>
                    <a:gd name="connsiteX13" fmla="*/ 176360 w 221878"/>
                    <a:gd name="connsiteY13" fmla="*/ 86865 h 183425"/>
                    <a:gd name="connsiteX14" fmla="*/ 199952 w 221878"/>
                    <a:gd name="connsiteY14" fmla="*/ 36914 h 183425"/>
                    <a:gd name="connsiteX15" fmla="*/ 215600 w 221878"/>
                    <a:gd name="connsiteY15" fmla="*/ 22682 h 183425"/>
                    <a:gd name="connsiteX16" fmla="*/ 221011 w 221878"/>
                    <a:gd name="connsiteY16" fmla="*/ 3298 h 183425"/>
                    <a:gd name="connsiteX17" fmla="*/ 144014 w 221878"/>
                    <a:gd name="connsiteY17" fmla="*/ 16960 h 183425"/>
                    <a:gd name="connsiteX18" fmla="*/ 68289 w 221878"/>
                    <a:gd name="connsiteY18" fmla="*/ 24642 h 183425"/>
                    <a:gd name="connsiteX19" fmla="*/ 37647 w 221878"/>
                    <a:gd name="connsiteY19" fmla="*/ 21898 h 183425"/>
                    <a:gd name="connsiteX20" fmla="*/ 25616 w 221878"/>
                    <a:gd name="connsiteY20" fmla="*/ 39907 h 18342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</a:cxnLst>
                  <a:rect l="l" t="t" r="r" b="b"/>
                  <a:pathLst>
                    <a:path w="221878" h="183425">
                      <a:moveTo>
                        <a:pt x="25616" y="39907"/>
                      </a:moveTo>
                      <a:cubicBezTo>
                        <a:pt x="22314" y="42207"/>
                        <a:pt x="17319" y="41464"/>
                        <a:pt x="14585" y="44413"/>
                      </a:cubicBezTo>
                      <a:cubicBezTo>
                        <a:pt x="12993" y="46130"/>
                        <a:pt x="12653" y="48627"/>
                        <a:pt x="12390" y="50954"/>
                      </a:cubicBezTo>
                      <a:cubicBezTo>
                        <a:pt x="11166" y="61716"/>
                        <a:pt x="9945" y="72481"/>
                        <a:pt x="8720" y="83243"/>
                      </a:cubicBezTo>
                      <a:cubicBezTo>
                        <a:pt x="7950" y="90022"/>
                        <a:pt x="8454" y="98913"/>
                        <a:pt x="14958" y="100968"/>
                      </a:cubicBezTo>
                      <a:cubicBezTo>
                        <a:pt x="17291" y="101705"/>
                        <a:pt x="20077" y="101346"/>
                        <a:pt x="21938" y="102930"/>
                      </a:cubicBezTo>
                      <a:cubicBezTo>
                        <a:pt x="25741" y="106170"/>
                        <a:pt x="21432" y="111994"/>
                        <a:pt x="17765" y="115385"/>
                      </a:cubicBezTo>
                      <a:cubicBezTo>
                        <a:pt x="8993" y="123492"/>
                        <a:pt x="2940" y="134493"/>
                        <a:pt x="780" y="146243"/>
                      </a:cubicBezTo>
                      <a:cubicBezTo>
                        <a:pt x="-1036" y="156132"/>
                        <a:pt x="118" y="167087"/>
                        <a:pt x="6385" y="174947"/>
                      </a:cubicBezTo>
                      <a:cubicBezTo>
                        <a:pt x="12653" y="182809"/>
                        <a:pt x="24858" y="186250"/>
                        <a:pt x="33247" y="180709"/>
                      </a:cubicBezTo>
                      <a:cubicBezTo>
                        <a:pt x="40564" y="175876"/>
                        <a:pt x="44180" y="165422"/>
                        <a:pt x="52792" y="163795"/>
                      </a:cubicBezTo>
                      <a:cubicBezTo>
                        <a:pt x="57144" y="162974"/>
                        <a:pt x="61558" y="164781"/>
                        <a:pt x="65986" y="164745"/>
                      </a:cubicBezTo>
                      <a:cubicBezTo>
                        <a:pt x="70247" y="164710"/>
                        <a:pt x="74288" y="162987"/>
                        <a:pt x="78198" y="161290"/>
                      </a:cubicBezTo>
                      <a:cubicBezTo>
                        <a:pt x="116755" y="144568"/>
                        <a:pt x="158463" y="124891"/>
                        <a:pt x="176360" y="86865"/>
                      </a:cubicBezTo>
                      <a:cubicBezTo>
                        <a:pt x="184253" y="70087"/>
                        <a:pt x="187130" y="50308"/>
                        <a:pt x="199952" y="36914"/>
                      </a:cubicBezTo>
                      <a:cubicBezTo>
                        <a:pt x="204832" y="31816"/>
                        <a:pt x="210910" y="27955"/>
                        <a:pt x="215600" y="22682"/>
                      </a:cubicBezTo>
                      <a:cubicBezTo>
                        <a:pt x="220289" y="17408"/>
                        <a:pt x="223504" y="9898"/>
                        <a:pt x="221011" y="3298"/>
                      </a:cubicBezTo>
                      <a:cubicBezTo>
                        <a:pt x="196273" y="-6810"/>
                        <a:pt x="169457" y="8789"/>
                        <a:pt x="144014" y="16960"/>
                      </a:cubicBezTo>
                      <a:cubicBezTo>
                        <a:pt x="119588" y="24803"/>
                        <a:pt x="93718" y="25629"/>
                        <a:pt x="68289" y="24642"/>
                      </a:cubicBezTo>
                      <a:cubicBezTo>
                        <a:pt x="61322" y="24371"/>
                        <a:pt x="43760" y="19381"/>
                        <a:pt x="37647" y="21898"/>
                      </a:cubicBezTo>
                      <a:cubicBezTo>
                        <a:pt x="29048" y="25446"/>
                        <a:pt x="32340" y="35225"/>
                        <a:pt x="25616" y="39907"/>
                      </a:cubicBezTo>
                      <a:close/>
                    </a:path>
                  </a:pathLst>
                </a:custGeom>
                <a:grpFill/>
                <a:ln w="164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s-ES_tradnl" sz="2400"/>
                </a:p>
              </p:txBody>
            </p:sp>
            <p:sp>
              <p:nvSpPr>
                <p:cNvPr id="216" name="Forma libre 215">
                  <a:extLst>
                    <a:ext uri="{FF2B5EF4-FFF2-40B4-BE49-F238E27FC236}">
                      <a16:creationId xmlns:a16="http://schemas.microsoft.com/office/drawing/2014/main" id="{80A7EEC3-056F-0E48-96EE-084964A0E268}"/>
                    </a:ext>
                  </a:extLst>
                </p:cNvPr>
                <p:cNvSpPr/>
                <p:nvPr/>
              </p:nvSpPr>
              <p:spPr>
                <a:xfrm>
                  <a:off x="4796891" y="2098701"/>
                  <a:ext cx="20923" cy="39064"/>
                </a:xfrm>
                <a:custGeom>
                  <a:avLst/>
                  <a:gdLst>
                    <a:gd name="connsiteX0" fmla="*/ 3571 w 20923"/>
                    <a:gd name="connsiteY0" fmla="*/ 1945 h 39064"/>
                    <a:gd name="connsiteX1" fmla="*/ 5580 w 20923"/>
                    <a:gd name="connsiteY1" fmla="*/ 10015 h 39064"/>
                    <a:gd name="connsiteX2" fmla="*/ 19724 w 20923"/>
                    <a:gd name="connsiteY2" fmla="*/ 39064 h 39064"/>
                    <a:gd name="connsiteX3" fmla="*/ 18014 w 20923"/>
                    <a:gd name="connsiteY3" fmla="*/ 15373 h 39064"/>
                    <a:gd name="connsiteX4" fmla="*/ 12260 w 20923"/>
                    <a:gd name="connsiteY4" fmla="*/ 3188 h 39064"/>
                    <a:gd name="connsiteX5" fmla="*/ 0 w 20923"/>
                    <a:gd name="connsiteY5" fmla="*/ 1723 h 39064"/>
                    <a:gd name="connsiteX6" fmla="*/ 3571 w 20923"/>
                    <a:gd name="connsiteY6" fmla="*/ 1945 h 3906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20923" h="39064">
                      <a:moveTo>
                        <a:pt x="3571" y="1945"/>
                      </a:moveTo>
                      <a:cubicBezTo>
                        <a:pt x="3076" y="4723"/>
                        <a:pt x="4346" y="7478"/>
                        <a:pt x="5580" y="10015"/>
                      </a:cubicBezTo>
                      <a:cubicBezTo>
                        <a:pt x="10293" y="19698"/>
                        <a:pt x="15008" y="29380"/>
                        <a:pt x="19724" y="39064"/>
                      </a:cubicBezTo>
                      <a:cubicBezTo>
                        <a:pt x="22338" y="31453"/>
                        <a:pt x="20180" y="23124"/>
                        <a:pt x="18014" y="15373"/>
                      </a:cubicBezTo>
                      <a:cubicBezTo>
                        <a:pt x="16791" y="10997"/>
                        <a:pt x="15452" y="6419"/>
                        <a:pt x="12260" y="3188"/>
                      </a:cubicBezTo>
                      <a:cubicBezTo>
                        <a:pt x="9065" y="-43"/>
                        <a:pt x="3389" y="-1304"/>
                        <a:pt x="0" y="1723"/>
                      </a:cubicBezTo>
                      <a:lnTo>
                        <a:pt x="3571" y="1945"/>
                      </a:lnTo>
                      <a:close/>
                    </a:path>
                  </a:pathLst>
                </a:custGeom>
                <a:grpFill/>
                <a:ln w="164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s-ES_tradnl" sz="2400"/>
                </a:p>
              </p:txBody>
            </p:sp>
          </p:grpSp>
          <p:sp>
            <p:nvSpPr>
              <p:cNvPr id="127" name="Forma libre 126">
                <a:extLst>
                  <a:ext uri="{FF2B5EF4-FFF2-40B4-BE49-F238E27FC236}">
                    <a16:creationId xmlns:a16="http://schemas.microsoft.com/office/drawing/2014/main" id="{65527E9E-7BC7-0043-8A3A-7D0BE12E5651}"/>
                  </a:ext>
                </a:extLst>
              </p:cNvPr>
              <p:cNvSpPr/>
              <p:nvPr/>
            </p:nvSpPr>
            <p:spPr>
              <a:xfrm>
                <a:off x="5290593" y="3745148"/>
                <a:ext cx="36255" cy="36255"/>
              </a:xfrm>
              <a:custGeom>
                <a:avLst/>
                <a:gdLst>
                  <a:gd name="connsiteX0" fmla="*/ 36255 w 36255"/>
                  <a:gd name="connsiteY0" fmla="*/ 18128 h 36255"/>
                  <a:gd name="connsiteX1" fmla="*/ 18127 w 36255"/>
                  <a:gd name="connsiteY1" fmla="*/ 36255 h 36255"/>
                  <a:gd name="connsiteX2" fmla="*/ 0 w 36255"/>
                  <a:gd name="connsiteY2" fmla="*/ 18128 h 36255"/>
                  <a:gd name="connsiteX3" fmla="*/ 18127 w 36255"/>
                  <a:gd name="connsiteY3" fmla="*/ 0 h 36255"/>
                  <a:gd name="connsiteX4" fmla="*/ 36255 w 36255"/>
                  <a:gd name="connsiteY4" fmla="*/ 18128 h 362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6255" h="36255">
                    <a:moveTo>
                      <a:pt x="36255" y="18128"/>
                    </a:moveTo>
                    <a:cubicBezTo>
                      <a:pt x="36255" y="28139"/>
                      <a:pt x="28139" y="36255"/>
                      <a:pt x="18127" y="36255"/>
                    </a:cubicBezTo>
                    <a:cubicBezTo>
                      <a:pt x="8116" y="36255"/>
                      <a:pt x="0" y="28139"/>
                      <a:pt x="0" y="18128"/>
                    </a:cubicBezTo>
                    <a:cubicBezTo>
                      <a:pt x="0" y="8116"/>
                      <a:pt x="8116" y="0"/>
                      <a:pt x="18127" y="0"/>
                    </a:cubicBezTo>
                    <a:cubicBezTo>
                      <a:pt x="28139" y="0"/>
                      <a:pt x="36255" y="8116"/>
                      <a:pt x="36255" y="18128"/>
                    </a:cubicBezTo>
                    <a:close/>
                  </a:path>
                </a:pathLst>
              </a:custGeom>
              <a:grpFill/>
              <a:ln w="164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 sz="2400"/>
              </a:p>
            </p:txBody>
          </p:sp>
          <p:sp>
            <p:nvSpPr>
              <p:cNvPr id="128" name="Forma libre 127">
                <a:extLst>
                  <a:ext uri="{FF2B5EF4-FFF2-40B4-BE49-F238E27FC236}">
                    <a16:creationId xmlns:a16="http://schemas.microsoft.com/office/drawing/2014/main" id="{E538288A-F724-294A-BC9F-BFC4E54F7B72}"/>
                  </a:ext>
                </a:extLst>
              </p:cNvPr>
              <p:cNvSpPr/>
              <p:nvPr/>
            </p:nvSpPr>
            <p:spPr>
              <a:xfrm>
                <a:off x="6163260" y="2854655"/>
                <a:ext cx="36255" cy="36255"/>
              </a:xfrm>
              <a:custGeom>
                <a:avLst/>
                <a:gdLst>
                  <a:gd name="connsiteX0" fmla="*/ 36255 w 36255"/>
                  <a:gd name="connsiteY0" fmla="*/ 18128 h 36255"/>
                  <a:gd name="connsiteX1" fmla="*/ 18128 w 36255"/>
                  <a:gd name="connsiteY1" fmla="*/ 36255 h 36255"/>
                  <a:gd name="connsiteX2" fmla="*/ 0 w 36255"/>
                  <a:gd name="connsiteY2" fmla="*/ 18128 h 36255"/>
                  <a:gd name="connsiteX3" fmla="*/ 18128 w 36255"/>
                  <a:gd name="connsiteY3" fmla="*/ 0 h 36255"/>
                  <a:gd name="connsiteX4" fmla="*/ 36255 w 36255"/>
                  <a:gd name="connsiteY4" fmla="*/ 18128 h 362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6255" h="36255">
                    <a:moveTo>
                      <a:pt x="36255" y="18128"/>
                    </a:moveTo>
                    <a:cubicBezTo>
                      <a:pt x="36255" y="28139"/>
                      <a:pt x="28139" y="36255"/>
                      <a:pt x="18128" y="36255"/>
                    </a:cubicBezTo>
                    <a:cubicBezTo>
                      <a:pt x="8116" y="36255"/>
                      <a:pt x="0" y="28139"/>
                      <a:pt x="0" y="18128"/>
                    </a:cubicBezTo>
                    <a:cubicBezTo>
                      <a:pt x="0" y="8116"/>
                      <a:pt x="8116" y="0"/>
                      <a:pt x="18128" y="0"/>
                    </a:cubicBezTo>
                    <a:cubicBezTo>
                      <a:pt x="28139" y="0"/>
                      <a:pt x="36255" y="8116"/>
                      <a:pt x="36255" y="18128"/>
                    </a:cubicBezTo>
                    <a:close/>
                  </a:path>
                </a:pathLst>
              </a:custGeom>
              <a:grpFill/>
              <a:ln w="164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 sz="2400"/>
              </a:p>
            </p:txBody>
          </p:sp>
          <p:sp>
            <p:nvSpPr>
              <p:cNvPr id="129" name="Forma libre 128">
                <a:extLst>
                  <a:ext uri="{FF2B5EF4-FFF2-40B4-BE49-F238E27FC236}">
                    <a16:creationId xmlns:a16="http://schemas.microsoft.com/office/drawing/2014/main" id="{53ECAD03-B15E-774E-B906-C14E5F796954}"/>
                  </a:ext>
                </a:extLst>
              </p:cNvPr>
              <p:cNvSpPr/>
              <p:nvPr/>
            </p:nvSpPr>
            <p:spPr>
              <a:xfrm>
                <a:off x="7024625" y="1819640"/>
                <a:ext cx="36255" cy="36255"/>
              </a:xfrm>
              <a:custGeom>
                <a:avLst/>
                <a:gdLst>
                  <a:gd name="connsiteX0" fmla="*/ 36255 w 36255"/>
                  <a:gd name="connsiteY0" fmla="*/ 18127 h 36255"/>
                  <a:gd name="connsiteX1" fmla="*/ 18127 w 36255"/>
                  <a:gd name="connsiteY1" fmla="*/ 36255 h 36255"/>
                  <a:gd name="connsiteX2" fmla="*/ 0 w 36255"/>
                  <a:gd name="connsiteY2" fmla="*/ 18127 h 36255"/>
                  <a:gd name="connsiteX3" fmla="*/ 18127 w 36255"/>
                  <a:gd name="connsiteY3" fmla="*/ 0 h 36255"/>
                  <a:gd name="connsiteX4" fmla="*/ 36255 w 36255"/>
                  <a:gd name="connsiteY4" fmla="*/ 18127 h 362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6255" h="36255">
                    <a:moveTo>
                      <a:pt x="36255" y="18127"/>
                    </a:moveTo>
                    <a:cubicBezTo>
                      <a:pt x="36255" y="28139"/>
                      <a:pt x="28139" y="36255"/>
                      <a:pt x="18127" y="36255"/>
                    </a:cubicBezTo>
                    <a:cubicBezTo>
                      <a:pt x="8116" y="36255"/>
                      <a:pt x="0" y="28139"/>
                      <a:pt x="0" y="18127"/>
                    </a:cubicBezTo>
                    <a:cubicBezTo>
                      <a:pt x="0" y="8116"/>
                      <a:pt x="8116" y="0"/>
                      <a:pt x="18127" y="0"/>
                    </a:cubicBezTo>
                    <a:cubicBezTo>
                      <a:pt x="28139" y="0"/>
                      <a:pt x="36255" y="8116"/>
                      <a:pt x="36255" y="18127"/>
                    </a:cubicBezTo>
                    <a:close/>
                  </a:path>
                </a:pathLst>
              </a:custGeom>
              <a:grpFill/>
              <a:ln w="164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 sz="2400"/>
              </a:p>
            </p:txBody>
          </p:sp>
        </p:grpSp>
        <p:grpSp>
          <p:nvGrpSpPr>
            <p:cNvPr id="79" name="Grupo 78">
              <a:extLst>
                <a:ext uri="{FF2B5EF4-FFF2-40B4-BE49-F238E27FC236}">
                  <a16:creationId xmlns:a16="http://schemas.microsoft.com/office/drawing/2014/main" id="{2C688826-43F2-8740-AD97-075852FEEEF2}"/>
                </a:ext>
              </a:extLst>
            </p:cNvPr>
            <p:cNvGrpSpPr/>
            <p:nvPr/>
          </p:nvGrpSpPr>
          <p:grpSpPr>
            <a:xfrm>
              <a:off x="8165446" y="189775"/>
              <a:ext cx="560376" cy="559938"/>
              <a:chOff x="2550322" y="104889"/>
              <a:chExt cx="1182013" cy="1181090"/>
            </a:xfrm>
            <a:solidFill>
              <a:schemeClr val="tx1"/>
            </a:solidFill>
          </p:grpSpPr>
          <p:sp>
            <p:nvSpPr>
              <p:cNvPr id="80" name="Forma libre 79">
                <a:extLst>
                  <a:ext uri="{FF2B5EF4-FFF2-40B4-BE49-F238E27FC236}">
                    <a16:creationId xmlns:a16="http://schemas.microsoft.com/office/drawing/2014/main" id="{A806F775-8E3E-9E41-8CD9-1534427A00BA}"/>
                  </a:ext>
                </a:extLst>
              </p:cNvPr>
              <p:cNvSpPr/>
              <p:nvPr/>
            </p:nvSpPr>
            <p:spPr>
              <a:xfrm>
                <a:off x="3051527" y="104889"/>
                <a:ext cx="178670" cy="170131"/>
              </a:xfrm>
              <a:custGeom>
                <a:avLst/>
                <a:gdLst>
                  <a:gd name="connsiteX0" fmla="*/ 544026 w 590115"/>
                  <a:gd name="connsiteY0" fmla="*/ 174903 h 561911"/>
                  <a:gd name="connsiteX1" fmla="*/ 428812 w 590115"/>
                  <a:gd name="connsiteY1" fmla="*/ 166665 h 561911"/>
                  <a:gd name="connsiteX2" fmla="*/ 387652 w 590115"/>
                  <a:gd name="connsiteY2" fmla="*/ 137847 h 561911"/>
                  <a:gd name="connsiteX3" fmla="*/ 342388 w 590115"/>
                  <a:gd name="connsiteY3" fmla="*/ 30870 h 561911"/>
                  <a:gd name="connsiteX4" fmla="*/ 247755 w 590115"/>
                  <a:gd name="connsiteY4" fmla="*/ 30870 h 561911"/>
                  <a:gd name="connsiteX5" fmla="*/ 202490 w 590115"/>
                  <a:gd name="connsiteY5" fmla="*/ 137847 h 561911"/>
                  <a:gd name="connsiteX6" fmla="*/ 161331 w 590115"/>
                  <a:gd name="connsiteY6" fmla="*/ 166665 h 561911"/>
                  <a:gd name="connsiteX7" fmla="*/ 46116 w 590115"/>
                  <a:gd name="connsiteY7" fmla="*/ 174903 h 561911"/>
                  <a:gd name="connsiteX8" fmla="*/ 17299 w 590115"/>
                  <a:gd name="connsiteY8" fmla="*/ 261328 h 561911"/>
                  <a:gd name="connsiteX9" fmla="*/ 107824 w 590115"/>
                  <a:gd name="connsiteY9" fmla="*/ 335380 h 561911"/>
                  <a:gd name="connsiteX10" fmla="*/ 124271 w 590115"/>
                  <a:gd name="connsiteY10" fmla="*/ 384749 h 561911"/>
                  <a:gd name="connsiteX11" fmla="*/ 95453 w 590115"/>
                  <a:gd name="connsiteY11" fmla="*/ 499963 h 561911"/>
                  <a:gd name="connsiteX12" fmla="*/ 169505 w 590115"/>
                  <a:gd name="connsiteY12" fmla="*/ 553464 h 561911"/>
                  <a:gd name="connsiteX13" fmla="*/ 268268 w 590115"/>
                  <a:gd name="connsiteY13" fmla="*/ 491754 h 561911"/>
                  <a:gd name="connsiteX14" fmla="*/ 321769 w 590115"/>
                  <a:gd name="connsiteY14" fmla="*/ 491754 h 561911"/>
                  <a:gd name="connsiteX15" fmla="*/ 420531 w 590115"/>
                  <a:gd name="connsiteY15" fmla="*/ 553464 h 561911"/>
                  <a:gd name="connsiteX16" fmla="*/ 494583 w 590115"/>
                  <a:gd name="connsiteY16" fmla="*/ 499963 h 561911"/>
                  <a:gd name="connsiteX17" fmla="*/ 465823 w 590115"/>
                  <a:gd name="connsiteY17" fmla="*/ 388885 h 561911"/>
                  <a:gd name="connsiteX18" fmla="*/ 482270 w 590115"/>
                  <a:gd name="connsiteY18" fmla="*/ 339517 h 561911"/>
                  <a:gd name="connsiteX19" fmla="*/ 572795 w 590115"/>
                  <a:gd name="connsiteY19" fmla="*/ 265435 h 561911"/>
                  <a:gd name="connsiteX20" fmla="*/ 544006 w 590115"/>
                  <a:gd name="connsiteY20" fmla="*/ 174910 h 5619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590115" h="561911">
                    <a:moveTo>
                      <a:pt x="544026" y="174903"/>
                    </a:moveTo>
                    <a:lnTo>
                      <a:pt x="428812" y="166665"/>
                    </a:lnTo>
                    <a:cubicBezTo>
                      <a:pt x="408232" y="166665"/>
                      <a:pt x="391785" y="154323"/>
                      <a:pt x="387652" y="137847"/>
                    </a:cubicBezTo>
                    <a:lnTo>
                      <a:pt x="342388" y="30870"/>
                    </a:lnTo>
                    <a:cubicBezTo>
                      <a:pt x="325941" y="-10290"/>
                      <a:pt x="268336" y="-10290"/>
                      <a:pt x="247755" y="30870"/>
                    </a:cubicBezTo>
                    <a:lnTo>
                      <a:pt x="202490" y="137847"/>
                    </a:lnTo>
                    <a:cubicBezTo>
                      <a:pt x="194253" y="154294"/>
                      <a:pt x="177806" y="166665"/>
                      <a:pt x="161331" y="166665"/>
                    </a:cubicBezTo>
                    <a:lnTo>
                      <a:pt x="46116" y="174903"/>
                    </a:lnTo>
                    <a:cubicBezTo>
                      <a:pt x="852" y="179007"/>
                      <a:pt x="-15594" y="232508"/>
                      <a:pt x="17299" y="261328"/>
                    </a:cubicBezTo>
                    <a:lnTo>
                      <a:pt x="107824" y="335380"/>
                    </a:lnTo>
                    <a:cubicBezTo>
                      <a:pt x="120166" y="347722"/>
                      <a:pt x="128404" y="368302"/>
                      <a:pt x="124271" y="384749"/>
                    </a:cubicBezTo>
                    <a:lnTo>
                      <a:pt x="95453" y="499963"/>
                    </a:lnTo>
                    <a:cubicBezTo>
                      <a:pt x="83111" y="545227"/>
                      <a:pt x="132480" y="578151"/>
                      <a:pt x="169505" y="553464"/>
                    </a:cubicBezTo>
                    <a:lnTo>
                      <a:pt x="268268" y="491754"/>
                    </a:lnTo>
                    <a:cubicBezTo>
                      <a:pt x="284714" y="483516"/>
                      <a:pt x="305294" y="483516"/>
                      <a:pt x="321769" y="491754"/>
                    </a:cubicBezTo>
                    <a:lnTo>
                      <a:pt x="420531" y="553464"/>
                    </a:lnTo>
                    <a:cubicBezTo>
                      <a:pt x="457558" y="578149"/>
                      <a:pt x="506957" y="541122"/>
                      <a:pt x="494583" y="499963"/>
                    </a:cubicBezTo>
                    <a:lnTo>
                      <a:pt x="465823" y="388885"/>
                    </a:lnTo>
                    <a:cubicBezTo>
                      <a:pt x="461718" y="372439"/>
                      <a:pt x="465823" y="351859"/>
                      <a:pt x="482270" y="339517"/>
                    </a:cubicBezTo>
                    <a:lnTo>
                      <a:pt x="572795" y="265435"/>
                    </a:lnTo>
                    <a:cubicBezTo>
                      <a:pt x="605717" y="236647"/>
                      <a:pt x="589271" y="179039"/>
                      <a:pt x="544006" y="174910"/>
                    </a:cubicBezTo>
                    <a:close/>
                  </a:path>
                </a:pathLst>
              </a:custGeom>
              <a:grpFill/>
              <a:ln w="734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 sz="2400"/>
              </a:p>
            </p:txBody>
          </p:sp>
          <p:sp>
            <p:nvSpPr>
              <p:cNvPr id="112" name="Forma libre 111">
                <a:extLst>
                  <a:ext uri="{FF2B5EF4-FFF2-40B4-BE49-F238E27FC236}">
                    <a16:creationId xmlns:a16="http://schemas.microsoft.com/office/drawing/2014/main" id="{8B2B77FA-EE31-E04F-BF96-E9A80DD6404A}"/>
                  </a:ext>
                </a:extLst>
              </p:cNvPr>
              <p:cNvSpPr/>
              <p:nvPr/>
            </p:nvSpPr>
            <p:spPr>
              <a:xfrm>
                <a:off x="2799756" y="181955"/>
                <a:ext cx="178118" cy="175945"/>
              </a:xfrm>
              <a:custGeom>
                <a:avLst/>
                <a:gdLst>
                  <a:gd name="connsiteX0" fmla="*/ 495011 w 588289"/>
                  <a:gd name="connsiteY0" fmla="*/ 257797 h 581112"/>
                  <a:gd name="connsiteX1" fmla="*/ 482668 w 588289"/>
                  <a:gd name="connsiteY1" fmla="*/ 208428 h 581112"/>
                  <a:gd name="connsiteX2" fmla="*/ 519695 w 588289"/>
                  <a:gd name="connsiteY2" fmla="*/ 97321 h 581112"/>
                  <a:gd name="connsiteX3" fmla="*/ 449747 w 588289"/>
                  <a:gd name="connsiteY3" fmla="*/ 35611 h 581112"/>
                  <a:gd name="connsiteX4" fmla="*/ 342770 w 588289"/>
                  <a:gd name="connsiteY4" fmla="*/ 84980 h 581112"/>
                  <a:gd name="connsiteX5" fmla="*/ 289268 w 588289"/>
                  <a:gd name="connsiteY5" fmla="*/ 80876 h 581112"/>
                  <a:gd name="connsiteX6" fmla="*/ 202843 w 588289"/>
                  <a:gd name="connsiteY6" fmla="*/ 10899 h 581112"/>
                  <a:gd name="connsiteX7" fmla="*/ 120554 w 588289"/>
                  <a:gd name="connsiteY7" fmla="*/ 56163 h 581112"/>
                  <a:gd name="connsiteX8" fmla="*/ 137001 w 588289"/>
                  <a:gd name="connsiteY8" fmla="*/ 171378 h 581112"/>
                  <a:gd name="connsiteX9" fmla="*/ 116421 w 588289"/>
                  <a:gd name="connsiteY9" fmla="*/ 220746 h 581112"/>
                  <a:gd name="connsiteX10" fmla="*/ 21788 w 588289"/>
                  <a:gd name="connsiteY10" fmla="*/ 286590 h 581112"/>
                  <a:gd name="connsiteX11" fmla="*/ 42368 w 588289"/>
                  <a:gd name="connsiteY11" fmla="*/ 377115 h 581112"/>
                  <a:gd name="connsiteX12" fmla="*/ 157582 w 588289"/>
                  <a:gd name="connsiteY12" fmla="*/ 397695 h 581112"/>
                  <a:gd name="connsiteX13" fmla="*/ 194609 w 588289"/>
                  <a:gd name="connsiteY13" fmla="*/ 434722 h 581112"/>
                  <a:gd name="connsiteX14" fmla="*/ 227531 w 588289"/>
                  <a:gd name="connsiteY14" fmla="*/ 545829 h 581112"/>
                  <a:gd name="connsiteX15" fmla="*/ 318056 w 588289"/>
                  <a:gd name="connsiteY15" fmla="*/ 554067 h 581112"/>
                  <a:gd name="connsiteX16" fmla="*/ 375662 w 588289"/>
                  <a:gd name="connsiteY16" fmla="*/ 451197 h 581112"/>
                  <a:gd name="connsiteX17" fmla="*/ 420926 w 588289"/>
                  <a:gd name="connsiteY17" fmla="*/ 426512 h 581112"/>
                  <a:gd name="connsiteX18" fmla="*/ 536141 w 588289"/>
                  <a:gd name="connsiteY18" fmla="*/ 430617 h 581112"/>
                  <a:gd name="connsiteX19" fmla="*/ 573167 w 588289"/>
                  <a:gd name="connsiteY19" fmla="*/ 344191 h 5811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588289" h="581112">
                    <a:moveTo>
                      <a:pt x="495011" y="257797"/>
                    </a:moveTo>
                    <a:cubicBezTo>
                      <a:pt x="482668" y="245455"/>
                      <a:pt x="478564" y="224875"/>
                      <a:pt x="482668" y="208428"/>
                    </a:cubicBezTo>
                    <a:lnTo>
                      <a:pt x="519695" y="97321"/>
                    </a:lnTo>
                    <a:cubicBezTo>
                      <a:pt x="536142" y="56162"/>
                      <a:pt x="490877" y="15033"/>
                      <a:pt x="449747" y="35611"/>
                    </a:cubicBezTo>
                    <a:lnTo>
                      <a:pt x="342770" y="84980"/>
                    </a:lnTo>
                    <a:cubicBezTo>
                      <a:pt x="326323" y="93218"/>
                      <a:pt x="305743" y="89084"/>
                      <a:pt x="289268" y="80876"/>
                    </a:cubicBezTo>
                    <a:lnTo>
                      <a:pt x="202843" y="10899"/>
                    </a:lnTo>
                    <a:cubicBezTo>
                      <a:pt x="165816" y="-17919"/>
                      <a:pt x="116417" y="15003"/>
                      <a:pt x="120554" y="56163"/>
                    </a:cubicBezTo>
                    <a:lnTo>
                      <a:pt x="137001" y="171378"/>
                    </a:lnTo>
                    <a:cubicBezTo>
                      <a:pt x="141105" y="191958"/>
                      <a:pt x="132896" y="208404"/>
                      <a:pt x="116421" y="220746"/>
                    </a:cubicBezTo>
                    <a:lnTo>
                      <a:pt x="21788" y="286590"/>
                    </a:lnTo>
                    <a:cubicBezTo>
                      <a:pt x="-15239" y="311274"/>
                      <a:pt x="-2896" y="368878"/>
                      <a:pt x="42368" y="377115"/>
                    </a:cubicBezTo>
                    <a:lnTo>
                      <a:pt x="157582" y="397695"/>
                    </a:lnTo>
                    <a:cubicBezTo>
                      <a:pt x="174029" y="401800"/>
                      <a:pt x="190504" y="414142"/>
                      <a:pt x="194609" y="434722"/>
                    </a:cubicBezTo>
                    <a:lnTo>
                      <a:pt x="227531" y="545829"/>
                    </a:lnTo>
                    <a:cubicBezTo>
                      <a:pt x="239873" y="586989"/>
                      <a:pt x="297479" y="595198"/>
                      <a:pt x="318056" y="554067"/>
                    </a:cubicBezTo>
                    <a:lnTo>
                      <a:pt x="375662" y="451197"/>
                    </a:lnTo>
                    <a:cubicBezTo>
                      <a:pt x="383900" y="434750"/>
                      <a:pt x="400347" y="426512"/>
                      <a:pt x="420926" y="426512"/>
                    </a:cubicBezTo>
                    <a:lnTo>
                      <a:pt x="536141" y="430617"/>
                    </a:lnTo>
                    <a:cubicBezTo>
                      <a:pt x="581405" y="430617"/>
                      <a:pt x="606089" y="377115"/>
                      <a:pt x="573167" y="344191"/>
                    </a:cubicBezTo>
                    <a:close/>
                  </a:path>
                </a:pathLst>
              </a:custGeom>
              <a:grpFill/>
              <a:ln w="734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 sz="2400"/>
              </a:p>
            </p:txBody>
          </p:sp>
          <p:sp>
            <p:nvSpPr>
              <p:cNvPr id="113" name="Forma libre 112">
                <a:extLst>
                  <a:ext uri="{FF2B5EF4-FFF2-40B4-BE49-F238E27FC236}">
                    <a16:creationId xmlns:a16="http://schemas.microsoft.com/office/drawing/2014/main" id="{32172252-4A56-9A42-A2D6-E51229875D5E}"/>
                  </a:ext>
                </a:extLst>
              </p:cNvPr>
              <p:cNvSpPr/>
              <p:nvPr/>
            </p:nvSpPr>
            <p:spPr>
              <a:xfrm>
                <a:off x="2625956" y="358067"/>
                <a:ext cx="176143" cy="177566"/>
              </a:xfrm>
              <a:custGeom>
                <a:avLst/>
                <a:gdLst>
                  <a:gd name="connsiteX0" fmla="*/ 81488 w 581768"/>
                  <a:gd name="connsiteY0" fmla="*/ 289236 h 586468"/>
                  <a:gd name="connsiteX1" fmla="*/ 85592 w 581768"/>
                  <a:gd name="connsiteY1" fmla="*/ 342738 h 586468"/>
                  <a:gd name="connsiteX2" fmla="*/ 36224 w 581768"/>
                  <a:gd name="connsiteY2" fmla="*/ 449715 h 586468"/>
                  <a:gd name="connsiteX3" fmla="*/ 97934 w 581768"/>
                  <a:gd name="connsiteY3" fmla="*/ 519663 h 586468"/>
                  <a:gd name="connsiteX4" fmla="*/ 209041 w 581768"/>
                  <a:gd name="connsiteY4" fmla="*/ 482636 h 586468"/>
                  <a:gd name="connsiteX5" fmla="*/ 258409 w 581768"/>
                  <a:gd name="connsiteY5" fmla="*/ 494979 h 586468"/>
                  <a:gd name="connsiteX6" fmla="*/ 344835 w 581768"/>
                  <a:gd name="connsiteY6" fmla="*/ 573167 h 586468"/>
                  <a:gd name="connsiteX7" fmla="*/ 431260 w 581768"/>
                  <a:gd name="connsiteY7" fmla="*/ 536141 h 586468"/>
                  <a:gd name="connsiteX8" fmla="*/ 427156 w 581768"/>
                  <a:gd name="connsiteY8" fmla="*/ 420926 h 586468"/>
                  <a:gd name="connsiteX9" fmla="*/ 451840 w 581768"/>
                  <a:gd name="connsiteY9" fmla="*/ 375662 h 586468"/>
                  <a:gd name="connsiteX10" fmla="*/ 554710 w 581768"/>
                  <a:gd name="connsiteY10" fmla="*/ 318056 h 586468"/>
                  <a:gd name="connsiteX11" fmla="*/ 546473 w 581768"/>
                  <a:gd name="connsiteY11" fmla="*/ 227531 h 586468"/>
                  <a:gd name="connsiteX12" fmla="*/ 435366 w 581768"/>
                  <a:gd name="connsiteY12" fmla="*/ 194609 h 586468"/>
                  <a:gd name="connsiteX13" fmla="*/ 398339 w 581768"/>
                  <a:gd name="connsiteY13" fmla="*/ 157582 h 586468"/>
                  <a:gd name="connsiteX14" fmla="*/ 377759 w 581768"/>
                  <a:gd name="connsiteY14" fmla="*/ 42368 h 586468"/>
                  <a:gd name="connsiteX15" fmla="*/ 287234 w 581768"/>
                  <a:gd name="connsiteY15" fmla="*/ 21788 h 586468"/>
                  <a:gd name="connsiteX16" fmla="*/ 221390 w 581768"/>
                  <a:gd name="connsiteY16" fmla="*/ 116421 h 586468"/>
                  <a:gd name="connsiteX17" fmla="*/ 172022 w 581768"/>
                  <a:gd name="connsiteY17" fmla="*/ 137001 h 586468"/>
                  <a:gd name="connsiteX18" fmla="*/ 56807 w 581768"/>
                  <a:gd name="connsiteY18" fmla="*/ 120554 h 586468"/>
                  <a:gd name="connsiteX19" fmla="*/ 11543 w 581768"/>
                  <a:gd name="connsiteY19" fmla="*/ 202842 h 5864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581768" h="586468">
                    <a:moveTo>
                      <a:pt x="81488" y="289236"/>
                    </a:moveTo>
                    <a:cubicBezTo>
                      <a:pt x="93830" y="305683"/>
                      <a:pt x="93830" y="326263"/>
                      <a:pt x="85592" y="342738"/>
                    </a:cubicBezTo>
                    <a:lnTo>
                      <a:pt x="36224" y="449715"/>
                    </a:lnTo>
                    <a:cubicBezTo>
                      <a:pt x="15644" y="490875"/>
                      <a:pt x="56803" y="532004"/>
                      <a:pt x="97934" y="519663"/>
                    </a:cubicBezTo>
                    <a:lnTo>
                      <a:pt x="209041" y="482636"/>
                    </a:lnTo>
                    <a:cubicBezTo>
                      <a:pt x="225487" y="474399"/>
                      <a:pt x="246067" y="482636"/>
                      <a:pt x="258409" y="494979"/>
                    </a:cubicBezTo>
                    <a:lnTo>
                      <a:pt x="344835" y="573167"/>
                    </a:lnTo>
                    <a:cubicBezTo>
                      <a:pt x="377757" y="601985"/>
                      <a:pt x="431260" y="581405"/>
                      <a:pt x="431260" y="536141"/>
                    </a:cubicBezTo>
                    <a:lnTo>
                      <a:pt x="427156" y="420926"/>
                    </a:lnTo>
                    <a:cubicBezTo>
                      <a:pt x="427156" y="400346"/>
                      <a:pt x="435394" y="383900"/>
                      <a:pt x="451840" y="375662"/>
                    </a:cubicBezTo>
                    <a:lnTo>
                      <a:pt x="554710" y="318056"/>
                    </a:lnTo>
                    <a:cubicBezTo>
                      <a:pt x="595870" y="297476"/>
                      <a:pt x="587633" y="239868"/>
                      <a:pt x="546473" y="227531"/>
                    </a:cubicBezTo>
                    <a:lnTo>
                      <a:pt x="435366" y="194609"/>
                    </a:lnTo>
                    <a:cubicBezTo>
                      <a:pt x="418919" y="190504"/>
                      <a:pt x="402444" y="174029"/>
                      <a:pt x="398339" y="157582"/>
                    </a:cubicBezTo>
                    <a:lnTo>
                      <a:pt x="377759" y="42368"/>
                    </a:lnTo>
                    <a:cubicBezTo>
                      <a:pt x="369522" y="-2897"/>
                      <a:pt x="311916" y="-15238"/>
                      <a:pt x="287234" y="21788"/>
                    </a:cubicBezTo>
                    <a:lnTo>
                      <a:pt x="221390" y="116421"/>
                    </a:lnTo>
                    <a:cubicBezTo>
                      <a:pt x="209048" y="132867"/>
                      <a:pt x="192573" y="141105"/>
                      <a:pt x="172022" y="137001"/>
                    </a:cubicBezTo>
                    <a:lnTo>
                      <a:pt x="56807" y="120554"/>
                    </a:lnTo>
                    <a:cubicBezTo>
                      <a:pt x="11543" y="116449"/>
                      <a:pt x="-17245" y="165818"/>
                      <a:pt x="11543" y="202842"/>
                    </a:cubicBezTo>
                    <a:close/>
                  </a:path>
                </a:pathLst>
              </a:custGeom>
              <a:grpFill/>
              <a:ln w="734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 sz="2400"/>
              </a:p>
            </p:txBody>
          </p:sp>
          <p:sp>
            <p:nvSpPr>
              <p:cNvPr id="115" name="Forma libre 114">
                <a:extLst>
                  <a:ext uri="{FF2B5EF4-FFF2-40B4-BE49-F238E27FC236}">
                    <a16:creationId xmlns:a16="http://schemas.microsoft.com/office/drawing/2014/main" id="{7FABECB2-E2F7-7945-AD53-9152F61AD3DB}"/>
                  </a:ext>
                </a:extLst>
              </p:cNvPr>
              <p:cNvSpPr/>
              <p:nvPr/>
            </p:nvSpPr>
            <p:spPr>
              <a:xfrm>
                <a:off x="2550322" y="606098"/>
                <a:ext cx="170140" cy="178683"/>
              </a:xfrm>
              <a:custGeom>
                <a:avLst/>
                <a:gdLst>
                  <a:gd name="connsiteX0" fmla="*/ 335409 w 561941"/>
                  <a:gd name="connsiteY0" fmla="*/ 486392 h 590155"/>
                  <a:gd name="connsiteX1" fmla="*/ 384778 w 561941"/>
                  <a:gd name="connsiteY1" fmla="*/ 469945 h 590155"/>
                  <a:gd name="connsiteX2" fmla="*/ 499992 w 561941"/>
                  <a:gd name="connsiteY2" fmla="*/ 498762 h 590155"/>
                  <a:gd name="connsiteX3" fmla="*/ 553494 w 561941"/>
                  <a:gd name="connsiteY3" fmla="*/ 424711 h 590155"/>
                  <a:gd name="connsiteX4" fmla="*/ 491783 w 561941"/>
                  <a:gd name="connsiteY4" fmla="*/ 325948 h 590155"/>
                  <a:gd name="connsiteX5" fmla="*/ 491783 w 561941"/>
                  <a:gd name="connsiteY5" fmla="*/ 272447 h 590155"/>
                  <a:gd name="connsiteX6" fmla="*/ 553494 w 561941"/>
                  <a:gd name="connsiteY6" fmla="*/ 173684 h 590155"/>
                  <a:gd name="connsiteX7" fmla="*/ 499992 w 561941"/>
                  <a:gd name="connsiteY7" fmla="*/ 99633 h 590155"/>
                  <a:gd name="connsiteX8" fmla="*/ 384778 w 561941"/>
                  <a:gd name="connsiteY8" fmla="*/ 128450 h 590155"/>
                  <a:gd name="connsiteX9" fmla="*/ 335409 w 561941"/>
                  <a:gd name="connsiteY9" fmla="*/ 112003 h 590155"/>
                  <a:gd name="connsiteX10" fmla="*/ 261328 w 561941"/>
                  <a:gd name="connsiteY10" fmla="*/ 17312 h 590155"/>
                  <a:gd name="connsiteX11" fmla="*/ 174903 w 561941"/>
                  <a:gd name="connsiteY11" fmla="*/ 46129 h 590155"/>
                  <a:gd name="connsiteX12" fmla="*/ 166665 w 561941"/>
                  <a:gd name="connsiteY12" fmla="*/ 161344 h 590155"/>
                  <a:gd name="connsiteX13" fmla="*/ 137847 w 561941"/>
                  <a:gd name="connsiteY13" fmla="*/ 202503 h 590155"/>
                  <a:gd name="connsiteX14" fmla="*/ 30870 w 561941"/>
                  <a:gd name="connsiteY14" fmla="*/ 247768 h 590155"/>
                  <a:gd name="connsiteX15" fmla="*/ 30870 w 561941"/>
                  <a:gd name="connsiteY15" fmla="*/ 342401 h 590155"/>
                  <a:gd name="connsiteX16" fmla="*/ 137847 w 561941"/>
                  <a:gd name="connsiteY16" fmla="*/ 387665 h 590155"/>
                  <a:gd name="connsiteX17" fmla="*/ 166665 w 561941"/>
                  <a:gd name="connsiteY17" fmla="*/ 428825 h 590155"/>
                  <a:gd name="connsiteX18" fmla="*/ 174903 w 561941"/>
                  <a:gd name="connsiteY18" fmla="*/ 544039 h 590155"/>
                  <a:gd name="connsiteX19" fmla="*/ 261328 w 561941"/>
                  <a:gd name="connsiteY19" fmla="*/ 572857 h 5901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561941" h="590155">
                    <a:moveTo>
                      <a:pt x="335409" y="486392"/>
                    </a:moveTo>
                    <a:cubicBezTo>
                      <a:pt x="347751" y="474049"/>
                      <a:pt x="368331" y="465812"/>
                      <a:pt x="384778" y="469945"/>
                    </a:cubicBezTo>
                    <a:lnTo>
                      <a:pt x="499992" y="498762"/>
                    </a:lnTo>
                    <a:cubicBezTo>
                      <a:pt x="545257" y="511104"/>
                      <a:pt x="578181" y="461736"/>
                      <a:pt x="553494" y="424711"/>
                    </a:cubicBezTo>
                    <a:lnTo>
                      <a:pt x="491783" y="325948"/>
                    </a:lnTo>
                    <a:cubicBezTo>
                      <a:pt x="483546" y="309501"/>
                      <a:pt x="483546" y="288921"/>
                      <a:pt x="491783" y="272447"/>
                    </a:cubicBezTo>
                    <a:lnTo>
                      <a:pt x="553494" y="173684"/>
                    </a:lnTo>
                    <a:cubicBezTo>
                      <a:pt x="578178" y="136658"/>
                      <a:pt x="541151" y="87259"/>
                      <a:pt x="499992" y="99633"/>
                    </a:cubicBezTo>
                    <a:lnTo>
                      <a:pt x="384778" y="128450"/>
                    </a:lnTo>
                    <a:cubicBezTo>
                      <a:pt x="368331" y="132555"/>
                      <a:pt x="347751" y="128450"/>
                      <a:pt x="335409" y="112003"/>
                    </a:cubicBezTo>
                    <a:lnTo>
                      <a:pt x="261328" y="17312"/>
                    </a:lnTo>
                    <a:cubicBezTo>
                      <a:pt x="232510" y="-15610"/>
                      <a:pt x="174903" y="865"/>
                      <a:pt x="174903" y="46129"/>
                    </a:cubicBezTo>
                    <a:lnTo>
                      <a:pt x="166665" y="161344"/>
                    </a:lnTo>
                    <a:cubicBezTo>
                      <a:pt x="166665" y="181923"/>
                      <a:pt x="154323" y="198370"/>
                      <a:pt x="137847" y="202503"/>
                    </a:cubicBezTo>
                    <a:lnTo>
                      <a:pt x="30870" y="247768"/>
                    </a:lnTo>
                    <a:cubicBezTo>
                      <a:pt x="-10290" y="264214"/>
                      <a:pt x="-10290" y="321819"/>
                      <a:pt x="30870" y="342401"/>
                    </a:cubicBezTo>
                    <a:lnTo>
                      <a:pt x="137847" y="387665"/>
                    </a:lnTo>
                    <a:cubicBezTo>
                      <a:pt x="154294" y="395903"/>
                      <a:pt x="166665" y="412349"/>
                      <a:pt x="166665" y="428825"/>
                    </a:cubicBezTo>
                    <a:lnTo>
                      <a:pt x="174903" y="544039"/>
                    </a:lnTo>
                    <a:cubicBezTo>
                      <a:pt x="179007" y="589303"/>
                      <a:pt x="232508" y="605749"/>
                      <a:pt x="261328" y="572857"/>
                    </a:cubicBezTo>
                    <a:close/>
                  </a:path>
                </a:pathLst>
              </a:custGeom>
              <a:grpFill/>
              <a:ln w="734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 sz="2400"/>
              </a:p>
            </p:txBody>
          </p:sp>
          <p:sp>
            <p:nvSpPr>
              <p:cNvPr id="116" name="Forma libre 115">
                <a:extLst>
                  <a:ext uri="{FF2B5EF4-FFF2-40B4-BE49-F238E27FC236}">
                    <a16:creationId xmlns:a16="http://schemas.microsoft.com/office/drawing/2014/main" id="{156B3AC5-1E5B-D94D-9805-B9554AB3E6F6}"/>
                  </a:ext>
                </a:extLst>
              </p:cNvPr>
              <p:cNvSpPr/>
              <p:nvPr/>
            </p:nvSpPr>
            <p:spPr>
              <a:xfrm>
                <a:off x="2626144" y="858422"/>
                <a:ext cx="175948" cy="178118"/>
              </a:xfrm>
              <a:custGeom>
                <a:avLst/>
                <a:gdLst>
                  <a:gd name="connsiteX0" fmla="*/ 554069 w 581124"/>
                  <a:gd name="connsiteY0" fmla="*/ 270233 h 588291"/>
                  <a:gd name="connsiteX1" fmla="*/ 451199 w 581124"/>
                  <a:gd name="connsiteY1" fmla="*/ 212627 h 588291"/>
                  <a:gd name="connsiteX2" fmla="*/ 426514 w 581124"/>
                  <a:gd name="connsiteY2" fmla="*/ 167363 h 588291"/>
                  <a:gd name="connsiteX3" fmla="*/ 430619 w 581124"/>
                  <a:gd name="connsiteY3" fmla="*/ 52148 h 588291"/>
                  <a:gd name="connsiteX4" fmla="*/ 344193 w 581124"/>
                  <a:gd name="connsiteY4" fmla="*/ 15122 h 588291"/>
                  <a:gd name="connsiteX5" fmla="*/ 257797 w 581124"/>
                  <a:gd name="connsiteY5" fmla="*/ 93281 h 588291"/>
                  <a:gd name="connsiteX6" fmla="*/ 208428 w 581124"/>
                  <a:gd name="connsiteY6" fmla="*/ 105623 h 588291"/>
                  <a:gd name="connsiteX7" fmla="*/ 97321 w 581124"/>
                  <a:gd name="connsiteY7" fmla="*/ 68597 h 588291"/>
                  <a:gd name="connsiteX8" fmla="*/ 35611 w 581124"/>
                  <a:gd name="connsiteY8" fmla="*/ 138545 h 588291"/>
                  <a:gd name="connsiteX9" fmla="*/ 84980 w 581124"/>
                  <a:gd name="connsiteY9" fmla="*/ 245522 h 588291"/>
                  <a:gd name="connsiteX10" fmla="*/ 80876 w 581124"/>
                  <a:gd name="connsiteY10" fmla="*/ 299023 h 588291"/>
                  <a:gd name="connsiteX11" fmla="*/ 10899 w 581124"/>
                  <a:gd name="connsiteY11" fmla="*/ 385449 h 588291"/>
                  <a:gd name="connsiteX12" fmla="*/ 56163 w 581124"/>
                  <a:gd name="connsiteY12" fmla="*/ 467737 h 588291"/>
                  <a:gd name="connsiteX13" fmla="*/ 171378 w 581124"/>
                  <a:gd name="connsiteY13" fmla="*/ 451291 h 588291"/>
                  <a:gd name="connsiteX14" fmla="*/ 220746 w 581124"/>
                  <a:gd name="connsiteY14" fmla="*/ 471871 h 588291"/>
                  <a:gd name="connsiteX15" fmla="*/ 286590 w 581124"/>
                  <a:gd name="connsiteY15" fmla="*/ 566504 h 588291"/>
                  <a:gd name="connsiteX16" fmla="*/ 377115 w 581124"/>
                  <a:gd name="connsiteY16" fmla="*/ 545924 h 588291"/>
                  <a:gd name="connsiteX17" fmla="*/ 397695 w 581124"/>
                  <a:gd name="connsiteY17" fmla="*/ 430709 h 588291"/>
                  <a:gd name="connsiteX18" fmla="*/ 434722 w 581124"/>
                  <a:gd name="connsiteY18" fmla="*/ 393683 h 588291"/>
                  <a:gd name="connsiteX19" fmla="*/ 545829 w 581124"/>
                  <a:gd name="connsiteY19" fmla="*/ 360761 h 588291"/>
                  <a:gd name="connsiteX20" fmla="*/ 554067 w 581124"/>
                  <a:gd name="connsiteY20" fmla="*/ 270235 h 5882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581124" h="588291">
                    <a:moveTo>
                      <a:pt x="554069" y="270233"/>
                    </a:moveTo>
                    <a:lnTo>
                      <a:pt x="451199" y="212627"/>
                    </a:lnTo>
                    <a:cubicBezTo>
                      <a:pt x="434752" y="204390"/>
                      <a:pt x="426514" y="187943"/>
                      <a:pt x="426514" y="167363"/>
                    </a:cubicBezTo>
                    <a:lnTo>
                      <a:pt x="430619" y="52148"/>
                    </a:lnTo>
                    <a:cubicBezTo>
                      <a:pt x="430619" y="6884"/>
                      <a:pt x="377118" y="-17800"/>
                      <a:pt x="344193" y="15122"/>
                    </a:cubicBezTo>
                    <a:lnTo>
                      <a:pt x="257797" y="93281"/>
                    </a:lnTo>
                    <a:cubicBezTo>
                      <a:pt x="245455" y="105623"/>
                      <a:pt x="224875" y="109728"/>
                      <a:pt x="208428" y="105623"/>
                    </a:cubicBezTo>
                    <a:lnTo>
                      <a:pt x="97321" y="68597"/>
                    </a:lnTo>
                    <a:cubicBezTo>
                      <a:pt x="56162" y="52150"/>
                      <a:pt x="15033" y="97414"/>
                      <a:pt x="35611" y="138545"/>
                    </a:cubicBezTo>
                    <a:lnTo>
                      <a:pt x="84980" y="245522"/>
                    </a:lnTo>
                    <a:cubicBezTo>
                      <a:pt x="93218" y="261969"/>
                      <a:pt x="89084" y="282549"/>
                      <a:pt x="80876" y="299023"/>
                    </a:cubicBezTo>
                    <a:lnTo>
                      <a:pt x="10899" y="385449"/>
                    </a:lnTo>
                    <a:cubicBezTo>
                      <a:pt x="-17919" y="422475"/>
                      <a:pt x="15003" y="471874"/>
                      <a:pt x="56163" y="467737"/>
                    </a:cubicBezTo>
                    <a:lnTo>
                      <a:pt x="171378" y="451291"/>
                    </a:lnTo>
                    <a:cubicBezTo>
                      <a:pt x="191958" y="447186"/>
                      <a:pt x="208404" y="455395"/>
                      <a:pt x="220746" y="471871"/>
                    </a:cubicBezTo>
                    <a:lnTo>
                      <a:pt x="286590" y="566504"/>
                    </a:lnTo>
                    <a:cubicBezTo>
                      <a:pt x="311274" y="603530"/>
                      <a:pt x="368879" y="591188"/>
                      <a:pt x="377115" y="545924"/>
                    </a:cubicBezTo>
                    <a:lnTo>
                      <a:pt x="397695" y="430709"/>
                    </a:lnTo>
                    <a:cubicBezTo>
                      <a:pt x="401800" y="410130"/>
                      <a:pt x="414142" y="397787"/>
                      <a:pt x="434722" y="393683"/>
                    </a:cubicBezTo>
                    <a:lnTo>
                      <a:pt x="545829" y="360761"/>
                    </a:lnTo>
                    <a:cubicBezTo>
                      <a:pt x="586989" y="348390"/>
                      <a:pt x="595226" y="290784"/>
                      <a:pt x="554067" y="270235"/>
                    </a:cubicBezTo>
                    <a:close/>
                  </a:path>
                </a:pathLst>
              </a:custGeom>
              <a:grpFill/>
              <a:ln w="734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 sz="2400"/>
              </a:p>
            </p:txBody>
          </p:sp>
          <p:sp>
            <p:nvSpPr>
              <p:cNvPr id="117" name="Forma libre 116">
                <a:extLst>
                  <a:ext uri="{FF2B5EF4-FFF2-40B4-BE49-F238E27FC236}">
                    <a16:creationId xmlns:a16="http://schemas.microsoft.com/office/drawing/2014/main" id="{C202F66D-8BA9-4B44-BD93-4D00F427A211}"/>
                  </a:ext>
                </a:extLst>
              </p:cNvPr>
              <p:cNvSpPr/>
              <p:nvPr/>
            </p:nvSpPr>
            <p:spPr>
              <a:xfrm>
                <a:off x="2799762" y="1035452"/>
                <a:ext cx="178989" cy="176143"/>
              </a:xfrm>
              <a:custGeom>
                <a:avLst/>
                <a:gdLst>
                  <a:gd name="connsiteX0" fmla="*/ 536141 w 591166"/>
                  <a:gd name="connsiteY0" fmla="*/ 150508 h 581768"/>
                  <a:gd name="connsiteX1" fmla="*/ 420926 w 591166"/>
                  <a:gd name="connsiteY1" fmla="*/ 154612 h 581768"/>
                  <a:gd name="connsiteX2" fmla="*/ 375662 w 591166"/>
                  <a:gd name="connsiteY2" fmla="*/ 129928 h 581768"/>
                  <a:gd name="connsiteX3" fmla="*/ 318056 w 591166"/>
                  <a:gd name="connsiteY3" fmla="*/ 27058 h 581768"/>
                  <a:gd name="connsiteX4" fmla="*/ 227531 w 591166"/>
                  <a:gd name="connsiteY4" fmla="*/ 35296 h 581768"/>
                  <a:gd name="connsiteX5" fmla="*/ 194608 w 591166"/>
                  <a:gd name="connsiteY5" fmla="*/ 146403 h 581768"/>
                  <a:gd name="connsiteX6" fmla="*/ 157582 w 591166"/>
                  <a:gd name="connsiteY6" fmla="*/ 183429 h 581768"/>
                  <a:gd name="connsiteX7" fmla="*/ 42367 w 591166"/>
                  <a:gd name="connsiteY7" fmla="*/ 204009 h 581768"/>
                  <a:gd name="connsiteX8" fmla="*/ 21788 w 591166"/>
                  <a:gd name="connsiteY8" fmla="*/ 294535 h 581768"/>
                  <a:gd name="connsiteX9" fmla="*/ 116421 w 591166"/>
                  <a:gd name="connsiteY9" fmla="*/ 360378 h 581768"/>
                  <a:gd name="connsiteX10" fmla="*/ 137001 w 591166"/>
                  <a:gd name="connsiteY10" fmla="*/ 409747 h 581768"/>
                  <a:gd name="connsiteX11" fmla="*/ 120554 w 591166"/>
                  <a:gd name="connsiteY11" fmla="*/ 524961 h 581768"/>
                  <a:gd name="connsiteX12" fmla="*/ 202843 w 591166"/>
                  <a:gd name="connsiteY12" fmla="*/ 570226 h 581768"/>
                  <a:gd name="connsiteX13" fmla="*/ 297476 w 591166"/>
                  <a:gd name="connsiteY13" fmla="*/ 500278 h 581768"/>
                  <a:gd name="connsiteX14" fmla="*/ 350977 w 591166"/>
                  <a:gd name="connsiteY14" fmla="*/ 496173 h 581768"/>
                  <a:gd name="connsiteX15" fmla="*/ 457954 w 591166"/>
                  <a:gd name="connsiteY15" fmla="*/ 545542 h 581768"/>
                  <a:gd name="connsiteX16" fmla="*/ 527902 w 591166"/>
                  <a:gd name="connsiteY16" fmla="*/ 483832 h 581768"/>
                  <a:gd name="connsiteX17" fmla="*/ 490876 w 591166"/>
                  <a:gd name="connsiteY17" fmla="*/ 372725 h 581768"/>
                  <a:gd name="connsiteX18" fmla="*/ 503218 w 591166"/>
                  <a:gd name="connsiteY18" fmla="*/ 323356 h 581768"/>
                  <a:gd name="connsiteX19" fmla="*/ 581406 w 591166"/>
                  <a:gd name="connsiteY19" fmla="*/ 236931 h 581768"/>
                  <a:gd name="connsiteX20" fmla="*/ 536142 w 591166"/>
                  <a:gd name="connsiteY20" fmla="*/ 150505 h 5817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591166" h="581768">
                    <a:moveTo>
                      <a:pt x="536141" y="150508"/>
                    </a:moveTo>
                    <a:lnTo>
                      <a:pt x="420926" y="154612"/>
                    </a:lnTo>
                    <a:cubicBezTo>
                      <a:pt x="400346" y="154612"/>
                      <a:pt x="383900" y="146375"/>
                      <a:pt x="375662" y="129928"/>
                    </a:cubicBezTo>
                    <a:lnTo>
                      <a:pt x="318056" y="27058"/>
                    </a:lnTo>
                    <a:cubicBezTo>
                      <a:pt x="297476" y="-14102"/>
                      <a:pt x="239868" y="-5864"/>
                      <a:pt x="227531" y="35296"/>
                    </a:cubicBezTo>
                    <a:lnTo>
                      <a:pt x="194608" y="146403"/>
                    </a:lnTo>
                    <a:cubicBezTo>
                      <a:pt x="190504" y="162849"/>
                      <a:pt x="174029" y="179325"/>
                      <a:pt x="157582" y="183429"/>
                    </a:cubicBezTo>
                    <a:lnTo>
                      <a:pt x="42367" y="204009"/>
                    </a:lnTo>
                    <a:cubicBezTo>
                      <a:pt x="-2897" y="212247"/>
                      <a:pt x="-15238" y="269853"/>
                      <a:pt x="21788" y="294535"/>
                    </a:cubicBezTo>
                    <a:lnTo>
                      <a:pt x="116421" y="360378"/>
                    </a:lnTo>
                    <a:cubicBezTo>
                      <a:pt x="132867" y="372720"/>
                      <a:pt x="141105" y="389196"/>
                      <a:pt x="137001" y="409747"/>
                    </a:cubicBezTo>
                    <a:lnTo>
                      <a:pt x="120554" y="524961"/>
                    </a:lnTo>
                    <a:cubicBezTo>
                      <a:pt x="116449" y="570226"/>
                      <a:pt x="165818" y="599013"/>
                      <a:pt x="202843" y="570226"/>
                    </a:cubicBezTo>
                    <a:lnTo>
                      <a:pt x="297476" y="500278"/>
                    </a:lnTo>
                    <a:cubicBezTo>
                      <a:pt x="313922" y="487935"/>
                      <a:pt x="334502" y="487935"/>
                      <a:pt x="350977" y="496173"/>
                    </a:cubicBezTo>
                    <a:lnTo>
                      <a:pt x="457954" y="545542"/>
                    </a:lnTo>
                    <a:cubicBezTo>
                      <a:pt x="499114" y="566122"/>
                      <a:pt x="540243" y="524962"/>
                      <a:pt x="527902" y="483832"/>
                    </a:cubicBezTo>
                    <a:lnTo>
                      <a:pt x="490876" y="372725"/>
                    </a:lnTo>
                    <a:cubicBezTo>
                      <a:pt x="482638" y="356278"/>
                      <a:pt x="490876" y="335698"/>
                      <a:pt x="503218" y="323356"/>
                    </a:cubicBezTo>
                    <a:lnTo>
                      <a:pt x="581406" y="236931"/>
                    </a:lnTo>
                    <a:cubicBezTo>
                      <a:pt x="606091" y="199904"/>
                      <a:pt x="581378" y="146405"/>
                      <a:pt x="536142" y="150505"/>
                    </a:cubicBezTo>
                    <a:close/>
                  </a:path>
                </a:pathLst>
              </a:custGeom>
              <a:grpFill/>
              <a:ln w="734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 sz="2400"/>
              </a:p>
            </p:txBody>
          </p:sp>
          <p:sp>
            <p:nvSpPr>
              <p:cNvPr id="118" name="Forma libre 117">
                <a:extLst>
                  <a:ext uri="{FF2B5EF4-FFF2-40B4-BE49-F238E27FC236}">
                    <a16:creationId xmlns:a16="http://schemas.microsoft.com/office/drawing/2014/main" id="{EC9B6DEF-440E-5943-9760-9C085C5868A2}"/>
                  </a:ext>
                </a:extLst>
              </p:cNvPr>
              <p:cNvSpPr/>
              <p:nvPr/>
            </p:nvSpPr>
            <p:spPr>
              <a:xfrm>
                <a:off x="3050289" y="1115839"/>
                <a:ext cx="178683" cy="170140"/>
              </a:xfrm>
              <a:custGeom>
                <a:avLst/>
                <a:gdLst>
                  <a:gd name="connsiteX0" fmla="*/ 486392 w 590155"/>
                  <a:gd name="connsiteY0" fmla="*/ 226532 h 561941"/>
                  <a:gd name="connsiteX1" fmla="*/ 469945 w 590155"/>
                  <a:gd name="connsiteY1" fmla="*/ 177163 h 561941"/>
                  <a:gd name="connsiteX2" fmla="*/ 498762 w 590155"/>
                  <a:gd name="connsiteY2" fmla="*/ 61949 h 561941"/>
                  <a:gd name="connsiteX3" fmla="*/ 424711 w 590155"/>
                  <a:gd name="connsiteY3" fmla="*/ 8447 h 561941"/>
                  <a:gd name="connsiteX4" fmla="*/ 325948 w 590155"/>
                  <a:gd name="connsiteY4" fmla="*/ 70158 h 561941"/>
                  <a:gd name="connsiteX5" fmla="*/ 272447 w 590155"/>
                  <a:gd name="connsiteY5" fmla="*/ 70158 h 561941"/>
                  <a:gd name="connsiteX6" fmla="*/ 173684 w 590155"/>
                  <a:gd name="connsiteY6" fmla="*/ 8447 h 561941"/>
                  <a:gd name="connsiteX7" fmla="*/ 99633 w 590155"/>
                  <a:gd name="connsiteY7" fmla="*/ 61949 h 561941"/>
                  <a:gd name="connsiteX8" fmla="*/ 128450 w 590155"/>
                  <a:gd name="connsiteY8" fmla="*/ 177163 h 561941"/>
                  <a:gd name="connsiteX9" fmla="*/ 112004 w 590155"/>
                  <a:gd name="connsiteY9" fmla="*/ 226532 h 561941"/>
                  <a:gd name="connsiteX10" fmla="*/ 17312 w 590155"/>
                  <a:gd name="connsiteY10" fmla="*/ 300613 h 561941"/>
                  <a:gd name="connsiteX11" fmla="*/ 46129 w 590155"/>
                  <a:gd name="connsiteY11" fmla="*/ 387039 h 561941"/>
                  <a:gd name="connsiteX12" fmla="*/ 161344 w 590155"/>
                  <a:gd name="connsiteY12" fmla="*/ 395276 h 561941"/>
                  <a:gd name="connsiteX13" fmla="*/ 202503 w 590155"/>
                  <a:gd name="connsiteY13" fmla="*/ 424094 h 561941"/>
                  <a:gd name="connsiteX14" fmla="*/ 247768 w 590155"/>
                  <a:gd name="connsiteY14" fmla="*/ 531071 h 561941"/>
                  <a:gd name="connsiteX15" fmla="*/ 342401 w 590155"/>
                  <a:gd name="connsiteY15" fmla="*/ 531071 h 561941"/>
                  <a:gd name="connsiteX16" fmla="*/ 387665 w 590155"/>
                  <a:gd name="connsiteY16" fmla="*/ 424094 h 561941"/>
                  <a:gd name="connsiteX17" fmla="*/ 428825 w 590155"/>
                  <a:gd name="connsiteY17" fmla="*/ 395276 h 561941"/>
                  <a:gd name="connsiteX18" fmla="*/ 544039 w 590155"/>
                  <a:gd name="connsiteY18" fmla="*/ 387039 h 561941"/>
                  <a:gd name="connsiteX19" fmla="*/ 572857 w 590155"/>
                  <a:gd name="connsiteY19" fmla="*/ 300613 h 5619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590155" h="561941">
                    <a:moveTo>
                      <a:pt x="486392" y="226532"/>
                    </a:moveTo>
                    <a:cubicBezTo>
                      <a:pt x="474049" y="214190"/>
                      <a:pt x="465812" y="193610"/>
                      <a:pt x="469945" y="177163"/>
                    </a:cubicBezTo>
                    <a:lnTo>
                      <a:pt x="498762" y="61949"/>
                    </a:lnTo>
                    <a:cubicBezTo>
                      <a:pt x="511105" y="16684"/>
                      <a:pt x="461736" y="-16240"/>
                      <a:pt x="424711" y="8447"/>
                    </a:cubicBezTo>
                    <a:lnTo>
                      <a:pt x="325948" y="70158"/>
                    </a:lnTo>
                    <a:cubicBezTo>
                      <a:pt x="309502" y="78395"/>
                      <a:pt x="288922" y="78395"/>
                      <a:pt x="272447" y="70158"/>
                    </a:cubicBezTo>
                    <a:lnTo>
                      <a:pt x="173684" y="8447"/>
                    </a:lnTo>
                    <a:cubicBezTo>
                      <a:pt x="136658" y="-16237"/>
                      <a:pt x="87259" y="20790"/>
                      <a:pt x="99633" y="61949"/>
                    </a:cubicBezTo>
                    <a:lnTo>
                      <a:pt x="128450" y="177163"/>
                    </a:lnTo>
                    <a:cubicBezTo>
                      <a:pt x="132555" y="193610"/>
                      <a:pt x="128450" y="214190"/>
                      <a:pt x="112004" y="226532"/>
                    </a:cubicBezTo>
                    <a:lnTo>
                      <a:pt x="17312" y="300613"/>
                    </a:lnTo>
                    <a:cubicBezTo>
                      <a:pt x="-15610" y="329431"/>
                      <a:pt x="865" y="387039"/>
                      <a:pt x="46129" y="387039"/>
                    </a:cubicBezTo>
                    <a:lnTo>
                      <a:pt x="161344" y="395276"/>
                    </a:lnTo>
                    <a:cubicBezTo>
                      <a:pt x="181924" y="395276"/>
                      <a:pt x="198370" y="407618"/>
                      <a:pt x="202503" y="424094"/>
                    </a:cubicBezTo>
                    <a:lnTo>
                      <a:pt x="247768" y="531071"/>
                    </a:lnTo>
                    <a:cubicBezTo>
                      <a:pt x="264214" y="572231"/>
                      <a:pt x="321819" y="572231"/>
                      <a:pt x="342401" y="531071"/>
                    </a:cubicBezTo>
                    <a:lnTo>
                      <a:pt x="387665" y="424094"/>
                    </a:lnTo>
                    <a:cubicBezTo>
                      <a:pt x="395903" y="407647"/>
                      <a:pt x="412349" y="395276"/>
                      <a:pt x="428825" y="395276"/>
                    </a:cubicBezTo>
                    <a:lnTo>
                      <a:pt x="544039" y="387039"/>
                    </a:lnTo>
                    <a:cubicBezTo>
                      <a:pt x="589303" y="382934"/>
                      <a:pt x="605749" y="329433"/>
                      <a:pt x="572857" y="300613"/>
                    </a:cubicBezTo>
                    <a:close/>
                  </a:path>
                </a:pathLst>
              </a:custGeom>
              <a:grpFill/>
              <a:ln w="734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 sz="2400"/>
              </a:p>
            </p:txBody>
          </p:sp>
          <p:sp>
            <p:nvSpPr>
              <p:cNvPr id="119" name="Forma libre 118">
                <a:extLst>
                  <a:ext uri="{FF2B5EF4-FFF2-40B4-BE49-F238E27FC236}">
                    <a16:creationId xmlns:a16="http://schemas.microsoft.com/office/drawing/2014/main" id="{8234F515-84B0-6142-84BC-EF1C68CA794E}"/>
                  </a:ext>
                </a:extLst>
              </p:cNvPr>
              <p:cNvSpPr/>
              <p:nvPr/>
            </p:nvSpPr>
            <p:spPr>
              <a:xfrm>
                <a:off x="3302608" y="1034207"/>
                <a:ext cx="178208" cy="175945"/>
              </a:xfrm>
              <a:custGeom>
                <a:avLst/>
                <a:gdLst>
                  <a:gd name="connsiteX0" fmla="*/ 550055 w 588588"/>
                  <a:gd name="connsiteY0" fmla="*/ 203998 h 581115"/>
                  <a:gd name="connsiteX1" fmla="*/ 434840 w 588588"/>
                  <a:gd name="connsiteY1" fmla="*/ 183418 h 581115"/>
                  <a:gd name="connsiteX2" fmla="*/ 397814 w 588588"/>
                  <a:gd name="connsiteY2" fmla="*/ 146391 h 581115"/>
                  <a:gd name="connsiteX3" fmla="*/ 360759 w 588588"/>
                  <a:gd name="connsiteY3" fmla="*/ 35284 h 581115"/>
                  <a:gd name="connsiteX4" fmla="*/ 270233 w 588588"/>
                  <a:gd name="connsiteY4" fmla="*/ 27046 h 581115"/>
                  <a:gd name="connsiteX5" fmla="*/ 212627 w 588588"/>
                  <a:gd name="connsiteY5" fmla="*/ 129916 h 581115"/>
                  <a:gd name="connsiteX6" fmla="*/ 167363 w 588588"/>
                  <a:gd name="connsiteY6" fmla="*/ 154601 h 581115"/>
                  <a:gd name="connsiteX7" fmla="*/ 52149 w 588588"/>
                  <a:gd name="connsiteY7" fmla="*/ 150496 h 581115"/>
                  <a:gd name="connsiteX8" fmla="*/ 15122 w 588588"/>
                  <a:gd name="connsiteY8" fmla="*/ 236922 h 581115"/>
                  <a:gd name="connsiteX9" fmla="*/ 93310 w 588588"/>
                  <a:gd name="connsiteY9" fmla="*/ 323347 h 581115"/>
                  <a:gd name="connsiteX10" fmla="*/ 105653 w 588588"/>
                  <a:gd name="connsiteY10" fmla="*/ 372716 h 581115"/>
                  <a:gd name="connsiteX11" fmla="*/ 68626 w 588588"/>
                  <a:gd name="connsiteY11" fmla="*/ 483823 h 581115"/>
                  <a:gd name="connsiteX12" fmla="*/ 138574 w 588588"/>
                  <a:gd name="connsiteY12" fmla="*/ 545533 h 581115"/>
                  <a:gd name="connsiteX13" fmla="*/ 245551 w 588588"/>
                  <a:gd name="connsiteY13" fmla="*/ 496165 h 581115"/>
                  <a:gd name="connsiteX14" fmla="*/ 299053 w 588588"/>
                  <a:gd name="connsiteY14" fmla="*/ 500269 h 581115"/>
                  <a:gd name="connsiteX15" fmla="*/ 393686 w 588588"/>
                  <a:gd name="connsiteY15" fmla="*/ 570217 h 581115"/>
                  <a:gd name="connsiteX16" fmla="*/ 475974 w 588588"/>
                  <a:gd name="connsiteY16" fmla="*/ 524953 h 581115"/>
                  <a:gd name="connsiteX17" fmla="*/ 451290 w 588588"/>
                  <a:gd name="connsiteY17" fmla="*/ 409738 h 581115"/>
                  <a:gd name="connsiteX18" fmla="*/ 471870 w 588588"/>
                  <a:gd name="connsiteY18" fmla="*/ 360369 h 581115"/>
                  <a:gd name="connsiteX19" fmla="*/ 566503 w 588588"/>
                  <a:gd name="connsiteY19" fmla="*/ 294526 h 581115"/>
                  <a:gd name="connsiteX20" fmla="*/ 550056 w 588588"/>
                  <a:gd name="connsiteY20" fmla="*/ 204000 h 5811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588588" h="581115">
                    <a:moveTo>
                      <a:pt x="550055" y="203998"/>
                    </a:moveTo>
                    <a:lnTo>
                      <a:pt x="434840" y="183418"/>
                    </a:lnTo>
                    <a:cubicBezTo>
                      <a:pt x="418394" y="179313"/>
                      <a:pt x="401918" y="166971"/>
                      <a:pt x="397814" y="146391"/>
                    </a:cubicBezTo>
                    <a:lnTo>
                      <a:pt x="360759" y="35284"/>
                    </a:lnTo>
                    <a:cubicBezTo>
                      <a:pt x="348416" y="-5876"/>
                      <a:pt x="290811" y="-14085"/>
                      <a:pt x="270233" y="27046"/>
                    </a:cubicBezTo>
                    <a:lnTo>
                      <a:pt x="212627" y="129916"/>
                    </a:lnTo>
                    <a:cubicBezTo>
                      <a:pt x="204389" y="146363"/>
                      <a:pt x="187943" y="154601"/>
                      <a:pt x="167363" y="154601"/>
                    </a:cubicBezTo>
                    <a:lnTo>
                      <a:pt x="52149" y="150496"/>
                    </a:lnTo>
                    <a:cubicBezTo>
                      <a:pt x="6884" y="150496"/>
                      <a:pt x="-17799" y="203998"/>
                      <a:pt x="15122" y="236922"/>
                    </a:cubicBezTo>
                    <a:lnTo>
                      <a:pt x="93310" y="323347"/>
                    </a:lnTo>
                    <a:cubicBezTo>
                      <a:pt x="105653" y="335689"/>
                      <a:pt x="109757" y="356269"/>
                      <a:pt x="105653" y="372716"/>
                    </a:cubicBezTo>
                    <a:lnTo>
                      <a:pt x="68626" y="483823"/>
                    </a:lnTo>
                    <a:cubicBezTo>
                      <a:pt x="52179" y="524983"/>
                      <a:pt x="97444" y="566112"/>
                      <a:pt x="138574" y="545533"/>
                    </a:cubicBezTo>
                    <a:lnTo>
                      <a:pt x="245551" y="496165"/>
                    </a:lnTo>
                    <a:cubicBezTo>
                      <a:pt x="261998" y="487927"/>
                      <a:pt x="282578" y="492060"/>
                      <a:pt x="299053" y="500269"/>
                    </a:cubicBezTo>
                    <a:lnTo>
                      <a:pt x="393686" y="570217"/>
                    </a:lnTo>
                    <a:cubicBezTo>
                      <a:pt x="430712" y="599035"/>
                      <a:pt x="480111" y="566113"/>
                      <a:pt x="475974" y="524953"/>
                    </a:cubicBezTo>
                    <a:lnTo>
                      <a:pt x="451290" y="409738"/>
                    </a:lnTo>
                    <a:cubicBezTo>
                      <a:pt x="447186" y="389158"/>
                      <a:pt x="455394" y="372712"/>
                      <a:pt x="471870" y="360369"/>
                    </a:cubicBezTo>
                    <a:lnTo>
                      <a:pt x="566503" y="294526"/>
                    </a:lnTo>
                    <a:cubicBezTo>
                      <a:pt x="603558" y="269813"/>
                      <a:pt x="591216" y="212208"/>
                      <a:pt x="550056" y="204000"/>
                    </a:cubicBezTo>
                    <a:close/>
                  </a:path>
                </a:pathLst>
              </a:custGeom>
              <a:grpFill/>
              <a:ln w="734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 sz="2400"/>
              </a:p>
            </p:txBody>
          </p:sp>
          <p:sp>
            <p:nvSpPr>
              <p:cNvPr id="120" name="Forma libre 119">
                <a:extLst>
                  <a:ext uri="{FF2B5EF4-FFF2-40B4-BE49-F238E27FC236}">
                    <a16:creationId xmlns:a16="http://schemas.microsoft.com/office/drawing/2014/main" id="{C4D687C6-2B53-224C-8398-EFFAF5F7F994}"/>
                  </a:ext>
                </a:extLst>
              </p:cNvPr>
              <p:cNvSpPr/>
              <p:nvPr/>
            </p:nvSpPr>
            <p:spPr>
              <a:xfrm>
                <a:off x="3478393" y="856477"/>
                <a:ext cx="176143" cy="177566"/>
              </a:xfrm>
              <a:custGeom>
                <a:avLst/>
                <a:gdLst>
                  <a:gd name="connsiteX0" fmla="*/ 500281 w 581768"/>
                  <a:gd name="connsiteY0" fmla="*/ 297232 h 586468"/>
                  <a:gd name="connsiteX1" fmla="*/ 496176 w 581768"/>
                  <a:gd name="connsiteY1" fmla="*/ 243731 h 586468"/>
                  <a:gd name="connsiteX2" fmla="*/ 545545 w 581768"/>
                  <a:gd name="connsiteY2" fmla="*/ 136753 h 586468"/>
                  <a:gd name="connsiteX3" fmla="*/ 483835 w 581768"/>
                  <a:gd name="connsiteY3" fmla="*/ 66805 h 586468"/>
                  <a:gd name="connsiteX4" fmla="*/ 372728 w 581768"/>
                  <a:gd name="connsiteY4" fmla="*/ 103832 h 586468"/>
                  <a:gd name="connsiteX5" fmla="*/ 323359 w 581768"/>
                  <a:gd name="connsiteY5" fmla="*/ 91490 h 586468"/>
                  <a:gd name="connsiteX6" fmla="*/ 236933 w 581768"/>
                  <a:gd name="connsiteY6" fmla="*/ 13301 h 586468"/>
                  <a:gd name="connsiteX7" fmla="*/ 150508 w 581768"/>
                  <a:gd name="connsiteY7" fmla="*/ 50328 h 586468"/>
                  <a:gd name="connsiteX8" fmla="*/ 154613 w 581768"/>
                  <a:gd name="connsiteY8" fmla="*/ 165542 h 586468"/>
                  <a:gd name="connsiteX9" fmla="*/ 129928 w 581768"/>
                  <a:gd name="connsiteY9" fmla="*/ 210806 h 586468"/>
                  <a:gd name="connsiteX10" fmla="*/ 27058 w 581768"/>
                  <a:gd name="connsiteY10" fmla="*/ 268412 h 586468"/>
                  <a:gd name="connsiteX11" fmla="*/ 35296 w 581768"/>
                  <a:gd name="connsiteY11" fmla="*/ 358938 h 586468"/>
                  <a:gd name="connsiteX12" fmla="*/ 146403 w 581768"/>
                  <a:gd name="connsiteY12" fmla="*/ 391860 h 586468"/>
                  <a:gd name="connsiteX13" fmla="*/ 183429 w 581768"/>
                  <a:gd name="connsiteY13" fmla="*/ 428886 h 586468"/>
                  <a:gd name="connsiteX14" fmla="*/ 204009 w 581768"/>
                  <a:gd name="connsiteY14" fmla="*/ 544101 h 586468"/>
                  <a:gd name="connsiteX15" fmla="*/ 294535 w 581768"/>
                  <a:gd name="connsiteY15" fmla="*/ 564681 h 586468"/>
                  <a:gd name="connsiteX16" fmla="*/ 360378 w 581768"/>
                  <a:gd name="connsiteY16" fmla="*/ 470047 h 586468"/>
                  <a:gd name="connsiteX17" fmla="*/ 409747 w 581768"/>
                  <a:gd name="connsiteY17" fmla="*/ 449468 h 586468"/>
                  <a:gd name="connsiteX18" fmla="*/ 524961 w 581768"/>
                  <a:gd name="connsiteY18" fmla="*/ 465914 h 586468"/>
                  <a:gd name="connsiteX19" fmla="*/ 570226 w 581768"/>
                  <a:gd name="connsiteY19" fmla="*/ 383626 h 5864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581768" h="586468">
                    <a:moveTo>
                      <a:pt x="500281" y="297232"/>
                    </a:moveTo>
                    <a:cubicBezTo>
                      <a:pt x="487939" y="280785"/>
                      <a:pt x="487939" y="260205"/>
                      <a:pt x="496176" y="243731"/>
                    </a:cubicBezTo>
                    <a:lnTo>
                      <a:pt x="545545" y="136753"/>
                    </a:lnTo>
                    <a:cubicBezTo>
                      <a:pt x="566125" y="95593"/>
                      <a:pt x="524965" y="54465"/>
                      <a:pt x="483835" y="66805"/>
                    </a:cubicBezTo>
                    <a:lnTo>
                      <a:pt x="372728" y="103832"/>
                    </a:lnTo>
                    <a:cubicBezTo>
                      <a:pt x="356281" y="112070"/>
                      <a:pt x="335701" y="103832"/>
                      <a:pt x="323359" y="91490"/>
                    </a:cubicBezTo>
                    <a:lnTo>
                      <a:pt x="236933" y="13301"/>
                    </a:lnTo>
                    <a:cubicBezTo>
                      <a:pt x="204012" y="-15517"/>
                      <a:pt x="150508" y="5063"/>
                      <a:pt x="150508" y="50328"/>
                    </a:cubicBezTo>
                    <a:lnTo>
                      <a:pt x="154613" y="165542"/>
                    </a:lnTo>
                    <a:cubicBezTo>
                      <a:pt x="154613" y="186122"/>
                      <a:pt x="146375" y="202569"/>
                      <a:pt x="129928" y="210806"/>
                    </a:cubicBezTo>
                    <a:lnTo>
                      <a:pt x="27058" y="268412"/>
                    </a:lnTo>
                    <a:cubicBezTo>
                      <a:pt x="-14102" y="288992"/>
                      <a:pt x="-5864" y="346601"/>
                      <a:pt x="35296" y="358938"/>
                    </a:cubicBezTo>
                    <a:lnTo>
                      <a:pt x="146403" y="391860"/>
                    </a:lnTo>
                    <a:cubicBezTo>
                      <a:pt x="162849" y="395964"/>
                      <a:pt x="179325" y="412440"/>
                      <a:pt x="183429" y="428886"/>
                    </a:cubicBezTo>
                    <a:lnTo>
                      <a:pt x="204009" y="544101"/>
                    </a:lnTo>
                    <a:cubicBezTo>
                      <a:pt x="212247" y="589365"/>
                      <a:pt x="269853" y="601706"/>
                      <a:pt x="294535" y="564681"/>
                    </a:cubicBezTo>
                    <a:lnTo>
                      <a:pt x="360378" y="470047"/>
                    </a:lnTo>
                    <a:cubicBezTo>
                      <a:pt x="372720" y="453601"/>
                      <a:pt x="389196" y="445363"/>
                      <a:pt x="409747" y="449468"/>
                    </a:cubicBezTo>
                    <a:lnTo>
                      <a:pt x="524961" y="465914"/>
                    </a:lnTo>
                    <a:cubicBezTo>
                      <a:pt x="570226" y="470019"/>
                      <a:pt x="599013" y="420650"/>
                      <a:pt x="570226" y="383626"/>
                    </a:cubicBezTo>
                    <a:close/>
                  </a:path>
                </a:pathLst>
              </a:custGeom>
              <a:grpFill/>
              <a:ln w="734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 sz="2400"/>
              </a:p>
            </p:txBody>
          </p:sp>
          <p:sp>
            <p:nvSpPr>
              <p:cNvPr id="121" name="Forma libre 120">
                <a:extLst>
                  <a:ext uri="{FF2B5EF4-FFF2-40B4-BE49-F238E27FC236}">
                    <a16:creationId xmlns:a16="http://schemas.microsoft.com/office/drawing/2014/main" id="{D52D75CC-60C4-5F4A-B8A5-A4E08789F8F1}"/>
                  </a:ext>
                </a:extLst>
              </p:cNvPr>
              <p:cNvSpPr/>
              <p:nvPr/>
            </p:nvSpPr>
            <p:spPr>
              <a:xfrm>
                <a:off x="3561272" y="607337"/>
                <a:ext cx="171063" cy="178650"/>
              </a:xfrm>
              <a:custGeom>
                <a:avLst/>
                <a:gdLst>
                  <a:gd name="connsiteX0" fmla="*/ 531042 w 564989"/>
                  <a:gd name="connsiteY0" fmla="*/ 247755 h 590049"/>
                  <a:gd name="connsiteX1" fmla="*/ 424064 w 564989"/>
                  <a:gd name="connsiteY1" fmla="*/ 202490 h 590049"/>
                  <a:gd name="connsiteX2" fmla="*/ 395247 w 564989"/>
                  <a:gd name="connsiteY2" fmla="*/ 161330 h 590049"/>
                  <a:gd name="connsiteX3" fmla="*/ 387009 w 564989"/>
                  <a:gd name="connsiteY3" fmla="*/ 46116 h 590049"/>
                  <a:gd name="connsiteX4" fmla="*/ 300584 w 564989"/>
                  <a:gd name="connsiteY4" fmla="*/ 17299 h 590049"/>
                  <a:gd name="connsiteX5" fmla="*/ 226532 w 564989"/>
                  <a:gd name="connsiteY5" fmla="*/ 107824 h 590049"/>
                  <a:gd name="connsiteX6" fmla="*/ 177163 w 564989"/>
                  <a:gd name="connsiteY6" fmla="*/ 124271 h 590049"/>
                  <a:gd name="connsiteX7" fmla="*/ 61949 w 564989"/>
                  <a:gd name="connsiteY7" fmla="*/ 95453 h 590049"/>
                  <a:gd name="connsiteX8" fmla="*/ 8448 w 564989"/>
                  <a:gd name="connsiteY8" fmla="*/ 169505 h 590049"/>
                  <a:gd name="connsiteX9" fmla="*/ 70158 w 564989"/>
                  <a:gd name="connsiteY9" fmla="*/ 268268 h 590049"/>
                  <a:gd name="connsiteX10" fmla="*/ 70158 w 564989"/>
                  <a:gd name="connsiteY10" fmla="*/ 321769 h 590049"/>
                  <a:gd name="connsiteX11" fmla="*/ 8448 w 564989"/>
                  <a:gd name="connsiteY11" fmla="*/ 420531 h 590049"/>
                  <a:gd name="connsiteX12" fmla="*/ 61949 w 564989"/>
                  <a:gd name="connsiteY12" fmla="*/ 494583 h 590049"/>
                  <a:gd name="connsiteX13" fmla="*/ 177163 w 564989"/>
                  <a:gd name="connsiteY13" fmla="*/ 465766 h 590049"/>
                  <a:gd name="connsiteX14" fmla="*/ 226532 w 564989"/>
                  <a:gd name="connsiteY14" fmla="*/ 482212 h 590049"/>
                  <a:gd name="connsiteX15" fmla="*/ 300584 w 564989"/>
                  <a:gd name="connsiteY15" fmla="*/ 572738 h 590049"/>
                  <a:gd name="connsiteX16" fmla="*/ 387009 w 564989"/>
                  <a:gd name="connsiteY16" fmla="*/ 543920 h 590049"/>
                  <a:gd name="connsiteX17" fmla="*/ 395247 w 564989"/>
                  <a:gd name="connsiteY17" fmla="*/ 428706 h 590049"/>
                  <a:gd name="connsiteX18" fmla="*/ 424064 w 564989"/>
                  <a:gd name="connsiteY18" fmla="*/ 387546 h 590049"/>
                  <a:gd name="connsiteX19" fmla="*/ 531042 w 564989"/>
                  <a:gd name="connsiteY19" fmla="*/ 342282 h 590049"/>
                  <a:gd name="connsiteX20" fmla="*/ 531042 w 564989"/>
                  <a:gd name="connsiteY20" fmla="*/ 247737 h 5900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564989" h="590049">
                    <a:moveTo>
                      <a:pt x="531042" y="247755"/>
                    </a:moveTo>
                    <a:lnTo>
                      <a:pt x="424064" y="202490"/>
                    </a:lnTo>
                    <a:cubicBezTo>
                      <a:pt x="407618" y="194253"/>
                      <a:pt x="395247" y="177806"/>
                      <a:pt x="395247" y="161330"/>
                    </a:cubicBezTo>
                    <a:lnTo>
                      <a:pt x="387009" y="46116"/>
                    </a:lnTo>
                    <a:cubicBezTo>
                      <a:pt x="382905" y="852"/>
                      <a:pt x="329403" y="-15594"/>
                      <a:pt x="300584" y="17299"/>
                    </a:cubicBezTo>
                    <a:lnTo>
                      <a:pt x="226532" y="107824"/>
                    </a:lnTo>
                    <a:cubicBezTo>
                      <a:pt x="214190" y="120167"/>
                      <a:pt x="193610" y="128404"/>
                      <a:pt x="177163" y="124271"/>
                    </a:cubicBezTo>
                    <a:lnTo>
                      <a:pt x="61949" y="95453"/>
                    </a:lnTo>
                    <a:cubicBezTo>
                      <a:pt x="16684" y="83111"/>
                      <a:pt x="-16240" y="132480"/>
                      <a:pt x="8448" y="169505"/>
                    </a:cubicBezTo>
                    <a:lnTo>
                      <a:pt x="70158" y="268268"/>
                    </a:lnTo>
                    <a:cubicBezTo>
                      <a:pt x="78395" y="284714"/>
                      <a:pt x="78395" y="305294"/>
                      <a:pt x="70158" y="321769"/>
                    </a:cubicBezTo>
                    <a:lnTo>
                      <a:pt x="8448" y="420531"/>
                    </a:lnTo>
                    <a:cubicBezTo>
                      <a:pt x="-16237" y="457558"/>
                      <a:pt x="20790" y="506957"/>
                      <a:pt x="61949" y="494583"/>
                    </a:cubicBezTo>
                    <a:lnTo>
                      <a:pt x="177163" y="465766"/>
                    </a:lnTo>
                    <a:cubicBezTo>
                      <a:pt x="193610" y="461661"/>
                      <a:pt x="214190" y="465766"/>
                      <a:pt x="226532" y="482212"/>
                    </a:cubicBezTo>
                    <a:lnTo>
                      <a:pt x="300584" y="572738"/>
                    </a:lnTo>
                    <a:cubicBezTo>
                      <a:pt x="329401" y="605660"/>
                      <a:pt x="387009" y="589185"/>
                      <a:pt x="387009" y="543920"/>
                    </a:cubicBezTo>
                    <a:lnTo>
                      <a:pt x="395247" y="428706"/>
                    </a:lnTo>
                    <a:cubicBezTo>
                      <a:pt x="395247" y="408126"/>
                      <a:pt x="407589" y="391679"/>
                      <a:pt x="424064" y="387546"/>
                    </a:cubicBezTo>
                    <a:lnTo>
                      <a:pt x="531042" y="342282"/>
                    </a:lnTo>
                    <a:cubicBezTo>
                      <a:pt x="576306" y="321817"/>
                      <a:pt x="576306" y="264181"/>
                      <a:pt x="531042" y="247737"/>
                    </a:cubicBezTo>
                    <a:close/>
                  </a:path>
                </a:pathLst>
              </a:custGeom>
              <a:grpFill/>
              <a:ln w="734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 sz="2400"/>
              </a:p>
            </p:txBody>
          </p:sp>
          <p:sp>
            <p:nvSpPr>
              <p:cNvPr id="122" name="Forma libre 121">
                <a:extLst>
                  <a:ext uri="{FF2B5EF4-FFF2-40B4-BE49-F238E27FC236}">
                    <a16:creationId xmlns:a16="http://schemas.microsoft.com/office/drawing/2014/main" id="{F5F679D7-3B4C-2C4B-88B6-99531C152A98}"/>
                  </a:ext>
                </a:extLst>
              </p:cNvPr>
              <p:cNvSpPr/>
              <p:nvPr/>
            </p:nvSpPr>
            <p:spPr>
              <a:xfrm>
                <a:off x="3478400" y="355578"/>
                <a:ext cx="175948" cy="178109"/>
              </a:xfrm>
              <a:custGeom>
                <a:avLst/>
                <a:gdLst>
                  <a:gd name="connsiteX0" fmla="*/ 27055 w 581124"/>
                  <a:gd name="connsiteY0" fmla="*/ 318029 h 588262"/>
                  <a:gd name="connsiteX1" fmla="*/ 129925 w 581124"/>
                  <a:gd name="connsiteY1" fmla="*/ 375635 h 588262"/>
                  <a:gd name="connsiteX2" fmla="*/ 154610 w 581124"/>
                  <a:gd name="connsiteY2" fmla="*/ 420899 h 588262"/>
                  <a:gd name="connsiteX3" fmla="*/ 150505 w 581124"/>
                  <a:gd name="connsiteY3" fmla="*/ 536114 h 588262"/>
                  <a:gd name="connsiteX4" fmla="*/ 236931 w 581124"/>
                  <a:gd name="connsiteY4" fmla="*/ 573140 h 588262"/>
                  <a:gd name="connsiteX5" fmla="*/ 323356 w 581124"/>
                  <a:gd name="connsiteY5" fmla="*/ 494952 h 588262"/>
                  <a:gd name="connsiteX6" fmla="*/ 372725 w 581124"/>
                  <a:gd name="connsiteY6" fmla="*/ 482610 h 588262"/>
                  <a:gd name="connsiteX7" fmla="*/ 483832 w 581124"/>
                  <a:gd name="connsiteY7" fmla="*/ 519636 h 588262"/>
                  <a:gd name="connsiteX8" fmla="*/ 545542 w 581124"/>
                  <a:gd name="connsiteY8" fmla="*/ 449688 h 588262"/>
                  <a:gd name="connsiteX9" fmla="*/ 496173 w 581124"/>
                  <a:gd name="connsiteY9" fmla="*/ 342711 h 588262"/>
                  <a:gd name="connsiteX10" fmla="*/ 500278 w 581124"/>
                  <a:gd name="connsiteY10" fmla="*/ 289210 h 588262"/>
                  <a:gd name="connsiteX11" fmla="*/ 570226 w 581124"/>
                  <a:gd name="connsiteY11" fmla="*/ 194576 h 588262"/>
                  <a:gd name="connsiteX12" fmla="*/ 524961 w 581124"/>
                  <a:gd name="connsiteY12" fmla="*/ 112288 h 588262"/>
                  <a:gd name="connsiteX13" fmla="*/ 409747 w 581124"/>
                  <a:gd name="connsiteY13" fmla="*/ 137001 h 588262"/>
                  <a:gd name="connsiteX14" fmla="*/ 360378 w 581124"/>
                  <a:gd name="connsiteY14" fmla="*/ 116421 h 588262"/>
                  <a:gd name="connsiteX15" fmla="*/ 294535 w 581124"/>
                  <a:gd name="connsiteY15" fmla="*/ 21788 h 588262"/>
                  <a:gd name="connsiteX16" fmla="*/ 204009 w 581124"/>
                  <a:gd name="connsiteY16" fmla="*/ 42368 h 588262"/>
                  <a:gd name="connsiteX17" fmla="*/ 183429 w 581124"/>
                  <a:gd name="connsiteY17" fmla="*/ 157582 h 588262"/>
                  <a:gd name="connsiteX18" fmla="*/ 146403 w 581124"/>
                  <a:gd name="connsiteY18" fmla="*/ 194609 h 588262"/>
                  <a:gd name="connsiteX19" fmla="*/ 35296 w 581124"/>
                  <a:gd name="connsiteY19" fmla="*/ 227531 h 588262"/>
                  <a:gd name="connsiteX20" fmla="*/ 27058 w 581124"/>
                  <a:gd name="connsiteY20" fmla="*/ 318027 h 5882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581124" h="588262">
                    <a:moveTo>
                      <a:pt x="27055" y="318029"/>
                    </a:moveTo>
                    <a:lnTo>
                      <a:pt x="129925" y="375635"/>
                    </a:lnTo>
                    <a:cubicBezTo>
                      <a:pt x="146372" y="383873"/>
                      <a:pt x="154610" y="400319"/>
                      <a:pt x="154610" y="420899"/>
                    </a:cubicBezTo>
                    <a:lnTo>
                      <a:pt x="150505" y="536114"/>
                    </a:lnTo>
                    <a:cubicBezTo>
                      <a:pt x="150505" y="581378"/>
                      <a:pt x="204006" y="606062"/>
                      <a:pt x="236931" y="573140"/>
                    </a:cubicBezTo>
                    <a:lnTo>
                      <a:pt x="323356" y="494952"/>
                    </a:lnTo>
                    <a:cubicBezTo>
                      <a:pt x="335698" y="482610"/>
                      <a:pt x="356278" y="478505"/>
                      <a:pt x="372725" y="482610"/>
                    </a:cubicBezTo>
                    <a:lnTo>
                      <a:pt x="483832" y="519636"/>
                    </a:lnTo>
                    <a:cubicBezTo>
                      <a:pt x="524992" y="536083"/>
                      <a:pt x="566121" y="490819"/>
                      <a:pt x="545542" y="449688"/>
                    </a:cubicBezTo>
                    <a:lnTo>
                      <a:pt x="496173" y="342711"/>
                    </a:lnTo>
                    <a:cubicBezTo>
                      <a:pt x="487936" y="326264"/>
                      <a:pt x="492069" y="305684"/>
                      <a:pt x="500278" y="289210"/>
                    </a:cubicBezTo>
                    <a:lnTo>
                      <a:pt x="570226" y="194576"/>
                    </a:lnTo>
                    <a:cubicBezTo>
                      <a:pt x="599043" y="157550"/>
                      <a:pt x="566121" y="108151"/>
                      <a:pt x="524961" y="112288"/>
                    </a:cubicBezTo>
                    <a:lnTo>
                      <a:pt x="409747" y="137001"/>
                    </a:lnTo>
                    <a:cubicBezTo>
                      <a:pt x="389167" y="141105"/>
                      <a:pt x="372721" y="132896"/>
                      <a:pt x="360378" y="116421"/>
                    </a:cubicBezTo>
                    <a:lnTo>
                      <a:pt x="294535" y="21788"/>
                    </a:lnTo>
                    <a:cubicBezTo>
                      <a:pt x="269851" y="-15239"/>
                      <a:pt x="212246" y="-2896"/>
                      <a:pt x="204009" y="42368"/>
                    </a:cubicBezTo>
                    <a:lnTo>
                      <a:pt x="183429" y="157582"/>
                    </a:lnTo>
                    <a:cubicBezTo>
                      <a:pt x="179325" y="178162"/>
                      <a:pt x="166983" y="190504"/>
                      <a:pt x="146403" y="194609"/>
                    </a:cubicBezTo>
                    <a:lnTo>
                      <a:pt x="35296" y="227531"/>
                    </a:lnTo>
                    <a:cubicBezTo>
                      <a:pt x="-5864" y="239873"/>
                      <a:pt x="-14102" y="297479"/>
                      <a:pt x="27058" y="318027"/>
                    </a:cubicBezTo>
                    <a:close/>
                  </a:path>
                </a:pathLst>
              </a:custGeom>
              <a:grpFill/>
              <a:ln w="734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 sz="2400"/>
              </a:p>
            </p:txBody>
          </p:sp>
          <p:sp>
            <p:nvSpPr>
              <p:cNvPr id="123" name="Forma libre 122">
                <a:extLst>
                  <a:ext uri="{FF2B5EF4-FFF2-40B4-BE49-F238E27FC236}">
                    <a16:creationId xmlns:a16="http://schemas.microsoft.com/office/drawing/2014/main" id="{414A4D68-A376-2446-B6B3-9D4C88B7BF60}"/>
                  </a:ext>
                </a:extLst>
              </p:cNvPr>
              <p:cNvSpPr/>
              <p:nvPr/>
            </p:nvSpPr>
            <p:spPr>
              <a:xfrm>
                <a:off x="3301742" y="180515"/>
                <a:ext cx="178988" cy="176143"/>
              </a:xfrm>
              <a:custGeom>
                <a:avLst/>
                <a:gdLst>
                  <a:gd name="connsiteX0" fmla="*/ 55025 w 591165"/>
                  <a:gd name="connsiteY0" fmla="*/ 431261 h 581768"/>
                  <a:gd name="connsiteX1" fmla="*/ 170240 w 591165"/>
                  <a:gd name="connsiteY1" fmla="*/ 427156 h 581768"/>
                  <a:gd name="connsiteX2" fmla="*/ 215504 w 591165"/>
                  <a:gd name="connsiteY2" fmla="*/ 451840 h 581768"/>
                  <a:gd name="connsiteX3" fmla="*/ 273110 w 591165"/>
                  <a:gd name="connsiteY3" fmla="*/ 554711 h 581768"/>
                  <a:gd name="connsiteX4" fmla="*/ 363635 w 591165"/>
                  <a:gd name="connsiteY4" fmla="*/ 546473 h 581768"/>
                  <a:gd name="connsiteX5" fmla="*/ 396557 w 591165"/>
                  <a:gd name="connsiteY5" fmla="*/ 435366 h 581768"/>
                  <a:gd name="connsiteX6" fmla="*/ 433584 w 591165"/>
                  <a:gd name="connsiteY6" fmla="*/ 398339 h 581768"/>
                  <a:gd name="connsiteX7" fmla="*/ 548799 w 591165"/>
                  <a:gd name="connsiteY7" fmla="*/ 377759 h 581768"/>
                  <a:gd name="connsiteX8" fmla="*/ 569379 w 591165"/>
                  <a:gd name="connsiteY8" fmla="*/ 287234 h 581768"/>
                  <a:gd name="connsiteX9" fmla="*/ 474745 w 591165"/>
                  <a:gd name="connsiteY9" fmla="*/ 221390 h 581768"/>
                  <a:gd name="connsiteX10" fmla="*/ 454166 w 591165"/>
                  <a:gd name="connsiteY10" fmla="*/ 172022 h 581768"/>
                  <a:gd name="connsiteX11" fmla="*/ 470612 w 591165"/>
                  <a:gd name="connsiteY11" fmla="*/ 56807 h 581768"/>
                  <a:gd name="connsiteX12" fmla="*/ 388324 w 591165"/>
                  <a:gd name="connsiteY12" fmla="*/ 11543 h 581768"/>
                  <a:gd name="connsiteX13" fmla="*/ 293691 w 591165"/>
                  <a:gd name="connsiteY13" fmla="*/ 81491 h 581768"/>
                  <a:gd name="connsiteX14" fmla="*/ 240189 w 591165"/>
                  <a:gd name="connsiteY14" fmla="*/ 85595 h 581768"/>
                  <a:gd name="connsiteX15" fmla="*/ 133212 w 591165"/>
                  <a:gd name="connsiteY15" fmla="*/ 36226 h 581768"/>
                  <a:gd name="connsiteX16" fmla="*/ 63264 w 591165"/>
                  <a:gd name="connsiteY16" fmla="*/ 97937 h 581768"/>
                  <a:gd name="connsiteX17" fmla="*/ 100290 w 591165"/>
                  <a:gd name="connsiteY17" fmla="*/ 209044 h 581768"/>
                  <a:gd name="connsiteX18" fmla="*/ 87948 w 591165"/>
                  <a:gd name="connsiteY18" fmla="*/ 258412 h 581768"/>
                  <a:gd name="connsiteX19" fmla="*/ 9760 w 591165"/>
                  <a:gd name="connsiteY19" fmla="*/ 344838 h 581768"/>
                  <a:gd name="connsiteX20" fmla="*/ 55024 w 591165"/>
                  <a:gd name="connsiteY20" fmla="*/ 431263 h 5817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591165" h="581768">
                    <a:moveTo>
                      <a:pt x="55025" y="431261"/>
                    </a:moveTo>
                    <a:lnTo>
                      <a:pt x="170240" y="427156"/>
                    </a:lnTo>
                    <a:cubicBezTo>
                      <a:pt x="190820" y="427156"/>
                      <a:pt x="207266" y="435394"/>
                      <a:pt x="215504" y="451840"/>
                    </a:cubicBezTo>
                    <a:lnTo>
                      <a:pt x="273110" y="554711"/>
                    </a:lnTo>
                    <a:cubicBezTo>
                      <a:pt x="293690" y="595870"/>
                      <a:pt x="351298" y="587633"/>
                      <a:pt x="363635" y="546473"/>
                    </a:cubicBezTo>
                    <a:lnTo>
                      <a:pt x="396557" y="435366"/>
                    </a:lnTo>
                    <a:cubicBezTo>
                      <a:pt x="400662" y="418919"/>
                      <a:pt x="417137" y="402444"/>
                      <a:pt x="433584" y="398339"/>
                    </a:cubicBezTo>
                    <a:lnTo>
                      <a:pt x="548799" y="377759"/>
                    </a:lnTo>
                    <a:cubicBezTo>
                      <a:pt x="594063" y="369522"/>
                      <a:pt x="606404" y="311916"/>
                      <a:pt x="569379" y="287234"/>
                    </a:cubicBezTo>
                    <a:lnTo>
                      <a:pt x="474745" y="221390"/>
                    </a:lnTo>
                    <a:cubicBezTo>
                      <a:pt x="458299" y="209048"/>
                      <a:pt x="450061" y="192573"/>
                      <a:pt x="454166" y="172022"/>
                    </a:cubicBezTo>
                    <a:lnTo>
                      <a:pt x="470612" y="56807"/>
                    </a:lnTo>
                    <a:cubicBezTo>
                      <a:pt x="474717" y="11543"/>
                      <a:pt x="425348" y="-17245"/>
                      <a:pt x="388324" y="11543"/>
                    </a:cubicBezTo>
                    <a:lnTo>
                      <a:pt x="293691" y="81491"/>
                    </a:lnTo>
                    <a:cubicBezTo>
                      <a:pt x="277244" y="93833"/>
                      <a:pt x="256664" y="93833"/>
                      <a:pt x="240189" y="85595"/>
                    </a:cubicBezTo>
                    <a:lnTo>
                      <a:pt x="133212" y="36226"/>
                    </a:lnTo>
                    <a:cubicBezTo>
                      <a:pt x="92052" y="15647"/>
                      <a:pt x="50923" y="56806"/>
                      <a:pt x="63264" y="97937"/>
                    </a:cubicBezTo>
                    <a:lnTo>
                      <a:pt x="100290" y="209044"/>
                    </a:lnTo>
                    <a:cubicBezTo>
                      <a:pt x="108528" y="225490"/>
                      <a:pt x="100290" y="246070"/>
                      <a:pt x="87948" y="258412"/>
                    </a:cubicBezTo>
                    <a:lnTo>
                      <a:pt x="9760" y="344838"/>
                    </a:lnTo>
                    <a:cubicBezTo>
                      <a:pt x="-14925" y="381865"/>
                      <a:pt x="9788" y="435364"/>
                      <a:pt x="55024" y="431263"/>
                    </a:cubicBezTo>
                    <a:close/>
                  </a:path>
                </a:pathLst>
              </a:custGeom>
              <a:grpFill/>
              <a:ln w="734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 sz="2400"/>
              </a:p>
            </p:txBody>
          </p:sp>
        </p:grpSp>
      </p:grpSp>
      <p:pic>
        <p:nvPicPr>
          <p:cNvPr id="174" name="Imagen 173">
            <a:extLst>
              <a:ext uri="{FF2B5EF4-FFF2-40B4-BE49-F238E27FC236}">
                <a16:creationId xmlns:a16="http://schemas.microsoft.com/office/drawing/2014/main" id="{F8DE000B-72A9-4B6E-A38A-0F8DEED88E2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5595933"/>
            <a:ext cx="2079437" cy="1262068"/>
          </a:xfrm>
          <a:prstGeom prst="rect">
            <a:avLst/>
          </a:prstGeom>
        </p:spPr>
      </p:pic>
      <p:sp>
        <p:nvSpPr>
          <p:cNvPr id="2" name="Rectángulo 1">
            <a:extLst>
              <a:ext uri="{FF2B5EF4-FFF2-40B4-BE49-F238E27FC236}">
                <a16:creationId xmlns:a16="http://schemas.microsoft.com/office/drawing/2014/main" id="{0CDCB0F8-9C4D-830C-527A-02B13DF2A752}"/>
              </a:ext>
            </a:extLst>
          </p:cNvPr>
          <p:cNvSpPr/>
          <p:nvPr userDrawn="1"/>
        </p:nvSpPr>
        <p:spPr>
          <a:xfrm>
            <a:off x="10875704" y="0"/>
            <a:ext cx="1316296" cy="32374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</p:spTree>
    <p:extLst>
      <p:ext uri="{BB962C8B-B14F-4D97-AF65-F5344CB8AC3E}">
        <p14:creationId xmlns:p14="http://schemas.microsoft.com/office/powerpoint/2010/main" val="18529546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880">
          <p15:clr>
            <a:srgbClr val="FBAE40"/>
          </p15:clr>
        </p15:guide>
        <p15:guide id="4" pos="4400">
          <p15:clr>
            <a:srgbClr val="FBAE40"/>
          </p15:clr>
        </p15:guide>
        <p15:guide id="5" orient="horz" pos="259">
          <p15:clr>
            <a:srgbClr val="FBAE40"/>
          </p15:clr>
        </p15:guide>
        <p15:guide id="6" orient="horz" pos="797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cover level 2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8" name="Imagen 77">
            <a:extLst>
              <a:ext uri="{FF2B5EF4-FFF2-40B4-BE49-F238E27FC236}">
                <a16:creationId xmlns:a16="http://schemas.microsoft.com/office/drawing/2014/main" id="{E24F0E66-EB6E-074C-9025-79FAE401DC6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-69941" y="-32246"/>
            <a:ext cx="12261941" cy="6900908"/>
          </a:xfrm>
          <a:prstGeom prst="rect">
            <a:avLst/>
          </a:prstGeom>
        </p:spPr>
      </p:pic>
      <p:sp>
        <p:nvSpPr>
          <p:cNvPr id="2" name="Rectángulo 1">
            <a:extLst>
              <a:ext uri="{FF2B5EF4-FFF2-40B4-BE49-F238E27FC236}">
                <a16:creationId xmlns:a16="http://schemas.microsoft.com/office/drawing/2014/main" id="{51C4F862-97AC-474F-9B69-8247F57F01CF}"/>
              </a:ext>
            </a:extLst>
          </p:cNvPr>
          <p:cNvSpPr/>
          <p:nvPr userDrawn="1"/>
        </p:nvSpPr>
        <p:spPr>
          <a:xfrm rot="5400000">
            <a:off x="2628885" y="-2715186"/>
            <a:ext cx="6905756" cy="12261940"/>
          </a:xfrm>
          <a:prstGeom prst="rect">
            <a:avLst/>
          </a:prstGeom>
          <a:gradFill>
            <a:gsLst>
              <a:gs pos="0">
                <a:schemeClr val="accent1">
                  <a:alpha val="0"/>
                  <a:lumMod val="0"/>
                </a:schemeClr>
              </a:gs>
              <a:gs pos="100000">
                <a:schemeClr val="accent1">
                  <a:alpha val="38000"/>
                </a:scheme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_tradnl" sz="2400"/>
          </a:p>
        </p:txBody>
      </p:sp>
      <p:grpSp>
        <p:nvGrpSpPr>
          <p:cNvPr id="11" name="Grupo 10">
            <a:extLst>
              <a:ext uri="{FF2B5EF4-FFF2-40B4-BE49-F238E27FC236}">
                <a16:creationId xmlns:a16="http://schemas.microsoft.com/office/drawing/2014/main" id="{F735655E-9D8B-3244-B034-7D0116C11B15}"/>
              </a:ext>
            </a:extLst>
          </p:cNvPr>
          <p:cNvGrpSpPr/>
          <p:nvPr userDrawn="1"/>
        </p:nvGrpSpPr>
        <p:grpSpPr>
          <a:xfrm>
            <a:off x="9867193" y="710351"/>
            <a:ext cx="1690555" cy="523717"/>
            <a:chOff x="7785861" y="4639396"/>
            <a:chExt cx="1111660" cy="344382"/>
          </a:xfrm>
        </p:grpSpPr>
        <p:sp>
          <p:nvSpPr>
            <p:cNvPr id="13" name="Forma libre 12">
              <a:extLst>
                <a:ext uri="{FF2B5EF4-FFF2-40B4-BE49-F238E27FC236}">
                  <a16:creationId xmlns:a16="http://schemas.microsoft.com/office/drawing/2014/main" id="{EB0B0CED-F417-C040-9F16-B2DB69620FD6}"/>
                </a:ext>
              </a:extLst>
            </p:cNvPr>
            <p:cNvSpPr/>
            <p:nvPr userDrawn="1"/>
          </p:nvSpPr>
          <p:spPr>
            <a:xfrm>
              <a:off x="7785861" y="4639396"/>
              <a:ext cx="256158" cy="344382"/>
            </a:xfrm>
            <a:custGeom>
              <a:avLst/>
              <a:gdLst>
                <a:gd name="connsiteX0" fmla="*/ 107295 w 139455"/>
                <a:gd name="connsiteY0" fmla="*/ 11790 h 187485"/>
                <a:gd name="connsiteX1" fmla="*/ 107295 w 139455"/>
                <a:gd name="connsiteY1" fmla="*/ 0 h 187485"/>
                <a:gd name="connsiteX2" fmla="*/ 46294 w 139455"/>
                <a:gd name="connsiteY2" fmla="*/ 32046 h 187485"/>
                <a:gd name="connsiteX3" fmla="*/ 39296 w 139455"/>
                <a:gd name="connsiteY3" fmla="*/ 43610 h 187485"/>
                <a:gd name="connsiteX4" fmla="*/ 39296 w 139455"/>
                <a:gd name="connsiteY4" fmla="*/ 55400 h 187485"/>
                <a:gd name="connsiteX5" fmla="*/ 100310 w 139455"/>
                <a:gd name="connsiteY5" fmla="*/ 23353 h 187485"/>
                <a:gd name="connsiteX6" fmla="*/ 107295 w 139455"/>
                <a:gd name="connsiteY6" fmla="*/ 11790 h 187485"/>
                <a:gd name="connsiteX7" fmla="*/ 107466 w 139455"/>
                <a:gd name="connsiteY7" fmla="*/ 39279 h 187485"/>
                <a:gd name="connsiteX8" fmla="*/ 46459 w 139455"/>
                <a:gd name="connsiteY8" fmla="*/ 71325 h 187485"/>
                <a:gd name="connsiteX9" fmla="*/ 39466 w 139455"/>
                <a:gd name="connsiteY9" fmla="*/ 82889 h 187485"/>
                <a:gd name="connsiteX10" fmla="*/ 39466 w 139455"/>
                <a:gd name="connsiteY10" fmla="*/ 94678 h 187485"/>
                <a:gd name="connsiteX11" fmla="*/ 100475 w 139455"/>
                <a:gd name="connsiteY11" fmla="*/ 62638 h 187485"/>
                <a:gd name="connsiteX12" fmla="*/ 107466 w 139455"/>
                <a:gd name="connsiteY12" fmla="*/ 51069 h 187485"/>
                <a:gd name="connsiteX13" fmla="*/ 107466 w 139455"/>
                <a:gd name="connsiteY13" fmla="*/ 39279 h 187485"/>
                <a:gd name="connsiteX14" fmla="*/ 39466 w 139455"/>
                <a:gd name="connsiteY14" fmla="*/ 122167 h 187485"/>
                <a:gd name="connsiteX15" fmla="*/ 39466 w 139455"/>
                <a:gd name="connsiteY15" fmla="*/ 133951 h 187485"/>
                <a:gd name="connsiteX16" fmla="*/ 100475 w 139455"/>
                <a:gd name="connsiteY16" fmla="*/ 101905 h 187485"/>
                <a:gd name="connsiteX17" fmla="*/ 107466 w 139455"/>
                <a:gd name="connsiteY17" fmla="*/ 90347 h 187485"/>
                <a:gd name="connsiteX18" fmla="*/ 107466 w 139455"/>
                <a:gd name="connsiteY18" fmla="*/ 78558 h 187485"/>
                <a:gd name="connsiteX19" fmla="*/ 46459 w 139455"/>
                <a:gd name="connsiteY19" fmla="*/ 110598 h 187485"/>
                <a:gd name="connsiteX20" fmla="*/ 39466 w 139455"/>
                <a:gd name="connsiteY20" fmla="*/ 122167 h 187485"/>
                <a:gd name="connsiteX21" fmla="*/ 135911 w 139455"/>
                <a:gd name="connsiteY21" fmla="*/ 95809 h 187485"/>
                <a:gd name="connsiteX22" fmla="*/ 133008 w 139455"/>
                <a:gd name="connsiteY22" fmla="*/ 94672 h 187485"/>
                <a:gd name="connsiteX23" fmla="*/ 121920 w 139455"/>
                <a:gd name="connsiteY23" fmla="*/ 100488 h 187485"/>
                <a:gd name="connsiteX24" fmla="*/ 120729 w 139455"/>
                <a:gd name="connsiteY24" fmla="*/ 103347 h 187485"/>
                <a:gd name="connsiteX25" fmla="*/ 122428 w 139455"/>
                <a:gd name="connsiteY25" fmla="*/ 123475 h 187485"/>
                <a:gd name="connsiteX26" fmla="*/ 73087 w 139455"/>
                <a:gd name="connsiteY26" fmla="*/ 170658 h 187485"/>
                <a:gd name="connsiteX27" fmla="*/ 16725 w 139455"/>
                <a:gd name="connsiteY27" fmla="*/ 117788 h 187485"/>
                <a:gd name="connsiteX28" fmla="*/ 24499 w 139455"/>
                <a:gd name="connsiteY28" fmla="*/ 90170 h 187485"/>
                <a:gd name="connsiteX29" fmla="*/ 24602 w 139455"/>
                <a:gd name="connsiteY29" fmla="*/ 87171 h 187485"/>
                <a:gd name="connsiteX30" fmla="*/ 18094 w 139455"/>
                <a:gd name="connsiteY30" fmla="*/ 75345 h 187485"/>
                <a:gd name="connsiteX31" fmla="*/ 14640 w 139455"/>
                <a:gd name="connsiteY31" fmla="*/ 75088 h 187485"/>
                <a:gd name="connsiteX32" fmla="*/ 94 w 139455"/>
                <a:gd name="connsiteY32" fmla="*/ 121483 h 187485"/>
                <a:gd name="connsiteX33" fmla="*/ 66994 w 139455"/>
                <a:gd name="connsiteY33" fmla="*/ 187433 h 187485"/>
                <a:gd name="connsiteX34" fmla="*/ 139455 w 139455"/>
                <a:gd name="connsiteY34" fmla="*/ 117794 h 187485"/>
                <a:gd name="connsiteX35" fmla="*/ 135911 w 139455"/>
                <a:gd name="connsiteY35" fmla="*/ 95809 h 1874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</a:cxnLst>
              <a:rect l="l" t="t" r="r" b="b"/>
              <a:pathLst>
                <a:path w="139455" h="187485">
                  <a:moveTo>
                    <a:pt x="107295" y="11790"/>
                  </a:moveTo>
                  <a:lnTo>
                    <a:pt x="107295" y="0"/>
                  </a:lnTo>
                  <a:lnTo>
                    <a:pt x="46294" y="32046"/>
                  </a:lnTo>
                  <a:cubicBezTo>
                    <a:pt x="41997" y="34300"/>
                    <a:pt x="39296" y="38760"/>
                    <a:pt x="39296" y="43610"/>
                  </a:cubicBezTo>
                  <a:lnTo>
                    <a:pt x="39296" y="55400"/>
                  </a:lnTo>
                  <a:lnTo>
                    <a:pt x="100310" y="23353"/>
                  </a:lnTo>
                  <a:cubicBezTo>
                    <a:pt x="104612" y="21093"/>
                    <a:pt x="107295" y="16640"/>
                    <a:pt x="107295" y="11790"/>
                  </a:cubicBezTo>
                  <a:moveTo>
                    <a:pt x="107466" y="39279"/>
                  </a:moveTo>
                  <a:lnTo>
                    <a:pt x="46459" y="71325"/>
                  </a:lnTo>
                  <a:cubicBezTo>
                    <a:pt x="42168" y="73585"/>
                    <a:pt x="39466" y="78038"/>
                    <a:pt x="39466" y="82889"/>
                  </a:cubicBezTo>
                  <a:lnTo>
                    <a:pt x="39466" y="94678"/>
                  </a:lnTo>
                  <a:lnTo>
                    <a:pt x="100475" y="62638"/>
                  </a:lnTo>
                  <a:cubicBezTo>
                    <a:pt x="104771" y="60378"/>
                    <a:pt x="107466" y="55919"/>
                    <a:pt x="107466" y="51069"/>
                  </a:cubicBezTo>
                  <a:lnTo>
                    <a:pt x="107466" y="39279"/>
                  </a:lnTo>
                  <a:close/>
                  <a:moveTo>
                    <a:pt x="39466" y="122167"/>
                  </a:moveTo>
                  <a:lnTo>
                    <a:pt x="39466" y="133951"/>
                  </a:lnTo>
                  <a:lnTo>
                    <a:pt x="100475" y="101905"/>
                  </a:lnTo>
                  <a:cubicBezTo>
                    <a:pt x="104771" y="99651"/>
                    <a:pt x="107466" y="95198"/>
                    <a:pt x="107466" y="90347"/>
                  </a:cubicBezTo>
                  <a:lnTo>
                    <a:pt x="107466" y="78558"/>
                  </a:lnTo>
                  <a:lnTo>
                    <a:pt x="46459" y="110598"/>
                  </a:lnTo>
                  <a:cubicBezTo>
                    <a:pt x="42162" y="112864"/>
                    <a:pt x="39466" y="117317"/>
                    <a:pt x="39466" y="122167"/>
                  </a:cubicBezTo>
                  <a:moveTo>
                    <a:pt x="135911" y="95809"/>
                  </a:moveTo>
                  <a:cubicBezTo>
                    <a:pt x="135520" y="94617"/>
                    <a:pt x="134126" y="94086"/>
                    <a:pt x="133008" y="94672"/>
                  </a:cubicBezTo>
                  <a:lnTo>
                    <a:pt x="121920" y="100488"/>
                  </a:lnTo>
                  <a:cubicBezTo>
                    <a:pt x="120888" y="101038"/>
                    <a:pt x="120411" y="102223"/>
                    <a:pt x="120729" y="103347"/>
                  </a:cubicBezTo>
                  <a:cubicBezTo>
                    <a:pt x="122514" y="109651"/>
                    <a:pt x="123174" y="116438"/>
                    <a:pt x="122428" y="123475"/>
                  </a:cubicBezTo>
                  <a:cubicBezTo>
                    <a:pt x="119739" y="148942"/>
                    <a:pt x="98653" y="169082"/>
                    <a:pt x="73087" y="170658"/>
                  </a:cubicBezTo>
                  <a:cubicBezTo>
                    <a:pt x="42290" y="172564"/>
                    <a:pt x="16725" y="148154"/>
                    <a:pt x="16725" y="117788"/>
                  </a:cubicBezTo>
                  <a:cubicBezTo>
                    <a:pt x="16725" y="107665"/>
                    <a:pt x="19572" y="98203"/>
                    <a:pt x="24499" y="90170"/>
                  </a:cubicBezTo>
                  <a:cubicBezTo>
                    <a:pt x="25061" y="89248"/>
                    <a:pt x="25116" y="88112"/>
                    <a:pt x="24602" y="87171"/>
                  </a:cubicBezTo>
                  <a:lnTo>
                    <a:pt x="18094" y="75345"/>
                  </a:lnTo>
                  <a:cubicBezTo>
                    <a:pt x="17372" y="74037"/>
                    <a:pt x="15557" y="73915"/>
                    <a:pt x="14640" y="75088"/>
                  </a:cubicBezTo>
                  <a:cubicBezTo>
                    <a:pt x="4782" y="87782"/>
                    <a:pt x="-804" y="103964"/>
                    <a:pt x="94" y="121483"/>
                  </a:cubicBezTo>
                  <a:cubicBezTo>
                    <a:pt x="1953" y="157213"/>
                    <a:pt x="31228" y="186064"/>
                    <a:pt x="66994" y="187433"/>
                  </a:cubicBezTo>
                  <a:cubicBezTo>
                    <a:pt x="106751" y="188953"/>
                    <a:pt x="139455" y="157189"/>
                    <a:pt x="139455" y="117794"/>
                  </a:cubicBezTo>
                  <a:cubicBezTo>
                    <a:pt x="139455" y="110103"/>
                    <a:pt x="138209" y="102711"/>
                    <a:pt x="135911" y="95809"/>
                  </a:cubicBezTo>
                </a:path>
              </a:pathLst>
            </a:custGeom>
            <a:solidFill>
              <a:schemeClr val="accent2"/>
            </a:solidFill>
            <a:ln w="61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 sz="2400"/>
            </a:p>
          </p:txBody>
        </p:sp>
        <p:sp>
          <p:nvSpPr>
            <p:cNvPr id="14" name="Forma libre 13">
              <a:extLst>
                <a:ext uri="{FF2B5EF4-FFF2-40B4-BE49-F238E27FC236}">
                  <a16:creationId xmlns:a16="http://schemas.microsoft.com/office/drawing/2014/main" id="{51C9919C-10A2-8846-8B17-3E28C9380735}"/>
                </a:ext>
              </a:extLst>
            </p:cNvPr>
            <p:cNvSpPr/>
            <p:nvPr userDrawn="1"/>
          </p:nvSpPr>
          <p:spPr>
            <a:xfrm>
              <a:off x="8098546" y="4754028"/>
              <a:ext cx="798975" cy="174628"/>
            </a:xfrm>
            <a:custGeom>
              <a:avLst/>
              <a:gdLst>
                <a:gd name="connsiteX0" fmla="*/ 418218 w 434970"/>
                <a:gd name="connsiteY0" fmla="*/ 7990 h 95069"/>
                <a:gd name="connsiteX1" fmla="*/ 418218 w 434970"/>
                <a:gd name="connsiteY1" fmla="*/ 93781 h 95069"/>
                <a:gd name="connsiteX2" fmla="*/ 434970 w 434970"/>
                <a:gd name="connsiteY2" fmla="*/ 93781 h 95069"/>
                <a:gd name="connsiteX3" fmla="*/ 434970 w 434970"/>
                <a:gd name="connsiteY3" fmla="*/ 3617 h 95069"/>
                <a:gd name="connsiteX4" fmla="*/ 418218 w 434970"/>
                <a:gd name="connsiteY4" fmla="*/ 7990 h 95069"/>
                <a:gd name="connsiteX5" fmla="*/ 279670 w 434970"/>
                <a:gd name="connsiteY5" fmla="*/ 37617 h 95069"/>
                <a:gd name="connsiteX6" fmla="*/ 279670 w 434970"/>
                <a:gd name="connsiteY6" fmla="*/ 31307 h 95069"/>
                <a:gd name="connsiteX7" fmla="*/ 263565 w 434970"/>
                <a:gd name="connsiteY7" fmla="*/ 31307 h 95069"/>
                <a:gd name="connsiteX8" fmla="*/ 263565 w 434970"/>
                <a:gd name="connsiteY8" fmla="*/ 93787 h 95069"/>
                <a:gd name="connsiteX9" fmla="*/ 280306 w 434970"/>
                <a:gd name="connsiteY9" fmla="*/ 93787 h 95069"/>
                <a:gd name="connsiteX10" fmla="*/ 280306 w 434970"/>
                <a:gd name="connsiteY10" fmla="*/ 54490 h 95069"/>
                <a:gd name="connsiteX11" fmla="*/ 295518 w 434970"/>
                <a:gd name="connsiteY11" fmla="*/ 45473 h 95069"/>
                <a:gd name="connsiteX12" fmla="*/ 301575 w 434970"/>
                <a:gd name="connsiteY12" fmla="*/ 46121 h 95069"/>
                <a:gd name="connsiteX13" fmla="*/ 303512 w 434970"/>
                <a:gd name="connsiteY13" fmla="*/ 30525 h 95069"/>
                <a:gd name="connsiteX14" fmla="*/ 297834 w 434970"/>
                <a:gd name="connsiteY14" fmla="*/ 30012 h 95069"/>
                <a:gd name="connsiteX15" fmla="*/ 279670 w 434970"/>
                <a:gd name="connsiteY15" fmla="*/ 37617 h 95069"/>
                <a:gd name="connsiteX16" fmla="*/ 353776 w 434970"/>
                <a:gd name="connsiteY16" fmla="*/ 71881 h 95069"/>
                <a:gd name="connsiteX17" fmla="*/ 338698 w 434970"/>
                <a:gd name="connsiteY17" fmla="*/ 79608 h 95069"/>
                <a:gd name="connsiteX18" fmla="*/ 322196 w 434970"/>
                <a:gd name="connsiteY18" fmla="*/ 62608 h 95069"/>
                <a:gd name="connsiteX19" fmla="*/ 338313 w 434970"/>
                <a:gd name="connsiteY19" fmla="*/ 45473 h 95069"/>
                <a:gd name="connsiteX20" fmla="*/ 353776 w 434970"/>
                <a:gd name="connsiteY20" fmla="*/ 53201 h 95069"/>
                <a:gd name="connsiteX21" fmla="*/ 353776 w 434970"/>
                <a:gd name="connsiteY21" fmla="*/ 71881 h 95069"/>
                <a:gd name="connsiteX22" fmla="*/ 354423 w 434970"/>
                <a:gd name="connsiteY22" fmla="*/ 36328 h 95069"/>
                <a:gd name="connsiteX23" fmla="*/ 336124 w 434970"/>
                <a:gd name="connsiteY23" fmla="*/ 30018 h 95069"/>
                <a:gd name="connsiteX24" fmla="*/ 305443 w 434970"/>
                <a:gd name="connsiteY24" fmla="*/ 62608 h 95069"/>
                <a:gd name="connsiteX25" fmla="*/ 313444 w 434970"/>
                <a:gd name="connsiteY25" fmla="*/ 84508 h 95069"/>
                <a:gd name="connsiteX26" fmla="*/ 337023 w 434970"/>
                <a:gd name="connsiteY26" fmla="*/ 95070 h 95069"/>
                <a:gd name="connsiteX27" fmla="*/ 354423 w 434970"/>
                <a:gd name="connsiteY27" fmla="*/ 88759 h 95069"/>
                <a:gd name="connsiteX28" fmla="*/ 354423 w 434970"/>
                <a:gd name="connsiteY28" fmla="*/ 93781 h 95069"/>
                <a:gd name="connsiteX29" fmla="*/ 370534 w 434970"/>
                <a:gd name="connsiteY29" fmla="*/ 93781 h 95069"/>
                <a:gd name="connsiteX30" fmla="*/ 370534 w 434970"/>
                <a:gd name="connsiteY30" fmla="*/ 31301 h 95069"/>
                <a:gd name="connsiteX31" fmla="*/ 354423 w 434970"/>
                <a:gd name="connsiteY31" fmla="*/ 31301 h 95069"/>
                <a:gd name="connsiteX32" fmla="*/ 354423 w 434970"/>
                <a:gd name="connsiteY32" fmla="*/ 36328 h 95069"/>
                <a:gd name="connsiteX33" fmla="*/ 385997 w 434970"/>
                <a:gd name="connsiteY33" fmla="*/ 93781 h 95069"/>
                <a:gd name="connsiteX34" fmla="*/ 402749 w 434970"/>
                <a:gd name="connsiteY34" fmla="*/ 93781 h 95069"/>
                <a:gd name="connsiteX35" fmla="*/ 402749 w 434970"/>
                <a:gd name="connsiteY35" fmla="*/ 3617 h 95069"/>
                <a:gd name="connsiteX36" fmla="*/ 385997 w 434970"/>
                <a:gd name="connsiteY36" fmla="*/ 7996 h 95069"/>
                <a:gd name="connsiteX37" fmla="*/ 385997 w 434970"/>
                <a:gd name="connsiteY37" fmla="*/ 93781 h 95069"/>
                <a:gd name="connsiteX38" fmla="*/ 239717 w 434970"/>
                <a:gd name="connsiteY38" fmla="*/ 0 h 95069"/>
                <a:gd name="connsiteX39" fmla="*/ 228765 w 434970"/>
                <a:gd name="connsiteY39" fmla="*/ 10690 h 95069"/>
                <a:gd name="connsiteX40" fmla="*/ 239717 w 434970"/>
                <a:gd name="connsiteY40" fmla="*/ 21387 h 95069"/>
                <a:gd name="connsiteX41" fmla="*/ 250676 w 434970"/>
                <a:gd name="connsiteY41" fmla="*/ 10690 h 95069"/>
                <a:gd name="connsiteX42" fmla="*/ 239717 w 434970"/>
                <a:gd name="connsiteY42" fmla="*/ 0 h 95069"/>
                <a:gd name="connsiteX43" fmla="*/ 48332 w 434970"/>
                <a:gd name="connsiteY43" fmla="*/ 71881 h 95069"/>
                <a:gd name="connsiteX44" fmla="*/ 33248 w 434970"/>
                <a:gd name="connsiteY44" fmla="*/ 79608 h 95069"/>
                <a:gd name="connsiteX45" fmla="*/ 16752 w 434970"/>
                <a:gd name="connsiteY45" fmla="*/ 62608 h 95069"/>
                <a:gd name="connsiteX46" fmla="*/ 32870 w 434970"/>
                <a:gd name="connsiteY46" fmla="*/ 45473 h 95069"/>
                <a:gd name="connsiteX47" fmla="*/ 48332 w 434970"/>
                <a:gd name="connsiteY47" fmla="*/ 53201 h 95069"/>
                <a:gd name="connsiteX48" fmla="*/ 48332 w 434970"/>
                <a:gd name="connsiteY48" fmla="*/ 71881 h 95069"/>
                <a:gd name="connsiteX49" fmla="*/ 48973 w 434970"/>
                <a:gd name="connsiteY49" fmla="*/ 36328 h 95069"/>
                <a:gd name="connsiteX50" fmla="*/ 30675 w 434970"/>
                <a:gd name="connsiteY50" fmla="*/ 30018 h 95069"/>
                <a:gd name="connsiteX51" fmla="*/ 0 w 434970"/>
                <a:gd name="connsiteY51" fmla="*/ 62608 h 95069"/>
                <a:gd name="connsiteX52" fmla="*/ 7988 w 434970"/>
                <a:gd name="connsiteY52" fmla="*/ 84508 h 95069"/>
                <a:gd name="connsiteX53" fmla="*/ 31574 w 434970"/>
                <a:gd name="connsiteY53" fmla="*/ 95070 h 95069"/>
                <a:gd name="connsiteX54" fmla="*/ 48973 w 434970"/>
                <a:gd name="connsiteY54" fmla="*/ 88759 h 95069"/>
                <a:gd name="connsiteX55" fmla="*/ 48973 w 434970"/>
                <a:gd name="connsiteY55" fmla="*/ 93781 h 95069"/>
                <a:gd name="connsiteX56" fmla="*/ 65085 w 434970"/>
                <a:gd name="connsiteY56" fmla="*/ 93781 h 95069"/>
                <a:gd name="connsiteX57" fmla="*/ 65085 w 434970"/>
                <a:gd name="connsiteY57" fmla="*/ 31301 h 95069"/>
                <a:gd name="connsiteX58" fmla="*/ 48973 w 434970"/>
                <a:gd name="connsiteY58" fmla="*/ 31301 h 95069"/>
                <a:gd name="connsiteX59" fmla="*/ 48973 w 434970"/>
                <a:gd name="connsiteY59" fmla="*/ 36328 h 95069"/>
                <a:gd name="connsiteX60" fmla="*/ 80547 w 434970"/>
                <a:gd name="connsiteY60" fmla="*/ 93781 h 95069"/>
                <a:gd name="connsiteX61" fmla="*/ 97306 w 434970"/>
                <a:gd name="connsiteY61" fmla="*/ 93781 h 95069"/>
                <a:gd name="connsiteX62" fmla="*/ 97306 w 434970"/>
                <a:gd name="connsiteY62" fmla="*/ 3617 h 95069"/>
                <a:gd name="connsiteX63" fmla="*/ 80547 w 434970"/>
                <a:gd name="connsiteY63" fmla="*/ 7996 h 95069"/>
                <a:gd name="connsiteX64" fmla="*/ 80547 w 434970"/>
                <a:gd name="connsiteY64" fmla="*/ 93781 h 95069"/>
                <a:gd name="connsiteX65" fmla="*/ 188934 w 434970"/>
                <a:gd name="connsiteY65" fmla="*/ 30012 h 95069"/>
                <a:gd name="connsiteX66" fmla="*/ 166767 w 434970"/>
                <a:gd name="connsiteY66" fmla="*/ 39810 h 95069"/>
                <a:gd name="connsiteX67" fmla="*/ 145760 w 434970"/>
                <a:gd name="connsiteY67" fmla="*/ 30012 h 95069"/>
                <a:gd name="connsiteX68" fmla="*/ 128874 w 434970"/>
                <a:gd name="connsiteY68" fmla="*/ 36328 h 95069"/>
                <a:gd name="connsiteX69" fmla="*/ 128874 w 434970"/>
                <a:gd name="connsiteY69" fmla="*/ 31307 h 95069"/>
                <a:gd name="connsiteX70" fmla="*/ 112756 w 434970"/>
                <a:gd name="connsiteY70" fmla="*/ 31307 h 95069"/>
                <a:gd name="connsiteX71" fmla="*/ 112756 w 434970"/>
                <a:gd name="connsiteY71" fmla="*/ 93787 h 95069"/>
                <a:gd name="connsiteX72" fmla="*/ 129515 w 434970"/>
                <a:gd name="connsiteY72" fmla="*/ 93787 h 95069"/>
                <a:gd name="connsiteX73" fmla="*/ 129515 w 434970"/>
                <a:gd name="connsiteY73" fmla="*/ 53201 h 95069"/>
                <a:gd name="connsiteX74" fmla="*/ 144079 w 434970"/>
                <a:gd name="connsiteY74" fmla="*/ 45473 h 95069"/>
                <a:gd name="connsiteX75" fmla="*/ 153486 w 434970"/>
                <a:gd name="connsiteY75" fmla="*/ 49340 h 95069"/>
                <a:gd name="connsiteX76" fmla="*/ 156578 w 434970"/>
                <a:gd name="connsiteY76" fmla="*/ 60030 h 95069"/>
                <a:gd name="connsiteX77" fmla="*/ 156578 w 434970"/>
                <a:gd name="connsiteY77" fmla="*/ 93781 h 95069"/>
                <a:gd name="connsiteX78" fmla="*/ 173331 w 434970"/>
                <a:gd name="connsiteY78" fmla="*/ 93781 h 95069"/>
                <a:gd name="connsiteX79" fmla="*/ 173331 w 434970"/>
                <a:gd name="connsiteY79" fmla="*/ 60678 h 95069"/>
                <a:gd name="connsiteX80" fmla="*/ 172817 w 434970"/>
                <a:gd name="connsiteY80" fmla="*/ 53714 h 95069"/>
                <a:gd name="connsiteX81" fmla="*/ 187901 w 434970"/>
                <a:gd name="connsiteY81" fmla="*/ 45467 h 95069"/>
                <a:gd name="connsiteX82" fmla="*/ 197307 w 434970"/>
                <a:gd name="connsiteY82" fmla="*/ 49334 h 95069"/>
                <a:gd name="connsiteX83" fmla="*/ 200406 w 434970"/>
                <a:gd name="connsiteY83" fmla="*/ 60024 h 95069"/>
                <a:gd name="connsiteX84" fmla="*/ 200406 w 434970"/>
                <a:gd name="connsiteY84" fmla="*/ 93774 h 95069"/>
                <a:gd name="connsiteX85" fmla="*/ 217152 w 434970"/>
                <a:gd name="connsiteY85" fmla="*/ 93774 h 95069"/>
                <a:gd name="connsiteX86" fmla="*/ 217152 w 434970"/>
                <a:gd name="connsiteY86" fmla="*/ 60671 h 95069"/>
                <a:gd name="connsiteX87" fmla="*/ 210845 w 434970"/>
                <a:gd name="connsiteY87" fmla="*/ 40055 h 95069"/>
                <a:gd name="connsiteX88" fmla="*/ 188934 w 434970"/>
                <a:gd name="connsiteY88" fmla="*/ 30012 h 95069"/>
                <a:gd name="connsiteX89" fmla="*/ 231344 w 434970"/>
                <a:gd name="connsiteY89" fmla="*/ 93781 h 95069"/>
                <a:gd name="connsiteX90" fmla="*/ 248096 w 434970"/>
                <a:gd name="connsiteY90" fmla="*/ 93781 h 95069"/>
                <a:gd name="connsiteX91" fmla="*/ 248096 w 434970"/>
                <a:gd name="connsiteY91" fmla="*/ 31301 h 95069"/>
                <a:gd name="connsiteX92" fmla="*/ 231344 w 434970"/>
                <a:gd name="connsiteY92" fmla="*/ 31301 h 95069"/>
                <a:gd name="connsiteX93" fmla="*/ 231344 w 434970"/>
                <a:gd name="connsiteY93" fmla="*/ 93781 h 950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</a:cxnLst>
              <a:rect l="l" t="t" r="r" b="b"/>
              <a:pathLst>
                <a:path w="434970" h="95069">
                  <a:moveTo>
                    <a:pt x="418218" y="7990"/>
                  </a:moveTo>
                  <a:lnTo>
                    <a:pt x="418218" y="93781"/>
                  </a:lnTo>
                  <a:lnTo>
                    <a:pt x="434970" y="93781"/>
                  </a:lnTo>
                  <a:lnTo>
                    <a:pt x="434970" y="3617"/>
                  </a:lnTo>
                  <a:lnTo>
                    <a:pt x="418218" y="7990"/>
                  </a:lnTo>
                  <a:close/>
                  <a:moveTo>
                    <a:pt x="279670" y="37617"/>
                  </a:moveTo>
                  <a:lnTo>
                    <a:pt x="279670" y="31307"/>
                  </a:lnTo>
                  <a:lnTo>
                    <a:pt x="263565" y="31307"/>
                  </a:lnTo>
                  <a:lnTo>
                    <a:pt x="263565" y="93787"/>
                  </a:lnTo>
                  <a:lnTo>
                    <a:pt x="280306" y="93787"/>
                  </a:lnTo>
                  <a:lnTo>
                    <a:pt x="280306" y="54490"/>
                  </a:lnTo>
                  <a:cubicBezTo>
                    <a:pt x="282365" y="50763"/>
                    <a:pt x="288172" y="45473"/>
                    <a:pt x="295518" y="45473"/>
                  </a:cubicBezTo>
                  <a:cubicBezTo>
                    <a:pt x="297962" y="45473"/>
                    <a:pt x="300413" y="45736"/>
                    <a:pt x="301575" y="46121"/>
                  </a:cubicBezTo>
                  <a:lnTo>
                    <a:pt x="303512" y="30525"/>
                  </a:lnTo>
                  <a:cubicBezTo>
                    <a:pt x="301697" y="30269"/>
                    <a:pt x="300285" y="30012"/>
                    <a:pt x="297834" y="30012"/>
                  </a:cubicBezTo>
                  <a:cubicBezTo>
                    <a:pt x="290237" y="30018"/>
                    <a:pt x="283404" y="32981"/>
                    <a:pt x="279670" y="37617"/>
                  </a:cubicBezTo>
                  <a:moveTo>
                    <a:pt x="353776" y="71881"/>
                  </a:moveTo>
                  <a:cubicBezTo>
                    <a:pt x="350555" y="76517"/>
                    <a:pt x="345005" y="79608"/>
                    <a:pt x="338698" y="79608"/>
                  </a:cubicBezTo>
                  <a:cubicBezTo>
                    <a:pt x="329285" y="79608"/>
                    <a:pt x="322196" y="72394"/>
                    <a:pt x="322196" y="62608"/>
                  </a:cubicBezTo>
                  <a:cubicBezTo>
                    <a:pt x="322196" y="53591"/>
                    <a:pt x="328515" y="45473"/>
                    <a:pt x="338313" y="45473"/>
                  </a:cubicBezTo>
                  <a:cubicBezTo>
                    <a:pt x="344754" y="45473"/>
                    <a:pt x="350297" y="48564"/>
                    <a:pt x="353776" y="53201"/>
                  </a:cubicBezTo>
                  <a:lnTo>
                    <a:pt x="353776" y="71881"/>
                  </a:lnTo>
                  <a:close/>
                  <a:moveTo>
                    <a:pt x="354423" y="36328"/>
                  </a:moveTo>
                  <a:cubicBezTo>
                    <a:pt x="349522" y="32333"/>
                    <a:pt x="343208" y="30018"/>
                    <a:pt x="336124" y="30018"/>
                  </a:cubicBezTo>
                  <a:cubicBezTo>
                    <a:pt x="319110" y="30018"/>
                    <a:pt x="305443" y="44184"/>
                    <a:pt x="305443" y="62608"/>
                  </a:cubicBezTo>
                  <a:cubicBezTo>
                    <a:pt x="305443" y="71117"/>
                    <a:pt x="308536" y="78839"/>
                    <a:pt x="313444" y="84508"/>
                  </a:cubicBezTo>
                  <a:cubicBezTo>
                    <a:pt x="318974" y="90952"/>
                    <a:pt x="327751" y="95070"/>
                    <a:pt x="337023" y="95070"/>
                  </a:cubicBezTo>
                  <a:cubicBezTo>
                    <a:pt x="343337" y="95070"/>
                    <a:pt x="349265" y="93139"/>
                    <a:pt x="354423" y="88759"/>
                  </a:cubicBezTo>
                  <a:lnTo>
                    <a:pt x="354423" y="93781"/>
                  </a:lnTo>
                  <a:lnTo>
                    <a:pt x="370534" y="93781"/>
                  </a:lnTo>
                  <a:lnTo>
                    <a:pt x="370534" y="31301"/>
                  </a:lnTo>
                  <a:lnTo>
                    <a:pt x="354423" y="31301"/>
                  </a:lnTo>
                  <a:lnTo>
                    <a:pt x="354423" y="36328"/>
                  </a:lnTo>
                  <a:close/>
                  <a:moveTo>
                    <a:pt x="385997" y="93781"/>
                  </a:moveTo>
                  <a:lnTo>
                    <a:pt x="402749" y="93781"/>
                  </a:lnTo>
                  <a:lnTo>
                    <a:pt x="402749" y="3617"/>
                  </a:lnTo>
                  <a:lnTo>
                    <a:pt x="385997" y="7996"/>
                  </a:lnTo>
                  <a:lnTo>
                    <a:pt x="385997" y="93781"/>
                  </a:lnTo>
                  <a:close/>
                  <a:moveTo>
                    <a:pt x="239717" y="0"/>
                  </a:moveTo>
                  <a:cubicBezTo>
                    <a:pt x="233660" y="0"/>
                    <a:pt x="228765" y="4643"/>
                    <a:pt x="228765" y="10690"/>
                  </a:cubicBezTo>
                  <a:cubicBezTo>
                    <a:pt x="228765" y="16750"/>
                    <a:pt x="233660" y="21387"/>
                    <a:pt x="239717" y="21387"/>
                  </a:cubicBezTo>
                  <a:cubicBezTo>
                    <a:pt x="245774" y="21387"/>
                    <a:pt x="250676" y="16750"/>
                    <a:pt x="250676" y="10690"/>
                  </a:cubicBezTo>
                  <a:cubicBezTo>
                    <a:pt x="250676" y="4643"/>
                    <a:pt x="245774" y="0"/>
                    <a:pt x="239717" y="0"/>
                  </a:cubicBezTo>
                  <a:moveTo>
                    <a:pt x="48332" y="71881"/>
                  </a:moveTo>
                  <a:cubicBezTo>
                    <a:pt x="45117" y="76517"/>
                    <a:pt x="39568" y="79608"/>
                    <a:pt x="33248" y="79608"/>
                  </a:cubicBezTo>
                  <a:cubicBezTo>
                    <a:pt x="23842" y="79608"/>
                    <a:pt x="16752" y="72394"/>
                    <a:pt x="16752" y="62608"/>
                  </a:cubicBezTo>
                  <a:cubicBezTo>
                    <a:pt x="16752" y="53591"/>
                    <a:pt x="23072" y="45473"/>
                    <a:pt x="32870" y="45473"/>
                  </a:cubicBezTo>
                  <a:cubicBezTo>
                    <a:pt x="39317" y="45473"/>
                    <a:pt x="44860" y="48564"/>
                    <a:pt x="48332" y="53201"/>
                  </a:cubicBezTo>
                  <a:lnTo>
                    <a:pt x="48332" y="71881"/>
                  </a:lnTo>
                  <a:close/>
                  <a:moveTo>
                    <a:pt x="48973" y="36328"/>
                  </a:moveTo>
                  <a:cubicBezTo>
                    <a:pt x="44079" y="32333"/>
                    <a:pt x="37759" y="30018"/>
                    <a:pt x="30675" y="30018"/>
                  </a:cubicBezTo>
                  <a:cubicBezTo>
                    <a:pt x="13660" y="30018"/>
                    <a:pt x="0" y="44184"/>
                    <a:pt x="0" y="62608"/>
                  </a:cubicBezTo>
                  <a:cubicBezTo>
                    <a:pt x="0" y="71117"/>
                    <a:pt x="3092" y="78839"/>
                    <a:pt x="7988" y="84508"/>
                  </a:cubicBezTo>
                  <a:cubicBezTo>
                    <a:pt x="13531" y="90952"/>
                    <a:pt x="22296" y="95070"/>
                    <a:pt x="31574" y="95070"/>
                  </a:cubicBezTo>
                  <a:cubicBezTo>
                    <a:pt x="37887" y="95070"/>
                    <a:pt x="43822" y="93139"/>
                    <a:pt x="48973" y="88759"/>
                  </a:cubicBezTo>
                  <a:lnTo>
                    <a:pt x="48973" y="93781"/>
                  </a:lnTo>
                  <a:lnTo>
                    <a:pt x="65085" y="93781"/>
                  </a:lnTo>
                  <a:lnTo>
                    <a:pt x="65085" y="31301"/>
                  </a:lnTo>
                  <a:lnTo>
                    <a:pt x="48973" y="31301"/>
                  </a:lnTo>
                  <a:lnTo>
                    <a:pt x="48973" y="36328"/>
                  </a:lnTo>
                  <a:close/>
                  <a:moveTo>
                    <a:pt x="80547" y="93781"/>
                  </a:moveTo>
                  <a:lnTo>
                    <a:pt x="97306" y="93781"/>
                  </a:lnTo>
                  <a:lnTo>
                    <a:pt x="97306" y="3617"/>
                  </a:lnTo>
                  <a:lnTo>
                    <a:pt x="80547" y="7996"/>
                  </a:lnTo>
                  <a:lnTo>
                    <a:pt x="80547" y="93781"/>
                  </a:lnTo>
                  <a:close/>
                  <a:moveTo>
                    <a:pt x="188934" y="30012"/>
                  </a:moveTo>
                  <a:cubicBezTo>
                    <a:pt x="179650" y="30012"/>
                    <a:pt x="171791" y="34526"/>
                    <a:pt x="166767" y="39810"/>
                  </a:cubicBezTo>
                  <a:cubicBezTo>
                    <a:pt x="161865" y="33879"/>
                    <a:pt x="154262" y="30012"/>
                    <a:pt x="145760" y="30012"/>
                  </a:cubicBezTo>
                  <a:cubicBezTo>
                    <a:pt x="139704" y="30012"/>
                    <a:pt x="133775" y="31949"/>
                    <a:pt x="128874" y="36328"/>
                  </a:cubicBezTo>
                  <a:lnTo>
                    <a:pt x="128874" y="31307"/>
                  </a:lnTo>
                  <a:lnTo>
                    <a:pt x="112756" y="31307"/>
                  </a:lnTo>
                  <a:lnTo>
                    <a:pt x="112756" y="93787"/>
                  </a:lnTo>
                  <a:lnTo>
                    <a:pt x="129515" y="93787"/>
                  </a:lnTo>
                  <a:lnTo>
                    <a:pt x="129515" y="53201"/>
                  </a:lnTo>
                  <a:cubicBezTo>
                    <a:pt x="131831" y="50250"/>
                    <a:pt x="136996" y="45473"/>
                    <a:pt x="144079" y="45473"/>
                  </a:cubicBezTo>
                  <a:cubicBezTo>
                    <a:pt x="147294" y="45473"/>
                    <a:pt x="150907" y="46506"/>
                    <a:pt x="153486" y="49340"/>
                  </a:cubicBezTo>
                  <a:cubicBezTo>
                    <a:pt x="155417" y="51527"/>
                    <a:pt x="156578" y="54361"/>
                    <a:pt x="156578" y="60030"/>
                  </a:cubicBezTo>
                  <a:lnTo>
                    <a:pt x="156578" y="93781"/>
                  </a:lnTo>
                  <a:lnTo>
                    <a:pt x="173331" y="93781"/>
                  </a:lnTo>
                  <a:lnTo>
                    <a:pt x="173331" y="60678"/>
                  </a:lnTo>
                  <a:cubicBezTo>
                    <a:pt x="173331" y="58100"/>
                    <a:pt x="173074" y="55772"/>
                    <a:pt x="172817" y="53714"/>
                  </a:cubicBezTo>
                  <a:cubicBezTo>
                    <a:pt x="175011" y="50501"/>
                    <a:pt x="180677" y="45467"/>
                    <a:pt x="187901" y="45467"/>
                  </a:cubicBezTo>
                  <a:cubicBezTo>
                    <a:pt x="191116" y="45467"/>
                    <a:pt x="194728" y="46499"/>
                    <a:pt x="197307" y="49334"/>
                  </a:cubicBezTo>
                  <a:cubicBezTo>
                    <a:pt x="199239" y="51521"/>
                    <a:pt x="200406" y="54355"/>
                    <a:pt x="200406" y="60024"/>
                  </a:cubicBezTo>
                  <a:lnTo>
                    <a:pt x="200406" y="93774"/>
                  </a:lnTo>
                  <a:lnTo>
                    <a:pt x="217152" y="93774"/>
                  </a:lnTo>
                  <a:lnTo>
                    <a:pt x="217152" y="60671"/>
                  </a:lnTo>
                  <a:cubicBezTo>
                    <a:pt x="217152" y="51392"/>
                    <a:pt x="214830" y="44954"/>
                    <a:pt x="210845" y="40055"/>
                  </a:cubicBezTo>
                  <a:cubicBezTo>
                    <a:pt x="205821" y="33879"/>
                    <a:pt x="197582" y="30012"/>
                    <a:pt x="188934" y="30012"/>
                  </a:cubicBezTo>
                  <a:moveTo>
                    <a:pt x="231344" y="93781"/>
                  </a:moveTo>
                  <a:lnTo>
                    <a:pt x="248096" y="93781"/>
                  </a:lnTo>
                  <a:lnTo>
                    <a:pt x="248096" y="31301"/>
                  </a:lnTo>
                  <a:lnTo>
                    <a:pt x="231344" y="31301"/>
                  </a:lnTo>
                  <a:lnTo>
                    <a:pt x="231344" y="93781"/>
                  </a:lnTo>
                  <a:close/>
                </a:path>
              </a:pathLst>
            </a:custGeom>
            <a:solidFill>
              <a:schemeClr val="tx2"/>
            </a:solidFill>
            <a:ln w="61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 sz="2400"/>
            </a:p>
          </p:txBody>
        </p:sp>
      </p:grpSp>
      <p:sp>
        <p:nvSpPr>
          <p:cNvPr id="17" name="Marcador de pie de página 1">
            <a:extLst>
              <a:ext uri="{FF2B5EF4-FFF2-40B4-BE49-F238E27FC236}">
                <a16:creationId xmlns:a16="http://schemas.microsoft.com/office/drawing/2014/main" id="{4EB6EC18-AB07-784B-A9C3-80C7FFAEDF2F}"/>
              </a:ext>
            </a:extLst>
          </p:cNvPr>
          <p:cNvSpPr txBox="1">
            <a:spLocks/>
          </p:cNvSpPr>
          <p:nvPr userDrawn="1"/>
        </p:nvSpPr>
        <p:spPr>
          <a:xfrm>
            <a:off x="3660913" y="6544917"/>
            <a:ext cx="4870177" cy="323744"/>
          </a:xfrm>
          <a:prstGeom prst="rect">
            <a:avLst/>
          </a:prstGeom>
        </p:spPr>
        <p:txBody>
          <a:bodyPr/>
          <a:lstStyle>
            <a:defPPr>
              <a:defRPr lang="es-ES_tradnl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800">
                <a:solidFill>
                  <a:schemeClr val="tx2"/>
                </a:solidFill>
              </a:rPr>
              <a:t>Financial Results &amp; Business Update</a:t>
            </a:r>
          </a:p>
        </p:txBody>
      </p:sp>
      <p:sp>
        <p:nvSpPr>
          <p:cNvPr id="77" name="Título 4">
            <a:extLst>
              <a:ext uri="{FF2B5EF4-FFF2-40B4-BE49-F238E27FC236}">
                <a16:creationId xmlns:a16="http://schemas.microsoft.com/office/drawing/2014/main" id="{956684D4-E538-8946-B6DB-3B60DBD47383}"/>
              </a:ext>
            </a:extLst>
          </p:cNvPr>
          <p:cNvSpPr txBox="1">
            <a:spLocks/>
          </p:cNvSpPr>
          <p:nvPr userDrawn="1"/>
        </p:nvSpPr>
        <p:spPr>
          <a:xfrm>
            <a:off x="532525" y="2937344"/>
            <a:ext cx="11402089" cy="983312"/>
          </a:xfrm>
          <a:prstGeom prst="rect">
            <a:avLst/>
          </a:prstGeom>
        </p:spPr>
        <p:txBody>
          <a:bodyPr lIns="0" tIns="0" rIns="0" bIns="0" anchor="ctr"/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2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ES_tradnl" sz="5333" err="1">
                <a:ln>
                  <a:noFill/>
                </a:ln>
                <a:solidFill>
                  <a:schemeClr val="accent2"/>
                </a:solidFill>
              </a:rPr>
              <a:t>Appendices</a:t>
            </a:r>
            <a:endParaRPr lang="es-ES_tradnl" sz="5333">
              <a:ln>
                <a:noFill/>
              </a:ln>
              <a:solidFill>
                <a:schemeClr val="accent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6896980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Cover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1" name="Imagen 70">
            <a:extLst>
              <a:ext uri="{FF2B5EF4-FFF2-40B4-BE49-F238E27FC236}">
                <a16:creationId xmlns:a16="http://schemas.microsoft.com/office/drawing/2014/main" id="{0677C223-3B87-4520-867F-E6EDC51239C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5595933"/>
            <a:ext cx="2079437" cy="1262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78941705"/>
      </p:ext>
    </p:extLst>
  </p:cSld>
  <p:clrMapOvr>
    <a:masterClrMapping/>
  </p:clrMapOvr>
  <p:transition spd="med"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Diseño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69A2BE49-8834-EC86-9E4A-E56FAC8A5F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</a:p>
        </p:txBody>
      </p:sp>
    </p:spTree>
    <p:extLst>
      <p:ext uri="{BB962C8B-B14F-4D97-AF65-F5344CB8AC3E}">
        <p14:creationId xmlns:p14="http://schemas.microsoft.com/office/powerpoint/2010/main" val="45426255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Marcador de contenido 3">
            <a:extLst>
              <a:ext uri="{FF2B5EF4-FFF2-40B4-BE49-F238E27FC236}">
                <a16:creationId xmlns:a16="http://schemas.microsoft.com/office/drawing/2014/main" id="{D0F57332-4B2A-60FB-0205-DB0277F200F4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838201" y="1662595"/>
            <a:ext cx="5157787" cy="3684588"/>
          </a:xfrm>
        </p:spPr>
        <p:txBody>
          <a:bodyPr/>
          <a:lstStyle>
            <a:lvl1pPr marL="228594" indent="-228594">
              <a:buFontTx/>
              <a:buBlip>
                <a:blip r:embed="rId2"/>
              </a:buBlip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s-ES"/>
              <a:t> Haga clic para modificar los estilos de texto del patrón</a:t>
            </a:r>
          </a:p>
          <a:p>
            <a:pPr lvl="0"/>
            <a:endParaRPr lang="es-ES"/>
          </a:p>
        </p:txBody>
      </p:sp>
      <p:sp>
        <p:nvSpPr>
          <p:cNvPr id="6" name="Marcador de contenido 5">
            <a:extLst>
              <a:ext uri="{FF2B5EF4-FFF2-40B4-BE49-F238E27FC236}">
                <a16:creationId xmlns:a16="http://schemas.microsoft.com/office/drawing/2014/main" id="{2970EAE1-83CB-6CB1-F339-28AF3F3AE044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0613" y="1662595"/>
            <a:ext cx="5183188" cy="3684588"/>
          </a:xfrm>
        </p:spPr>
        <p:txBody>
          <a:bodyPr>
            <a:normAutofit/>
          </a:bodyPr>
          <a:lstStyle>
            <a:lvl1pPr marL="228594" indent="-228594">
              <a:buFontTx/>
              <a:buBlip>
                <a:blip r:embed="rId2"/>
              </a:buBlip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7" name="Marcador de fecha 6">
            <a:extLst>
              <a:ext uri="{FF2B5EF4-FFF2-40B4-BE49-F238E27FC236}">
                <a16:creationId xmlns:a16="http://schemas.microsoft.com/office/drawing/2014/main" id="{79064516-473B-42BB-C075-0B4E11D3659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1374ED3-72D5-D940-A3FB-06567DD17ED4}" type="datetimeFigureOut">
              <a:rPr lang="es-ES" smtClean="0"/>
              <a:t>08/01/2026</a:t>
            </a:fld>
            <a:endParaRPr lang="es-ES"/>
          </a:p>
        </p:txBody>
      </p:sp>
      <p:sp>
        <p:nvSpPr>
          <p:cNvPr id="8" name="Marcador de pie de página 7">
            <a:extLst>
              <a:ext uri="{FF2B5EF4-FFF2-40B4-BE49-F238E27FC236}">
                <a16:creationId xmlns:a16="http://schemas.microsoft.com/office/drawing/2014/main" id="{75446A45-EB2D-22A2-34CC-9111B20212B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9" name="Marcador de número de diapositiva 8">
            <a:extLst>
              <a:ext uri="{FF2B5EF4-FFF2-40B4-BE49-F238E27FC236}">
                <a16:creationId xmlns:a16="http://schemas.microsoft.com/office/drawing/2014/main" id="{062DB350-3238-7A64-964E-8FDB753CA73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6BBE8FB-D02F-004A-9624-8F4F1B4F3520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37973948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4EEC583E-A95A-B552-89BB-2F9DCC8CED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E91DB149-B962-E110-E0A9-995E2115CC8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ACA8CB38-C469-C776-0E82-0875784FA35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6C3B911-3ACA-4BF2-BB2F-5C3EFA6F661A}" type="datetimeFigureOut">
              <a:rPr lang="es-ES" smtClean="0"/>
              <a:t>08/01/2026</a:t>
            </a:fld>
            <a:endParaRPr lang="es-ES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10EC5C78-29FE-CCA1-D7DA-9A1CC6135DD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09F89160-E505-B8F2-BE5A-927FF67DDDF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B6F12EC-4CB1-4568-9A2D-0F2CAC4907EA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46858052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posición de imagen 2">
            <a:extLst>
              <a:ext uri="{FF2B5EF4-FFF2-40B4-BE49-F238E27FC236}">
                <a16:creationId xmlns:a16="http://schemas.microsoft.com/office/drawing/2014/main" id="{BAF89A17-6A6C-D601-1683-CE7003543935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6546783" y="2197550"/>
            <a:ext cx="4271892" cy="2462903"/>
          </a:xfrm>
        </p:spPr>
        <p:txBody>
          <a:bodyPr/>
          <a:lstStyle>
            <a:lvl1pPr marL="0" indent="0">
              <a:buNone/>
              <a:defRPr sz="3200"/>
            </a:lvl1pPr>
            <a:lvl2pPr marL="457189" indent="0">
              <a:buNone/>
              <a:defRPr sz="2800"/>
            </a:lvl2pPr>
            <a:lvl3pPr marL="914377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1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endParaRPr lang="es-ES"/>
          </a:p>
        </p:txBody>
      </p:sp>
      <p:sp>
        <p:nvSpPr>
          <p:cNvPr id="4" name="Marcador de texto 3">
            <a:extLst>
              <a:ext uri="{FF2B5EF4-FFF2-40B4-BE49-F238E27FC236}">
                <a16:creationId xmlns:a16="http://schemas.microsoft.com/office/drawing/2014/main" id="{CD03BA2B-9879-98E2-7F4F-C69FFD7E184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496959" y="1808923"/>
            <a:ext cx="5009320" cy="3811588"/>
          </a:xfrm>
        </p:spPr>
        <p:txBody>
          <a:bodyPr>
            <a:normAutofit/>
          </a:bodyPr>
          <a:lstStyle>
            <a:lvl1pPr marL="0" indent="0">
              <a:buNone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400"/>
            </a:lvl2pPr>
            <a:lvl3pPr marL="914377" indent="0">
              <a:buNone/>
              <a:defRPr sz="1200"/>
            </a:lvl3pPr>
            <a:lvl4pPr marL="1371566" indent="0">
              <a:buNone/>
              <a:defRPr sz="1000"/>
            </a:lvl4pPr>
            <a:lvl5pPr marL="1828754" indent="0">
              <a:buNone/>
              <a:defRPr sz="1000"/>
            </a:lvl5pPr>
            <a:lvl6pPr marL="2285943" indent="0">
              <a:buNone/>
              <a:defRPr sz="1000"/>
            </a:lvl6pPr>
            <a:lvl7pPr marL="2743131" indent="0">
              <a:buNone/>
              <a:defRPr sz="1000"/>
            </a:lvl7pPr>
            <a:lvl8pPr marL="3200320" indent="0">
              <a:buNone/>
              <a:defRPr sz="1000"/>
            </a:lvl8pPr>
            <a:lvl9pPr marL="3657509" indent="0">
              <a:buNone/>
              <a:defRPr sz="1000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Marcador de fecha 4">
            <a:extLst>
              <a:ext uri="{FF2B5EF4-FFF2-40B4-BE49-F238E27FC236}">
                <a16:creationId xmlns:a16="http://schemas.microsoft.com/office/drawing/2014/main" id="{0BD1D8F8-6325-93B8-F3B4-47AF36B6E9F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CE03200-546C-A447-9975-15AA23D46A6E}" type="datetimeFigureOut">
              <a:rPr lang="es-ES" smtClean="0"/>
              <a:t>08/01/2026</a:t>
            </a:fld>
            <a:endParaRPr lang="es-ES"/>
          </a:p>
        </p:txBody>
      </p:sp>
      <p:sp>
        <p:nvSpPr>
          <p:cNvPr id="6" name="Marcador de pie de página 5">
            <a:extLst>
              <a:ext uri="{FF2B5EF4-FFF2-40B4-BE49-F238E27FC236}">
                <a16:creationId xmlns:a16="http://schemas.microsoft.com/office/drawing/2014/main" id="{0E94FEB6-7E82-6405-B5F7-E31018A505D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:a16="http://schemas.microsoft.com/office/drawing/2014/main" id="{FCB38CEC-A2B1-8368-8643-5D77A902D1D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9C3E722-8401-EC46-A29D-3DEE9A487B8D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23652877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o tí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n 5">
            <a:extLst>
              <a:ext uri="{FF2B5EF4-FFF2-40B4-BE49-F238E27FC236}">
                <a16:creationId xmlns:a16="http://schemas.microsoft.com/office/drawing/2014/main" id="{057F6F9D-641F-4F3E-B189-6D48E2F78FB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5595933"/>
            <a:ext cx="2079437" cy="1262068"/>
          </a:xfrm>
          <a:prstGeom prst="rect">
            <a:avLst/>
          </a:prstGeom>
        </p:spPr>
      </p:pic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3B997CCB-0A84-E13E-6080-C00F8964CBD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438274" y="6353181"/>
            <a:ext cx="9315449" cy="40957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s-ES_tradnl"/>
            </a:defPPr>
            <a:lvl1pPr marL="0" algn="ctr" defTabSz="121917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609585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17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75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833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92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750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7093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6678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Deck title</a:t>
            </a:r>
            <a:endParaRPr lang="en-US" noProof="0"/>
          </a:p>
        </p:txBody>
      </p:sp>
      <p:sp>
        <p:nvSpPr>
          <p:cNvPr id="9" name="Título 1">
            <a:extLst>
              <a:ext uri="{FF2B5EF4-FFF2-40B4-BE49-F238E27FC236}">
                <a16:creationId xmlns:a16="http://schemas.microsoft.com/office/drawing/2014/main" id="{86591B2D-6CCB-0CE1-F55E-37DDD1CDF2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94956" y="176122"/>
            <a:ext cx="11402089" cy="760793"/>
          </a:xfrm>
          <a:prstGeom prst="rect">
            <a:avLst/>
          </a:prstGeom>
        </p:spPr>
        <p:txBody>
          <a:bodyPr lIns="0" tIns="0" rIns="0" bIns="0" anchor="ctr"/>
          <a:lstStyle>
            <a:lvl1pPr marL="0" marR="0" indent="0" algn="l" defTabSz="914332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US" sz="2068" b="1" kern="1200" noProof="0" dirty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Slide title is Arial Regular 22/Simple pt.</a:t>
            </a:r>
          </a:p>
        </p:txBody>
      </p:sp>
      <p:cxnSp>
        <p:nvCxnSpPr>
          <p:cNvPr id="11" name="Conector recto 10">
            <a:extLst>
              <a:ext uri="{FF2B5EF4-FFF2-40B4-BE49-F238E27FC236}">
                <a16:creationId xmlns:a16="http://schemas.microsoft.com/office/drawing/2014/main" id="{DD92853B-47F0-D2AB-2E43-E936312B5337}"/>
              </a:ext>
            </a:extLst>
          </p:cNvPr>
          <p:cNvCxnSpPr>
            <a:cxnSpLocks/>
          </p:cNvCxnSpPr>
          <p:nvPr userDrawn="1"/>
        </p:nvCxnSpPr>
        <p:spPr>
          <a:xfrm>
            <a:off x="440761" y="1114293"/>
            <a:ext cx="11389396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498548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880">
          <p15:clr>
            <a:srgbClr val="FBAE40"/>
          </p15:clr>
        </p15:guide>
        <p15:guide id="4" pos="4400">
          <p15:clr>
            <a:srgbClr val="FBAE40"/>
          </p15:clr>
        </p15:guide>
        <p15:guide id="5" orient="horz" pos="259">
          <p15:clr>
            <a:srgbClr val="FBAE40"/>
          </p15:clr>
        </p15:guide>
        <p15:guide id="6" orient="horz" pos="797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0571BCC4-4225-0327-8B58-A75CB27E5D4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s-ES"/>
              <a:t>Haga clic para modificar el estilo de título del patrón</a:t>
            </a:r>
            <a:endParaRPr lang="es-ES_tradnl"/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71E55E7D-DF82-A52B-8305-0016384DB2E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7"/>
            <a:ext cx="9144000" cy="1655763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s-ES"/>
              <a:t>Haga clic para modificar el estilo de subtítulo del patrón</a:t>
            </a:r>
            <a:endParaRPr lang="es-ES_tradnl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A2FCF464-8837-18A2-4300-7D11A216CCF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41FFC0-3E16-445E-A7D1-7A87C3D12D45}" type="datetimeFigureOut">
              <a:rPr lang="es-ES_tradnl" smtClean="0"/>
              <a:t>08/01/2026</a:t>
            </a:fld>
            <a:endParaRPr lang="es-ES_tradnl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B85D773B-BD13-B3B1-236D-BF55C5BFE4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AAAB4D-6B39-478C-B2C7-D08067D3EF7C}" type="slidenum">
              <a:rPr lang="es-ES_tradnl" smtClean="0"/>
              <a:t>‹Nº›</a:t>
            </a:fld>
            <a:endParaRPr lang="es-ES_tradnl"/>
          </a:p>
        </p:txBody>
      </p:sp>
      <p:sp>
        <p:nvSpPr>
          <p:cNvPr id="7" name="Marcador de pie de página 4">
            <a:extLst>
              <a:ext uri="{FF2B5EF4-FFF2-40B4-BE49-F238E27FC236}">
                <a16:creationId xmlns:a16="http://schemas.microsoft.com/office/drawing/2014/main" id="{EE71F459-FB72-F861-BFEB-9AFFFC7B051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491576"/>
            <a:ext cx="4114800" cy="365125"/>
          </a:xfrm>
          <a:prstGeom prst="rect">
            <a:avLst/>
          </a:prstGeom>
        </p:spPr>
        <p:txBody>
          <a:bodyPr anchor="ctr"/>
          <a:lstStyle>
            <a:lvl1pPr algn="ctr">
              <a:defRPr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s-ES_tradnl" sz="700"/>
              <a:t>Revisión de mercados BU HC Septiembre 2025</a:t>
            </a:r>
          </a:p>
        </p:txBody>
      </p:sp>
    </p:spTree>
    <p:extLst>
      <p:ext uri="{BB962C8B-B14F-4D97-AF65-F5344CB8AC3E}">
        <p14:creationId xmlns:p14="http://schemas.microsoft.com/office/powerpoint/2010/main" val="556427491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asic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4">
            <a:extLst>
              <a:ext uri="{FF2B5EF4-FFF2-40B4-BE49-F238E27FC236}">
                <a16:creationId xmlns:a16="http://schemas.microsoft.com/office/drawing/2014/main" id="{93E6B589-424B-C2E2-C74D-5FFAD9C3C77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724400" y="6248980"/>
            <a:ext cx="2743200" cy="365125"/>
          </a:xfrm>
        </p:spPr>
        <p:txBody>
          <a:bodyPr/>
          <a:lstStyle>
            <a:lvl1pPr algn="ctr">
              <a:defRPr sz="100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8D0AF27-2EDE-6846-BB61-B3989FA6B24B}" type="slidenum">
              <a:rPr lang="es-ES" smtClean="0"/>
              <a:pPr/>
              <a:t>‹Nº›</a:t>
            </a:fld>
            <a:endParaRPr lang="es-ES"/>
          </a:p>
        </p:txBody>
      </p:sp>
      <p:sp>
        <p:nvSpPr>
          <p:cNvPr id="15" name="Marcador de texto 2">
            <a:extLst>
              <a:ext uri="{FF2B5EF4-FFF2-40B4-BE49-F238E27FC236}">
                <a16:creationId xmlns:a16="http://schemas.microsoft.com/office/drawing/2014/main" id="{53BA9048-C2ED-9E41-CA3D-72852AFEF5B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483726" y="4291644"/>
            <a:ext cx="2530591" cy="1194757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None/>
              <a:defRPr sz="1400">
                <a:solidFill>
                  <a:srgbClr val="00285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Marcador de texto 3">
            <a:extLst>
              <a:ext uri="{FF2B5EF4-FFF2-40B4-BE49-F238E27FC236}">
                <a16:creationId xmlns:a16="http://schemas.microsoft.com/office/drawing/2014/main" id="{6F228CC7-D296-68D0-9A37-517A3BFA479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298137" y="4291644"/>
            <a:ext cx="2530591" cy="1194757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None/>
              <a:defRPr sz="1400">
                <a:solidFill>
                  <a:srgbClr val="00285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Marcador de posición de imagen 4">
            <a:extLst>
              <a:ext uri="{FF2B5EF4-FFF2-40B4-BE49-F238E27FC236}">
                <a16:creationId xmlns:a16="http://schemas.microsoft.com/office/drawing/2014/main" id="{9BD4FA73-7F14-DA95-2C02-DCF694F5394E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3657519" y="1638541"/>
            <a:ext cx="2542516" cy="2338703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icon to add picture</a:t>
            </a:r>
            <a:endParaRPr lang="en-ES"/>
          </a:p>
        </p:txBody>
      </p:sp>
      <p:sp>
        <p:nvSpPr>
          <p:cNvPr id="18" name="Marcador de posición de imagen 5">
            <a:extLst>
              <a:ext uri="{FF2B5EF4-FFF2-40B4-BE49-F238E27FC236}">
                <a16:creationId xmlns:a16="http://schemas.microsoft.com/office/drawing/2014/main" id="{B4E5176F-FFAC-770A-DD1F-8E1C564042D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483723" y="1638541"/>
            <a:ext cx="2542516" cy="2338703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icon to add picture</a:t>
            </a:r>
            <a:endParaRPr lang="en-ES"/>
          </a:p>
        </p:txBody>
      </p:sp>
      <p:sp>
        <p:nvSpPr>
          <p:cNvPr id="19" name="Marcador de posición de imagen 6">
            <a:extLst>
              <a:ext uri="{FF2B5EF4-FFF2-40B4-BE49-F238E27FC236}">
                <a16:creationId xmlns:a16="http://schemas.microsoft.com/office/drawing/2014/main" id="{7F477137-A20D-4CD8-420E-6A1097F7AA22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9298135" y="1638541"/>
            <a:ext cx="2542516" cy="2338703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icon to add picture</a:t>
            </a:r>
            <a:endParaRPr lang="en-ES"/>
          </a:p>
        </p:txBody>
      </p:sp>
      <p:sp>
        <p:nvSpPr>
          <p:cNvPr id="20" name="Marcador de texto 7">
            <a:extLst>
              <a:ext uri="{FF2B5EF4-FFF2-40B4-BE49-F238E27FC236}">
                <a16:creationId xmlns:a16="http://schemas.microsoft.com/office/drawing/2014/main" id="{24651006-06E3-01D0-944E-C3561145C4F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51351" y="1629113"/>
            <a:ext cx="3034272" cy="3857291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buNone/>
              <a:defRPr sz="1600">
                <a:solidFill>
                  <a:srgbClr val="00285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Marcador de texto 8">
            <a:extLst>
              <a:ext uri="{FF2B5EF4-FFF2-40B4-BE49-F238E27FC236}">
                <a16:creationId xmlns:a16="http://schemas.microsoft.com/office/drawing/2014/main" id="{B909DB41-F78D-4548-5D3B-2FA0EE56FC24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649025" y="4291644"/>
            <a:ext cx="2530591" cy="1194757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None/>
              <a:defRPr sz="1400">
                <a:solidFill>
                  <a:srgbClr val="00285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1C484569-4796-F184-09F3-532FBFE33C1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50842" y="490537"/>
            <a:ext cx="8675401" cy="843115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600">
                <a:solidFill>
                  <a:srgbClr val="00285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Arial Regular 26pt</a:t>
            </a:r>
          </a:p>
        </p:txBody>
      </p:sp>
    </p:spTree>
    <p:extLst>
      <p:ext uri="{BB962C8B-B14F-4D97-AF65-F5344CB8AC3E}">
        <p14:creationId xmlns:p14="http://schemas.microsoft.com/office/powerpoint/2010/main" val="104451672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0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ángulo 5">
            <a:extLst>
              <a:ext uri="{FF2B5EF4-FFF2-40B4-BE49-F238E27FC236}">
                <a16:creationId xmlns:a16="http://schemas.microsoft.com/office/drawing/2014/main" id="{E82601B8-9504-B2B5-B3BB-64FC736D07F9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400"/>
          </a:p>
        </p:txBody>
      </p:sp>
      <p:sp>
        <p:nvSpPr>
          <p:cNvPr id="8" name="Redondear rectángulo de esquina diagonal 10">
            <a:extLst>
              <a:ext uri="{FF2B5EF4-FFF2-40B4-BE49-F238E27FC236}">
                <a16:creationId xmlns:a16="http://schemas.microsoft.com/office/drawing/2014/main" id="{CF26D786-7D9A-330E-6867-2EB099FE236E}"/>
              </a:ext>
            </a:extLst>
          </p:cNvPr>
          <p:cNvSpPr>
            <a:spLocks noGrp="1" noRot="1" noChangeAspect="1" noMove="1" noResize="1" noEditPoints="1" noAdjustHandles="1" noChangeArrowheads="1" noChangeShapeType="1"/>
          </p:cNvSpPr>
          <p:nvPr userDrawn="1"/>
        </p:nvSpPr>
        <p:spPr>
          <a:xfrm>
            <a:off x="-20913" y="-8821"/>
            <a:ext cx="12226461" cy="6886772"/>
          </a:xfrm>
          <a:custGeom>
            <a:avLst/>
            <a:gdLst>
              <a:gd name="connsiteX0" fmla="*/ 887959 w 5329238"/>
              <a:gd name="connsiteY0" fmla="*/ 0 h 5327650"/>
              <a:gd name="connsiteX1" fmla="*/ 5329238 w 5329238"/>
              <a:gd name="connsiteY1" fmla="*/ 0 h 5327650"/>
              <a:gd name="connsiteX2" fmla="*/ 5329238 w 5329238"/>
              <a:gd name="connsiteY2" fmla="*/ 0 h 5327650"/>
              <a:gd name="connsiteX3" fmla="*/ 5329238 w 5329238"/>
              <a:gd name="connsiteY3" fmla="*/ 4439691 h 5327650"/>
              <a:gd name="connsiteX4" fmla="*/ 4441279 w 5329238"/>
              <a:gd name="connsiteY4" fmla="*/ 5327650 h 5327650"/>
              <a:gd name="connsiteX5" fmla="*/ 0 w 5329238"/>
              <a:gd name="connsiteY5" fmla="*/ 5327650 h 5327650"/>
              <a:gd name="connsiteX6" fmla="*/ 0 w 5329238"/>
              <a:gd name="connsiteY6" fmla="*/ 5327650 h 5327650"/>
              <a:gd name="connsiteX7" fmla="*/ 0 w 5329238"/>
              <a:gd name="connsiteY7" fmla="*/ 887959 h 5327650"/>
              <a:gd name="connsiteX8" fmla="*/ 887959 w 5329238"/>
              <a:gd name="connsiteY8" fmla="*/ 0 h 5327650"/>
              <a:gd name="connsiteX0" fmla="*/ 218922 w 5544456"/>
              <a:gd name="connsiteY0" fmla="*/ 0 h 5332674"/>
              <a:gd name="connsiteX1" fmla="*/ 5544456 w 5544456"/>
              <a:gd name="connsiteY1" fmla="*/ 5024 h 5332674"/>
              <a:gd name="connsiteX2" fmla="*/ 5544456 w 5544456"/>
              <a:gd name="connsiteY2" fmla="*/ 5024 h 5332674"/>
              <a:gd name="connsiteX3" fmla="*/ 5544456 w 5544456"/>
              <a:gd name="connsiteY3" fmla="*/ 4444715 h 5332674"/>
              <a:gd name="connsiteX4" fmla="*/ 4656497 w 5544456"/>
              <a:gd name="connsiteY4" fmla="*/ 5332674 h 5332674"/>
              <a:gd name="connsiteX5" fmla="*/ 215218 w 5544456"/>
              <a:gd name="connsiteY5" fmla="*/ 5332674 h 5332674"/>
              <a:gd name="connsiteX6" fmla="*/ 215218 w 5544456"/>
              <a:gd name="connsiteY6" fmla="*/ 5332674 h 5332674"/>
              <a:gd name="connsiteX7" fmla="*/ 215218 w 5544456"/>
              <a:gd name="connsiteY7" fmla="*/ 892983 h 5332674"/>
              <a:gd name="connsiteX8" fmla="*/ 218922 w 5544456"/>
              <a:gd name="connsiteY8" fmla="*/ 0 h 5332674"/>
              <a:gd name="connsiteX0" fmla="*/ 3704 w 5329238"/>
              <a:gd name="connsiteY0" fmla="*/ 0 h 5332674"/>
              <a:gd name="connsiteX1" fmla="*/ 5329238 w 5329238"/>
              <a:gd name="connsiteY1" fmla="*/ 5024 h 5332674"/>
              <a:gd name="connsiteX2" fmla="*/ 5329238 w 5329238"/>
              <a:gd name="connsiteY2" fmla="*/ 5024 h 5332674"/>
              <a:gd name="connsiteX3" fmla="*/ 5329238 w 5329238"/>
              <a:gd name="connsiteY3" fmla="*/ 4444715 h 5332674"/>
              <a:gd name="connsiteX4" fmla="*/ 4441279 w 5329238"/>
              <a:gd name="connsiteY4" fmla="*/ 5332674 h 5332674"/>
              <a:gd name="connsiteX5" fmla="*/ 0 w 5329238"/>
              <a:gd name="connsiteY5" fmla="*/ 5332674 h 5332674"/>
              <a:gd name="connsiteX6" fmla="*/ 0 w 5329238"/>
              <a:gd name="connsiteY6" fmla="*/ 5332674 h 5332674"/>
              <a:gd name="connsiteX7" fmla="*/ 0 w 5329238"/>
              <a:gd name="connsiteY7" fmla="*/ 892983 h 5332674"/>
              <a:gd name="connsiteX8" fmla="*/ 3704 w 5329238"/>
              <a:gd name="connsiteY8" fmla="*/ 0 h 5332674"/>
              <a:gd name="connsiteX0" fmla="*/ 3704 w 5329238"/>
              <a:gd name="connsiteY0" fmla="*/ 0 h 5332674"/>
              <a:gd name="connsiteX1" fmla="*/ 5329238 w 5329238"/>
              <a:gd name="connsiteY1" fmla="*/ 5024 h 5332674"/>
              <a:gd name="connsiteX2" fmla="*/ 5329238 w 5329238"/>
              <a:gd name="connsiteY2" fmla="*/ 5024 h 5332674"/>
              <a:gd name="connsiteX3" fmla="*/ 5329238 w 5329238"/>
              <a:gd name="connsiteY3" fmla="*/ 4444715 h 5332674"/>
              <a:gd name="connsiteX4" fmla="*/ 4441279 w 5329238"/>
              <a:gd name="connsiteY4" fmla="*/ 5332674 h 5332674"/>
              <a:gd name="connsiteX5" fmla="*/ 0 w 5329238"/>
              <a:gd name="connsiteY5" fmla="*/ 5332674 h 5332674"/>
              <a:gd name="connsiteX6" fmla="*/ 0 w 5329238"/>
              <a:gd name="connsiteY6" fmla="*/ 5332674 h 5332674"/>
              <a:gd name="connsiteX7" fmla="*/ 3704 w 5329238"/>
              <a:gd name="connsiteY7" fmla="*/ 0 h 5332674"/>
              <a:gd name="connsiteX0" fmla="*/ 125 w 5335184"/>
              <a:gd name="connsiteY0" fmla="*/ 1326 h 5327650"/>
              <a:gd name="connsiteX1" fmla="*/ 5335184 w 5335184"/>
              <a:gd name="connsiteY1" fmla="*/ 0 h 5327650"/>
              <a:gd name="connsiteX2" fmla="*/ 5335184 w 5335184"/>
              <a:gd name="connsiteY2" fmla="*/ 0 h 5327650"/>
              <a:gd name="connsiteX3" fmla="*/ 5335184 w 5335184"/>
              <a:gd name="connsiteY3" fmla="*/ 4439691 h 5327650"/>
              <a:gd name="connsiteX4" fmla="*/ 4447225 w 5335184"/>
              <a:gd name="connsiteY4" fmla="*/ 5327650 h 5327650"/>
              <a:gd name="connsiteX5" fmla="*/ 5946 w 5335184"/>
              <a:gd name="connsiteY5" fmla="*/ 5327650 h 5327650"/>
              <a:gd name="connsiteX6" fmla="*/ 5946 w 5335184"/>
              <a:gd name="connsiteY6" fmla="*/ 5327650 h 5327650"/>
              <a:gd name="connsiteX7" fmla="*/ 125 w 5335184"/>
              <a:gd name="connsiteY7" fmla="*/ 1326 h 5327650"/>
              <a:gd name="connsiteX0" fmla="*/ 125 w 5335184"/>
              <a:gd name="connsiteY0" fmla="*/ 1326 h 5327650"/>
              <a:gd name="connsiteX1" fmla="*/ 5335184 w 5335184"/>
              <a:gd name="connsiteY1" fmla="*/ 0 h 5327650"/>
              <a:gd name="connsiteX2" fmla="*/ 5335184 w 5335184"/>
              <a:gd name="connsiteY2" fmla="*/ 0 h 5327650"/>
              <a:gd name="connsiteX3" fmla="*/ 5335184 w 5335184"/>
              <a:gd name="connsiteY3" fmla="*/ 4439691 h 5327650"/>
              <a:gd name="connsiteX4" fmla="*/ 4447225 w 5335184"/>
              <a:gd name="connsiteY4" fmla="*/ 5327650 h 5327650"/>
              <a:gd name="connsiteX5" fmla="*/ 5946 w 5335184"/>
              <a:gd name="connsiteY5" fmla="*/ 5327650 h 5327650"/>
              <a:gd name="connsiteX6" fmla="*/ 5946 w 5335184"/>
              <a:gd name="connsiteY6" fmla="*/ 5327650 h 5327650"/>
              <a:gd name="connsiteX7" fmla="*/ 125 w 5335184"/>
              <a:gd name="connsiteY7" fmla="*/ 1326 h 5327650"/>
              <a:gd name="connsiteX0" fmla="*/ 125 w 5335184"/>
              <a:gd name="connsiteY0" fmla="*/ 1326 h 5327650"/>
              <a:gd name="connsiteX1" fmla="*/ 5335184 w 5335184"/>
              <a:gd name="connsiteY1" fmla="*/ 0 h 5327650"/>
              <a:gd name="connsiteX2" fmla="*/ 5335184 w 5335184"/>
              <a:gd name="connsiteY2" fmla="*/ 0 h 5327650"/>
              <a:gd name="connsiteX3" fmla="*/ 5335184 w 5335184"/>
              <a:gd name="connsiteY3" fmla="*/ 4439691 h 5327650"/>
              <a:gd name="connsiteX4" fmla="*/ 4447225 w 5335184"/>
              <a:gd name="connsiteY4" fmla="*/ 5327650 h 5327650"/>
              <a:gd name="connsiteX5" fmla="*/ 5946 w 5335184"/>
              <a:gd name="connsiteY5" fmla="*/ 5327650 h 5327650"/>
              <a:gd name="connsiteX6" fmla="*/ 5946 w 5335184"/>
              <a:gd name="connsiteY6" fmla="*/ 5327650 h 5327650"/>
              <a:gd name="connsiteX7" fmla="*/ 125 w 5335184"/>
              <a:gd name="connsiteY7" fmla="*/ 1326 h 5327650"/>
              <a:gd name="connsiteX0" fmla="*/ 125 w 5335184"/>
              <a:gd name="connsiteY0" fmla="*/ 1326 h 5327650"/>
              <a:gd name="connsiteX1" fmla="*/ 5335184 w 5335184"/>
              <a:gd name="connsiteY1" fmla="*/ 0 h 5327650"/>
              <a:gd name="connsiteX2" fmla="*/ 5335184 w 5335184"/>
              <a:gd name="connsiteY2" fmla="*/ 4439691 h 5327650"/>
              <a:gd name="connsiteX3" fmla="*/ 4447225 w 5335184"/>
              <a:gd name="connsiteY3" fmla="*/ 5327650 h 5327650"/>
              <a:gd name="connsiteX4" fmla="*/ 5946 w 5335184"/>
              <a:gd name="connsiteY4" fmla="*/ 5327650 h 5327650"/>
              <a:gd name="connsiteX5" fmla="*/ 5946 w 5335184"/>
              <a:gd name="connsiteY5" fmla="*/ 5327650 h 5327650"/>
              <a:gd name="connsiteX6" fmla="*/ 125 w 5335184"/>
              <a:gd name="connsiteY6" fmla="*/ 1326 h 5327650"/>
              <a:gd name="connsiteX0" fmla="*/ 1811420 w 7146479"/>
              <a:gd name="connsiteY0" fmla="*/ 1326 h 5327650"/>
              <a:gd name="connsiteX1" fmla="*/ 7146479 w 7146479"/>
              <a:gd name="connsiteY1" fmla="*/ 0 h 5327650"/>
              <a:gd name="connsiteX2" fmla="*/ 7146479 w 7146479"/>
              <a:gd name="connsiteY2" fmla="*/ 4439691 h 5327650"/>
              <a:gd name="connsiteX3" fmla="*/ 6258520 w 7146479"/>
              <a:gd name="connsiteY3" fmla="*/ 5327650 h 5327650"/>
              <a:gd name="connsiteX4" fmla="*/ 1817241 w 7146479"/>
              <a:gd name="connsiteY4" fmla="*/ 5327650 h 5327650"/>
              <a:gd name="connsiteX5" fmla="*/ 0 w 7146479"/>
              <a:gd name="connsiteY5" fmla="*/ 4490139 h 5327650"/>
              <a:gd name="connsiteX6" fmla="*/ 1811420 w 7146479"/>
              <a:gd name="connsiteY6" fmla="*/ 1326 h 5327650"/>
              <a:gd name="connsiteX0" fmla="*/ 4160663 w 9495722"/>
              <a:gd name="connsiteY0" fmla="*/ 1326 h 5332917"/>
              <a:gd name="connsiteX1" fmla="*/ 9495722 w 9495722"/>
              <a:gd name="connsiteY1" fmla="*/ 0 h 5332917"/>
              <a:gd name="connsiteX2" fmla="*/ 9495722 w 9495722"/>
              <a:gd name="connsiteY2" fmla="*/ 4439691 h 5332917"/>
              <a:gd name="connsiteX3" fmla="*/ 8607763 w 9495722"/>
              <a:gd name="connsiteY3" fmla="*/ 5327650 h 5332917"/>
              <a:gd name="connsiteX4" fmla="*/ 0 w 9495722"/>
              <a:gd name="connsiteY4" fmla="*/ 5332917 h 5332917"/>
              <a:gd name="connsiteX5" fmla="*/ 2349243 w 9495722"/>
              <a:gd name="connsiteY5" fmla="*/ 4490139 h 5332917"/>
              <a:gd name="connsiteX6" fmla="*/ 4160663 w 9495722"/>
              <a:gd name="connsiteY6" fmla="*/ 1326 h 5332917"/>
              <a:gd name="connsiteX0" fmla="*/ 4160663 w 9495722"/>
              <a:gd name="connsiteY0" fmla="*/ 516895 h 5848486"/>
              <a:gd name="connsiteX1" fmla="*/ 9495722 w 9495722"/>
              <a:gd name="connsiteY1" fmla="*/ 515569 h 5848486"/>
              <a:gd name="connsiteX2" fmla="*/ 9495722 w 9495722"/>
              <a:gd name="connsiteY2" fmla="*/ 4955260 h 5848486"/>
              <a:gd name="connsiteX3" fmla="*/ 8607763 w 9495722"/>
              <a:gd name="connsiteY3" fmla="*/ 5843219 h 5848486"/>
              <a:gd name="connsiteX4" fmla="*/ 0 w 9495722"/>
              <a:gd name="connsiteY4" fmla="*/ 5848486 h 5848486"/>
              <a:gd name="connsiteX5" fmla="*/ 5266 w 9495722"/>
              <a:gd name="connsiteY5" fmla="*/ 512648 h 5848486"/>
              <a:gd name="connsiteX6" fmla="*/ 4160663 w 9495722"/>
              <a:gd name="connsiteY6" fmla="*/ 516895 h 5848486"/>
              <a:gd name="connsiteX0" fmla="*/ 4160663 w 9495722"/>
              <a:gd name="connsiteY0" fmla="*/ 4247 h 5335838"/>
              <a:gd name="connsiteX1" fmla="*/ 9495722 w 9495722"/>
              <a:gd name="connsiteY1" fmla="*/ 2921 h 5335838"/>
              <a:gd name="connsiteX2" fmla="*/ 9495722 w 9495722"/>
              <a:gd name="connsiteY2" fmla="*/ 4442612 h 5335838"/>
              <a:gd name="connsiteX3" fmla="*/ 8607763 w 9495722"/>
              <a:gd name="connsiteY3" fmla="*/ 5330571 h 5335838"/>
              <a:gd name="connsiteX4" fmla="*/ 0 w 9495722"/>
              <a:gd name="connsiteY4" fmla="*/ 5335838 h 5335838"/>
              <a:gd name="connsiteX5" fmla="*/ 5266 w 9495722"/>
              <a:gd name="connsiteY5" fmla="*/ 0 h 5335838"/>
              <a:gd name="connsiteX6" fmla="*/ 4160663 w 9495722"/>
              <a:gd name="connsiteY6" fmla="*/ 4247 h 5335838"/>
              <a:gd name="connsiteX0" fmla="*/ 4160663 w 9495722"/>
              <a:gd name="connsiteY0" fmla="*/ 898033 h 6229624"/>
              <a:gd name="connsiteX1" fmla="*/ 9495722 w 9495722"/>
              <a:gd name="connsiteY1" fmla="*/ 896707 h 6229624"/>
              <a:gd name="connsiteX2" fmla="*/ 9495722 w 9495722"/>
              <a:gd name="connsiteY2" fmla="*/ 5336398 h 6229624"/>
              <a:gd name="connsiteX3" fmla="*/ 8607763 w 9495722"/>
              <a:gd name="connsiteY3" fmla="*/ 6224357 h 6229624"/>
              <a:gd name="connsiteX4" fmla="*/ 0 w 9495722"/>
              <a:gd name="connsiteY4" fmla="*/ 6229624 h 6229624"/>
              <a:gd name="connsiteX5" fmla="*/ 5266 w 9495722"/>
              <a:gd name="connsiteY5" fmla="*/ 893786 h 6229624"/>
              <a:gd name="connsiteX6" fmla="*/ 4160663 w 9495722"/>
              <a:gd name="connsiteY6" fmla="*/ 898033 h 6229624"/>
              <a:gd name="connsiteX0" fmla="*/ 4160663 w 9495722"/>
              <a:gd name="connsiteY0" fmla="*/ 330340 h 5661931"/>
              <a:gd name="connsiteX1" fmla="*/ 9495722 w 9495722"/>
              <a:gd name="connsiteY1" fmla="*/ 329014 h 5661931"/>
              <a:gd name="connsiteX2" fmla="*/ 9495722 w 9495722"/>
              <a:gd name="connsiteY2" fmla="*/ 4768705 h 5661931"/>
              <a:gd name="connsiteX3" fmla="*/ 8607763 w 9495722"/>
              <a:gd name="connsiteY3" fmla="*/ 5656664 h 5661931"/>
              <a:gd name="connsiteX4" fmla="*/ 0 w 9495722"/>
              <a:gd name="connsiteY4" fmla="*/ 5661931 h 5661931"/>
              <a:gd name="connsiteX5" fmla="*/ 5266 w 9495722"/>
              <a:gd name="connsiteY5" fmla="*/ 326093 h 5661931"/>
              <a:gd name="connsiteX6" fmla="*/ 4160663 w 9495722"/>
              <a:gd name="connsiteY6" fmla="*/ 330340 h 5661931"/>
              <a:gd name="connsiteX0" fmla="*/ 5266 w 9495722"/>
              <a:gd name="connsiteY0" fmla="*/ 610872 h 5946710"/>
              <a:gd name="connsiteX1" fmla="*/ 9495722 w 9495722"/>
              <a:gd name="connsiteY1" fmla="*/ 613793 h 5946710"/>
              <a:gd name="connsiteX2" fmla="*/ 9495722 w 9495722"/>
              <a:gd name="connsiteY2" fmla="*/ 5053484 h 5946710"/>
              <a:gd name="connsiteX3" fmla="*/ 8607763 w 9495722"/>
              <a:gd name="connsiteY3" fmla="*/ 5941443 h 5946710"/>
              <a:gd name="connsiteX4" fmla="*/ 0 w 9495722"/>
              <a:gd name="connsiteY4" fmla="*/ 5946710 h 5946710"/>
              <a:gd name="connsiteX5" fmla="*/ 5266 w 9495722"/>
              <a:gd name="connsiteY5" fmla="*/ 610872 h 5946710"/>
              <a:gd name="connsiteX0" fmla="*/ 5266 w 9495722"/>
              <a:gd name="connsiteY0" fmla="*/ 610872 h 5946710"/>
              <a:gd name="connsiteX1" fmla="*/ 9495722 w 9495722"/>
              <a:gd name="connsiteY1" fmla="*/ 613793 h 5946710"/>
              <a:gd name="connsiteX2" fmla="*/ 9495722 w 9495722"/>
              <a:gd name="connsiteY2" fmla="*/ 5053484 h 5946710"/>
              <a:gd name="connsiteX3" fmla="*/ 8607763 w 9495722"/>
              <a:gd name="connsiteY3" fmla="*/ 5941443 h 5946710"/>
              <a:gd name="connsiteX4" fmla="*/ 0 w 9495722"/>
              <a:gd name="connsiteY4" fmla="*/ 5946710 h 5946710"/>
              <a:gd name="connsiteX5" fmla="*/ 5266 w 9495722"/>
              <a:gd name="connsiteY5" fmla="*/ 610872 h 5946710"/>
              <a:gd name="connsiteX0" fmla="*/ 5266 w 9495722"/>
              <a:gd name="connsiteY0" fmla="*/ 610872 h 5946710"/>
              <a:gd name="connsiteX1" fmla="*/ 9495722 w 9495722"/>
              <a:gd name="connsiteY1" fmla="*/ 613793 h 5946710"/>
              <a:gd name="connsiteX2" fmla="*/ 9495722 w 9495722"/>
              <a:gd name="connsiteY2" fmla="*/ 5053484 h 5946710"/>
              <a:gd name="connsiteX3" fmla="*/ 8607763 w 9495722"/>
              <a:gd name="connsiteY3" fmla="*/ 5941443 h 5946710"/>
              <a:gd name="connsiteX4" fmla="*/ 0 w 9495722"/>
              <a:gd name="connsiteY4" fmla="*/ 5946710 h 5946710"/>
              <a:gd name="connsiteX5" fmla="*/ 5266 w 9495722"/>
              <a:gd name="connsiteY5" fmla="*/ 610872 h 5946710"/>
              <a:gd name="connsiteX0" fmla="*/ 5266 w 9495722"/>
              <a:gd name="connsiteY0" fmla="*/ 1011369 h 6347207"/>
              <a:gd name="connsiteX1" fmla="*/ 9495722 w 9495722"/>
              <a:gd name="connsiteY1" fmla="*/ 1014290 h 6347207"/>
              <a:gd name="connsiteX2" fmla="*/ 9495722 w 9495722"/>
              <a:gd name="connsiteY2" fmla="*/ 5453981 h 6347207"/>
              <a:gd name="connsiteX3" fmla="*/ 8607763 w 9495722"/>
              <a:gd name="connsiteY3" fmla="*/ 6341940 h 6347207"/>
              <a:gd name="connsiteX4" fmla="*/ 0 w 9495722"/>
              <a:gd name="connsiteY4" fmla="*/ 6347207 h 6347207"/>
              <a:gd name="connsiteX5" fmla="*/ 5266 w 9495722"/>
              <a:gd name="connsiteY5" fmla="*/ 1011369 h 6347207"/>
              <a:gd name="connsiteX0" fmla="*/ 5266 w 9495722"/>
              <a:gd name="connsiteY0" fmla="*/ 1011369 h 6347207"/>
              <a:gd name="connsiteX1" fmla="*/ 9495722 w 9495722"/>
              <a:gd name="connsiteY1" fmla="*/ 1014290 h 6347207"/>
              <a:gd name="connsiteX2" fmla="*/ 9495722 w 9495722"/>
              <a:gd name="connsiteY2" fmla="*/ 5453981 h 6347207"/>
              <a:gd name="connsiteX3" fmla="*/ 8607763 w 9495722"/>
              <a:gd name="connsiteY3" fmla="*/ 6341940 h 6347207"/>
              <a:gd name="connsiteX4" fmla="*/ 0 w 9495722"/>
              <a:gd name="connsiteY4" fmla="*/ 6347207 h 6347207"/>
              <a:gd name="connsiteX5" fmla="*/ 5266 w 9495722"/>
              <a:gd name="connsiteY5" fmla="*/ 1011369 h 6347207"/>
              <a:gd name="connsiteX0" fmla="*/ 5266 w 9495724"/>
              <a:gd name="connsiteY0" fmla="*/ 394935 h 5730773"/>
              <a:gd name="connsiteX1" fmla="*/ 9495722 w 9495724"/>
              <a:gd name="connsiteY1" fmla="*/ 397856 h 5730773"/>
              <a:gd name="connsiteX2" fmla="*/ 9495722 w 9495724"/>
              <a:gd name="connsiteY2" fmla="*/ 4837547 h 5730773"/>
              <a:gd name="connsiteX3" fmla="*/ 8607763 w 9495724"/>
              <a:gd name="connsiteY3" fmla="*/ 5725506 h 5730773"/>
              <a:gd name="connsiteX4" fmla="*/ 0 w 9495724"/>
              <a:gd name="connsiteY4" fmla="*/ 5730773 h 5730773"/>
              <a:gd name="connsiteX5" fmla="*/ 5266 w 9495724"/>
              <a:gd name="connsiteY5" fmla="*/ 394935 h 5730773"/>
              <a:gd name="connsiteX0" fmla="*/ 5266 w 9495724"/>
              <a:gd name="connsiteY0" fmla="*/ 390882 h 5742522"/>
              <a:gd name="connsiteX1" fmla="*/ 9495722 w 9495724"/>
              <a:gd name="connsiteY1" fmla="*/ 409605 h 5742522"/>
              <a:gd name="connsiteX2" fmla="*/ 9495722 w 9495724"/>
              <a:gd name="connsiteY2" fmla="*/ 4849296 h 5742522"/>
              <a:gd name="connsiteX3" fmla="*/ 8607763 w 9495724"/>
              <a:gd name="connsiteY3" fmla="*/ 5737255 h 5742522"/>
              <a:gd name="connsiteX4" fmla="*/ 0 w 9495724"/>
              <a:gd name="connsiteY4" fmla="*/ 5742522 h 5742522"/>
              <a:gd name="connsiteX5" fmla="*/ 5266 w 9495724"/>
              <a:gd name="connsiteY5" fmla="*/ 390882 h 5742522"/>
              <a:gd name="connsiteX0" fmla="*/ 5266 w 9495724"/>
              <a:gd name="connsiteY0" fmla="*/ 511 h 5352151"/>
              <a:gd name="connsiteX1" fmla="*/ 9495722 w 9495724"/>
              <a:gd name="connsiteY1" fmla="*/ 19234 h 5352151"/>
              <a:gd name="connsiteX2" fmla="*/ 9495722 w 9495724"/>
              <a:gd name="connsiteY2" fmla="*/ 4458925 h 5352151"/>
              <a:gd name="connsiteX3" fmla="*/ 8607763 w 9495724"/>
              <a:gd name="connsiteY3" fmla="*/ 5346884 h 5352151"/>
              <a:gd name="connsiteX4" fmla="*/ 0 w 9495724"/>
              <a:gd name="connsiteY4" fmla="*/ 5352151 h 5352151"/>
              <a:gd name="connsiteX5" fmla="*/ 5266 w 9495724"/>
              <a:gd name="connsiteY5" fmla="*/ 511 h 5352151"/>
              <a:gd name="connsiteX0" fmla="*/ 5266 w 9495724"/>
              <a:gd name="connsiteY0" fmla="*/ 3939 h 5355579"/>
              <a:gd name="connsiteX1" fmla="*/ 9495722 w 9495724"/>
              <a:gd name="connsiteY1" fmla="*/ 1593 h 5355579"/>
              <a:gd name="connsiteX2" fmla="*/ 9495722 w 9495724"/>
              <a:gd name="connsiteY2" fmla="*/ 4462353 h 5355579"/>
              <a:gd name="connsiteX3" fmla="*/ 8607763 w 9495724"/>
              <a:gd name="connsiteY3" fmla="*/ 5350312 h 5355579"/>
              <a:gd name="connsiteX4" fmla="*/ 0 w 9495724"/>
              <a:gd name="connsiteY4" fmla="*/ 5355579 h 5355579"/>
              <a:gd name="connsiteX5" fmla="*/ 5266 w 9495724"/>
              <a:gd name="connsiteY5" fmla="*/ 3939 h 5355579"/>
              <a:gd name="connsiteX0" fmla="*/ 15805 w 9506263"/>
              <a:gd name="connsiteY0" fmla="*/ 3939 h 5355579"/>
              <a:gd name="connsiteX1" fmla="*/ 9506261 w 9506263"/>
              <a:gd name="connsiteY1" fmla="*/ 1593 h 5355579"/>
              <a:gd name="connsiteX2" fmla="*/ 9506261 w 9506263"/>
              <a:gd name="connsiteY2" fmla="*/ 4462353 h 5355579"/>
              <a:gd name="connsiteX3" fmla="*/ 8618302 w 9506263"/>
              <a:gd name="connsiteY3" fmla="*/ 5350312 h 5355579"/>
              <a:gd name="connsiteX4" fmla="*/ 0 w 9506263"/>
              <a:gd name="connsiteY4" fmla="*/ 5355579 h 5355579"/>
              <a:gd name="connsiteX5" fmla="*/ 15805 w 9506263"/>
              <a:gd name="connsiteY5" fmla="*/ 3939 h 5355579"/>
              <a:gd name="connsiteX0" fmla="*/ 457 w 9511994"/>
              <a:gd name="connsiteY0" fmla="*/ 3939 h 5355579"/>
              <a:gd name="connsiteX1" fmla="*/ 9511992 w 9511994"/>
              <a:gd name="connsiteY1" fmla="*/ 1593 h 5355579"/>
              <a:gd name="connsiteX2" fmla="*/ 9511992 w 9511994"/>
              <a:gd name="connsiteY2" fmla="*/ 4462353 h 5355579"/>
              <a:gd name="connsiteX3" fmla="*/ 8624033 w 9511994"/>
              <a:gd name="connsiteY3" fmla="*/ 5350312 h 5355579"/>
              <a:gd name="connsiteX4" fmla="*/ 5731 w 9511994"/>
              <a:gd name="connsiteY4" fmla="*/ 5355579 h 5355579"/>
              <a:gd name="connsiteX5" fmla="*/ 457 w 9511994"/>
              <a:gd name="connsiteY5" fmla="*/ 3939 h 53555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511994" h="5355579">
                <a:moveTo>
                  <a:pt x="457" y="3939"/>
                </a:moveTo>
                <a:cubicBezTo>
                  <a:pt x="-2399" y="36"/>
                  <a:pt x="9517259" y="-1379"/>
                  <a:pt x="9511992" y="1593"/>
                </a:cubicBezTo>
                <a:lnTo>
                  <a:pt x="9511992" y="4462353"/>
                </a:lnTo>
                <a:cubicBezTo>
                  <a:pt x="9511992" y="4952759"/>
                  <a:pt x="9114439" y="5350312"/>
                  <a:pt x="8624033" y="5350312"/>
                </a:cubicBezTo>
                <a:lnTo>
                  <a:pt x="5731" y="5355579"/>
                </a:lnTo>
                <a:cubicBezTo>
                  <a:pt x="7486" y="3576966"/>
                  <a:pt x="-2176" y="2671858"/>
                  <a:pt x="457" y="3939"/>
                </a:cubicBezTo>
                <a:close/>
              </a:path>
            </a:pathLst>
          </a:custGeom>
          <a:solidFill>
            <a:schemeClr val="bg1"/>
          </a:solidFill>
          <a:ln w="50800">
            <a:noFill/>
            <a:miter lim="800000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1351"/>
          </a:p>
        </p:txBody>
      </p:sp>
      <p:sp>
        <p:nvSpPr>
          <p:cNvPr id="11" name="Marcador de texto 2">
            <a:extLst>
              <a:ext uri="{FF2B5EF4-FFF2-40B4-BE49-F238E27FC236}">
                <a16:creationId xmlns:a16="http://schemas.microsoft.com/office/drawing/2014/main" id="{11114E4D-45B7-1986-9515-4EF10C1329CA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425403" y="6417751"/>
            <a:ext cx="5341197" cy="195084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spcBef>
                <a:spcPts val="0"/>
              </a:spcBef>
              <a:buNone/>
              <a:defRPr sz="933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noProof="0"/>
              <a:t>Lorem ipsum dolor sit </a:t>
            </a:r>
            <a:r>
              <a:rPr lang="en-US" noProof="0" err="1"/>
              <a:t>amet</a:t>
            </a:r>
            <a:r>
              <a:rPr lang="en-US" noProof="0"/>
              <a:t>.</a:t>
            </a:r>
          </a:p>
        </p:txBody>
      </p:sp>
      <p:sp>
        <p:nvSpPr>
          <p:cNvPr id="2" name="Marcador de texto 6">
            <a:extLst>
              <a:ext uri="{FF2B5EF4-FFF2-40B4-BE49-F238E27FC236}">
                <a16:creationId xmlns:a16="http://schemas.microsoft.com/office/drawing/2014/main" id="{AE3012C9-95D0-6C57-15A6-7BDE7BBCCD3E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239184" y="6341105"/>
            <a:ext cx="960965" cy="310299"/>
          </a:xfrm>
          <a:custGeom>
            <a:avLst/>
            <a:gdLst>
              <a:gd name="connsiteX0" fmla="*/ 0 w 2135188"/>
              <a:gd name="connsiteY0" fmla="*/ 0 h 4159250"/>
              <a:gd name="connsiteX1" fmla="*/ 2135188 w 2135188"/>
              <a:gd name="connsiteY1" fmla="*/ 0 h 4159250"/>
              <a:gd name="connsiteX2" fmla="*/ 2135188 w 2135188"/>
              <a:gd name="connsiteY2" fmla="*/ 4159250 h 4159250"/>
              <a:gd name="connsiteX3" fmla="*/ 0 w 2135188"/>
              <a:gd name="connsiteY3" fmla="*/ 4159250 h 4159250"/>
              <a:gd name="connsiteX4" fmla="*/ 0 w 2135188"/>
              <a:gd name="connsiteY4" fmla="*/ 0 h 4159250"/>
              <a:gd name="connsiteX0" fmla="*/ 0 w 2141605"/>
              <a:gd name="connsiteY0" fmla="*/ 0 h 4159250"/>
              <a:gd name="connsiteX1" fmla="*/ 2135188 w 2141605"/>
              <a:gd name="connsiteY1" fmla="*/ 0 h 4159250"/>
              <a:gd name="connsiteX2" fmla="*/ 2141605 w 2141605"/>
              <a:gd name="connsiteY2" fmla="*/ 3889743 h 4159250"/>
              <a:gd name="connsiteX3" fmla="*/ 0 w 2141605"/>
              <a:gd name="connsiteY3" fmla="*/ 4159250 h 4159250"/>
              <a:gd name="connsiteX4" fmla="*/ 0 w 2141605"/>
              <a:gd name="connsiteY4" fmla="*/ 0 h 4159250"/>
              <a:gd name="connsiteX0" fmla="*/ 0 w 2141605"/>
              <a:gd name="connsiteY0" fmla="*/ 0 h 4159250"/>
              <a:gd name="connsiteX1" fmla="*/ 2135188 w 2141605"/>
              <a:gd name="connsiteY1" fmla="*/ 0 h 4159250"/>
              <a:gd name="connsiteX2" fmla="*/ 2141605 w 2141605"/>
              <a:gd name="connsiteY2" fmla="*/ 3889743 h 4159250"/>
              <a:gd name="connsiteX3" fmla="*/ 1777566 w 2141605"/>
              <a:gd name="connsiteY3" fmla="*/ 3935379 h 4159250"/>
              <a:gd name="connsiteX4" fmla="*/ 0 w 2141605"/>
              <a:gd name="connsiteY4" fmla="*/ 4159250 h 4159250"/>
              <a:gd name="connsiteX5" fmla="*/ 0 w 2141605"/>
              <a:gd name="connsiteY5" fmla="*/ 0 h 4159250"/>
              <a:gd name="connsiteX0" fmla="*/ 0 w 2141605"/>
              <a:gd name="connsiteY0" fmla="*/ 0 h 4159250"/>
              <a:gd name="connsiteX1" fmla="*/ 2135188 w 2141605"/>
              <a:gd name="connsiteY1" fmla="*/ 0 h 4159250"/>
              <a:gd name="connsiteX2" fmla="*/ 2141605 w 2141605"/>
              <a:gd name="connsiteY2" fmla="*/ 3889743 h 4159250"/>
              <a:gd name="connsiteX3" fmla="*/ 1873819 w 2141605"/>
              <a:gd name="connsiteY3" fmla="*/ 4156760 h 4159250"/>
              <a:gd name="connsiteX4" fmla="*/ 0 w 2141605"/>
              <a:gd name="connsiteY4" fmla="*/ 4159250 h 4159250"/>
              <a:gd name="connsiteX5" fmla="*/ 0 w 2141605"/>
              <a:gd name="connsiteY5" fmla="*/ 0 h 4159250"/>
              <a:gd name="connsiteX0" fmla="*/ 0 w 2141605"/>
              <a:gd name="connsiteY0" fmla="*/ 0 h 4159250"/>
              <a:gd name="connsiteX1" fmla="*/ 2135188 w 2141605"/>
              <a:gd name="connsiteY1" fmla="*/ 0 h 4159250"/>
              <a:gd name="connsiteX2" fmla="*/ 2141605 w 2141605"/>
              <a:gd name="connsiteY2" fmla="*/ 3889743 h 4159250"/>
              <a:gd name="connsiteX3" fmla="*/ 1873819 w 2141605"/>
              <a:gd name="connsiteY3" fmla="*/ 4156760 h 4159250"/>
              <a:gd name="connsiteX4" fmla="*/ 0 w 2141605"/>
              <a:gd name="connsiteY4" fmla="*/ 4159250 h 4159250"/>
              <a:gd name="connsiteX5" fmla="*/ 0 w 2141605"/>
              <a:gd name="connsiteY5" fmla="*/ 0 h 4159250"/>
              <a:gd name="connsiteX0" fmla="*/ 0 w 2141607"/>
              <a:gd name="connsiteY0" fmla="*/ 0 h 4159250"/>
              <a:gd name="connsiteX1" fmla="*/ 2135188 w 2141607"/>
              <a:gd name="connsiteY1" fmla="*/ 0 h 4159250"/>
              <a:gd name="connsiteX2" fmla="*/ 2141605 w 2141607"/>
              <a:gd name="connsiteY2" fmla="*/ 3889743 h 4159250"/>
              <a:gd name="connsiteX3" fmla="*/ 1873819 w 2141607"/>
              <a:gd name="connsiteY3" fmla="*/ 4156760 h 4159250"/>
              <a:gd name="connsiteX4" fmla="*/ 0 w 2141607"/>
              <a:gd name="connsiteY4" fmla="*/ 4159250 h 4159250"/>
              <a:gd name="connsiteX5" fmla="*/ 0 w 2141607"/>
              <a:gd name="connsiteY5" fmla="*/ 0 h 4159250"/>
              <a:gd name="connsiteX0" fmla="*/ 0 w 2141605"/>
              <a:gd name="connsiteY0" fmla="*/ 0 h 4159250"/>
              <a:gd name="connsiteX1" fmla="*/ 2135188 w 2141605"/>
              <a:gd name="connsiteY1" fmla="*/ 0 h 4159250"/>
              <a:gd name="connsiteX2" fmla="*/ 2141605 w 2141605"/>
              <a:gd name="connsiteY2" fmla="*/ 3889743 h 4159250"/>
              <a:gd name="connsiteX3" fmla="*/ 1873819 w 2141605"/>
              <a:gd name="connsiteY3" fmla="*/ 4156760 h 4159250"/>
              <a:gd name="connsiteX4" fmla="*/ 0 w 2141605"/>
              <a:gd name="connsiteY4" fmla="*/ 4159250 h 4159250"/>
              <a:gd name="connsiteX5" fmla="*/ 0 w 2141605"/>
              <a:gd name="connsiteY5" fmla="*/ 0 h 4159250"/>
              <a:gd name="connsiteX0" fmla="*/ 0 w 2141605"/>
              <a:gd name="connsiteY0" fmla="*/ 0 h 4159250"/>
              <a:gd name="connsiteX1" fmla="*/ 2135188 w 2141605"/>
              <a:gd name="connsiteY1" fmla="*/ 0 h 4159250"/>
              <a:gd name="connsiteX2" fmla="*/ 2141605 w 2141605"/>
              <a:gd name="connsiteY2" fmla="*/ 3889743 h 4159250"/>
              <a:gd name="connsiteX3" fmla="*/ 1873819 w 2141605"/>
              <a:gd name="connsiteY3" fmla="*/ 4156760 h 4159250"/>
              <a:gd name="connsiteX4" fmla="*/ 0 w 2141605"/>
              <a:gd name="connsiteY4" fmla="*/ 4159250 h 4159250"/>
              <a:gd name="connsiteX5" fmla="*/ 0 w 2141605"/>
              <a:gd name="connsiteY5" fmla="*/ 0 h 4159250"/>
              <a:gd name="connsiteX0" fmla="*/ 0 w 2141605"/>
              <a:gd name="connsiteY0" fmla="*/ 2181340 h 4159250"/>
              <a:gd name="connsiteX1" fmla="*/ 2135188 w 2141605"/>
              <a:gd name="connsiteY1" fmla="*/ 0 h 4159250"/>
              <a:gd name="connsiteX2" fmla="*/ 2141605 w 2141605"/>
              <a:gd name="connsiteY2" fmla="*/ 3889743 h 4159250"/>
              <a:gd name="connsiteX3" fmla="*/ 1873819 w 2141605"/>
              <a:gd name="connsiteY3" fmla="*/ 4156760 h 4159250"/>
              <a:gd name="connsiteX4" fmla="*/ 0 w 2141605"/>
              <a:gd name="connsiteY4" fmla="*/ 4159250 h 4159250"/>
              <a:gd name="connsiteX5" fmla="*/ 0 w 2141605"/>
              <a:gd name="connsiteY5" fmla="*/ 2181340 h 4159250"/>
              <a:gd name="connsiteX0" fmla="*/ 0 w 2141605"/>
              <a:gd name="connsiteY0" fmla="*/ 5509 h 1983419"/>
              <a:gd name="connsiteX1" fmla="*/ 2140697 w 2141605"/>
              <a:gd name="connsiteY1" fmla="*/ 0 h 1983419"/>
              <a:gd name="connsiteX2" fmla="*/ 2141605 w 2141605"/>
              <a:gd name="connsiteY2" fmla="*/ 1713912 h 1983419"/>
              <a:gd name="connsiteX3" fmla="*/ 1873819 w 2141605"/>
              <a:gd name="connsiteY3" fmla="*/ 1980929 h 1983419"/>
              <a:gd name="connsiteX4" fmla="*/ 0 w 2141605"/>
              <a:gd name="connsiteY4" fmla="*/ 1983419 h 1983419"/>
              <a:gd name="connsiteX5" fmla="*/ 0 w 2141605"/>
              <a:gd name="connsiteY5" fmla="*/ 5509 h 1983419"/>
              <a:gd name="connsiteX0" fmla="*/ 309752 w 2141605"/>
              <a:gd name="connsiteY0" fmla="*/ 149478 h 1983419"/>
              <a:gd name="connsiteX1" fmla="*/ 2140697 w 2141605"/>
              <a:gd name="connsiteY1" fmla="*/ 0 h 1983419"/>
              <a:gd name="connsiteX2" fmla="*/ 2141605 w 2141605"/>
              <a:gd name="connsiteY2" fmla="*/ 1713912 h 1983419"/>
              <a:gd name="connsiteX3" fmla="*/ 1873819 w 2141605"/>
              <a:gd name="connsiteY3" fmla="*/ 1980929 h 1983419"/>
              <a:gd name="connsiteX4" fmla="*/ 0 w 2141605"/>
              <a:gd name="connsiteY4" fmla="*/ 1983419 h 1983419"/>
              <a:gd name="connsiteX5" fmla="*/ 309752 w 2141605"/>
              <a:gd name="connsiteY5" fmla="*/ 149478 h 1983419"/>
              <a:gd name="connsiteX0" fmla="*/ 309752 w 2145076"/>
              <a:gd name="connsiteY0" fmla="*/ 1146 h 1835087"/>
              <a:gd name="connsiteX1" fmla="*/ 2145060 w 2145076"/>
              <a:gd name="connsiteY1" fmla="*/ 0 h 1835087"/>
              <a:gd name="connsiteX2" fmla="*/ 2141605 w 2145076"/>
              <a:gd name="connsiteY2" fmla="*/ 1565580 h 1835087"/>
              <a:gd name="connsiteX3" fmla="*/ 1873819 w 2145076"/>
              <a:gd name="connsiteY3" fmla="*/ 1832597 h 1835087"/>
              <a:gd name="connsiteX4" fmla="*/ 0 w 2145076"/>
              <a:gd name="connsiteY4" fmla="*/ 1835087 h 1835087"/>
              <a:gd name="connsiteX5" fmla="*/ 309752 w 2145076"/>
              <a:gd name="connsiteY5" fmla="*/ 1146 h 1835087"/>
              <a:gd name="connsiteX0" fmla="*/ 0 w 1835324"/>
              <a:gd name="connsiteY0" fmla="*/ 1146 h 1832905"/>
              <a:gd name="connsiteX1" fmla="*/ 1835308 w 1835324"/>
              <a:gd name="connsiteY1" fmla="*/ 0 h 1832905"/>
              <a:gd name="connsiteX2" fmla="*/ 1831853 w 1835324"/>
              <a:gd name="connsiteY2" fmla="*/ 1565580 h 1832905"/>
              <a:gd name="connsiteX3" fmla="*/ 1564067 w 1835324"/>
              <a:gd name="connsiteY3" fmla="*/ 1832597 h 1832905"/>
              <a:gd name="connsiteX4" fmla="*/ 4363 w 1835324"/>
              <a:gd name="connsiteY4" fmla="*/ 1832905 h 1832905"/>
              <a:gd name="connsiteX5" fmla="*/ 0 w 1835324"/>
              <a:gd name="connsiteY5" fmla="*/ 1146 h 1832905"/>
              <a:gd name="connsiteX0" fmla="*/ 0 w 1835324"/>
              <a:gd name="connsiteY0" fmla="*/ 1146 h 1833598"/>
              <a:gd name="connsiteX1" fmla="*/ 1835308 w 1835324"/>
              <a:gd name="connsiteY1" fmla="*/ 0 h 1833598"/>
              <a:gd name="connsiteX2" fmla="*/ 1831853 w 1835324"/>
              <a:gd name="connsiteY2" fmla="*/ 1565580 h 1833598"/>
              <a:gd name="connsiteX3" fmla="*/ 1564067 w 1835324"/>
              <a:gd name="connsiteY3" fmla="*/ 1832597 h 1833598"/>
              <a:gd name="connsiteX4" fmla="*/ 4363 w 1835324"/>
              <a:gd name="connsiteY4" fmla="*/ 1832905 h 1833598"/>
              <a:gd name="connsiteX5" fmla="*/ 0 w 1835324"/>
              <a:gd name="connsiteY5" fmla="*/ 1146 h 1833598"/>
              <a:gd name="connsiteX0" fmla="*/ 0 w 1835324"/>
              <a:gd name="connsiteY0" fmla="*/ 1146 h 1835238"/>
              <a:gd name="connsiteX1" fmla="*/ 1835308 w 1835324"/>
              <a:gd name="connsiteY1" fmla="*/ 0 h 1835238"/>
              <a:gd name="connsiteX2" fmla="*/ 1831853 w 1835324"/>
              <a:gd name="connsiteY2" fmla="*/ 1565580 h 1835238"/>
              <a:gd name="connsiteX3" fmla="*/ 1541918 w 1835324"/>
              <a:gd name="connsiteY3" fmla="*/ 1834611 h 1835238"/>
              <a:gd name="connsiteX4" fmla="*/ 4363 w 1835324"/>
              <a:gd name="connsiteY4" fmla="*/ 1832905 h 1835238"/>
              <a:gd name="connsiteX5" fmla="*/ 0 w 1835324"/>
              <a:gd name="connsiteY5" fmla="*/ 1146 h 1835238"/>
              <a:gd name="connsiteX0" fmla="*/ 0 w 1861241"/>
              <a:gd name="connsiteY0" fmla="*/ 1146 h 1837730"/>
              <a:gd name="connsiteX1" fmla="*/ 1835308 w 1861241"/>
              <a:gd name="connsiteY1" fmla="*/ 0 h 1837730"/>
              <a:gd name="connsiteX2" fmla="*/ 1831853 w 1861241"/>
              <a:gd name="connsiteY2" fmla="*/ 1565580 h 1837730"/>
              <a:gd name="connsiteX3" fmla="*/ 1828336 w 1861241"/>
              <a:gd name="connsiteY3" fmla="*/ 1837313 h 1837730"/>
              <a:gd name="connsiteX4" fmla="*/ 4363 w 1861241"/>
              <a:gd name="connsiteY4" fmla="*/ 1832905 h 1837730"/>
              <a:gd name="connsiteX5" fmla="*/ 0 w 1861241"/>
              <a:gd name="connsiteY5" fmla="*/ 1146 h 1837730"/>
              <a:gd name="connsiteX0" fmla="*/ 0 w 1861241"/>
              <a:gd name="connsiteY0" fmla="*/ 1146 h 1837730"/>
              <a:gd name="connsiteX1" fmla="*/ 1835308 w 1861241"/>
              <a:gd name="connsiteY1" fmla="*/ 0 h 1837730"/>
              <a:gd name="connsiteX2" fmla="*/ 1831853 w 1861241"/>
              <a:gd name="connsiteY2" fmla="*/ 1565580 h 1837730"/>
              <a:gd name="connsiteX3" fmla="*/ 1828336 w 1861241"/>
              <a:gd name="connsiteY3" fmla="*/ 1837313 h 1837730"/>
              <a:gd name="connsiteX4" fmla="*/ 4363 w 1861241"/>
              <a:gd name="connsiteY4" fmla="*/ 1832905 h 1837730"/>
              <a:gd name="connsiteX5" fmla="*/ 0 w 1861241"/>
              <a:gd name="connsiteY5" fmla="*/ 1146 h 1837730"/>
              <a:gd name="connsiteX0" fmla="*/ 0 w 1861241"/>
              <a:gd name="connsiteY0" fmla="*/ 1146 h 1837730"/>
              <a:gd name="connsiteX1" fmla="*/ 1835308 w 1861241"/>
              <a:gd name="connsiteY1" fmla="*/ 0 h 1837730"/>
              <a:gd name="connsiteX2" fmla="*/ 1831853 w 1861241"/>
              <a:gd name="connsiteY2" fmla="*/ 1565580 h 1837730"/>
              <a:gd name="connsiteX3" fmla="*/ 1828336 w 1861241"/>
              <a:gd name="connsiteY3" fmla="*/ 1837313 h 1837730"/>
              <a:gd name="connsiteX4" fmla="*/ 4363 w 1861241"/>
              <a:gd name="connsiteY4" fmla="*/ 1832905 h 1837730"/>
              <a:gd name="connsiteX5" fmla="*/ 0 w 1861241"/>
              <a:gd name="connsiteY5" fmla="*/ 1146 h 1837730"/>
              <a:gd name="connsiteX0" fmla="*/ 0 w 1861241"/>
              <a:gd name="connsiteY0" fmla="*/ 1146 h 1837730"/>
              <a:gd name="connsiteX1" fmla="*/ 1835308 w 1861241"/>
              <a:gd name="connsiteY1" fmla="*/ 0 h 1837730"/>
              <a:gd name="connsiteX2" fmla="*/ 1831853 w 1861241"/>
              <a:gd name="connsiteY2" fmla="*/ 1565580 h 1837730"/>
              <a:gd name="connsiteX3" fmla="*/ 1828336 w 1861241"/>
              <a:gd name="connsiteY3" fmla="*/ 1837313 h 1837730"/>
              <a:gd name="connsiteX4" fmla="*/ 4363 w 1861241"/>
              <a:gd name="connsiteY4" fmla="*/ 1832905 h 1837730"/>
              <a:gd name="connsiteX5" fmla="*/ 0 w 1861241"/>
              <a:gd name="connsiteY5" fmla="*/ 1146 h 1837730"/>
              <a:gd name="connsiteX0" fmla="*/ 0 w 1861241"/>
              <a:gd name="connsiteY0" fmla="*/ 1146 h 1837730"/>
              <a:gd name="connsiteX1" fmla="*/ 1835308 w 1861241"/>
              <a:gd name="connsiteY1" fmla="*/ 0 h 1837730"/>
              <a:gd name="connsiteX2" fmla="*/ 1831853 w 1861241"/>
              <a:gd name="connsiteY2" fmla="*/ 1565580 h 1837730"/>
              <a:gd name="connsiteX3" fmla="*/ 1828336 w 1861241"/>
              <a:gd name="connsiteY3" fmla="*/ 1837313 h 1837730"/>
              <a:gd name="connsiteX4" fmla="*/ 4363 w 1861241"/>
              <a:gd name="connsiteY4" fmla="*/ 1832905 h 1837730"/>
              <a:gd name="connsiteX5" fmla="*/ 0 w 1861241"/>
              <a:gd name="connsiteY5" fmla="*/ 1146 h 1837730"/>
              <a:gd name="connsiteX0" fmla="*/ 0 w 1835338"/>
              <a:gd name="connsiteY0" fmla="*/ 1146 h 1837318"/>
              <a:gd name="connsiteX1" fmla="*/ 1835308 w 1835338"/>
              <a:gd name="connsiteY1" fmla="*/ 0 h 1837318"/>
              <a:gd name="connsiteX2" fmla="*/ 1831853 w 1835338"/>
              <a:gd name="connsiteY2" fmla="*/ 1565580 h 1837318"/>
              <a:gd name="connsiteX3" fmla="*/ 1828336 w 1835338"/>
              <a:gd name="connsiteY3" fmla="*/ 1837313 h 1837318"/>
              <a:gd name="connsiteX4" fmla="*/ 4363 w 1835338"/>
              <a:gd name="connsiteY4" fmla="*/ 1832905 h 1837318"/>
              <a:gd name="connsiteX5" fmla="*/ 0 w 1835338"/>
              <a:gd name="connsiteY5" fmla="*/ 1146 h 1837318"/>
              <a:gd name="connsiteX0" fmla="*/ 0 w 1835338"/>
              <a:gd name="connsiteY0" fmla="*/ 1146 h 1837479"/>
              <a:gd name="connsiteX1" fmla="*/ 1835308 w 1835338"/>
              <a:gd name="connsiteY1" fmla="*/ 0 h 1837479"/>
              <a:gd name="connsiteX2" fmla="*/ 1831853 w 1835338"/>
              <a:gd name="connsiteY2" fmla="*/ 1565580 h 1837479"/>
              <a:gd name="connsiteX3" fmla="*/ 1828336 w 1835338"/>
              <a:gd name="connsiteY3" fmla="*/ 1837313 h 1837479"/>
              <a:gd name="connsiteX4" fmla="*/ 4363 w 1835338"/>
              <a:gd name="connsiteY4" fmla="*/ 1832905 h 1837479"/>
              <a:gd name="connsiteX5" fmla="*/ 0 w 1835338"/>
              <a:gd name="connsiteY5" fmla="*/ 1146 h 1837479"/>
              <a:gd name="connsiteX0" fmla="*/ 0 w 1835338"/>
              <a:gd name="connsiteY0" fmla="*/ 1146 h 1837479"/>
              <a:gd name="connsiteX1" fmla="*/ 1835308 w 1835338"/>
              <a:gd name="connsiteY1" fmla="*/ 0 h 1837479"/>
              <a:gd name="connsiteX2" fmla="*/ 1831853 w 1835338"/>
              <a:gd name="connsiteY2" fmla="*/ 1565580 h 1837479"/>
              <a:gd name="connsiteX3" fmla="*/ 1828336 w 1835338"/>
              <a:gd name="connsiteY3" fmla="*/ 1837313 h 1837479"/>
              <a:gd name="connsiteX4" fmla="*/ 4363 w 1835338"/>
              <a:gd name="connsiteY4" fmla="*/ 1832905 h 1837479"/>
              <a:gd name="connsiteX5" fmla="*/ 0 w 1835338"/>
              <a:gd name="connsiteY5" fmla="*/ 1146 h 1837479"/>
              <a:gd name="connsiteX0" fmla="*/ 0 w 1835338"/>
              <a:gd name="connsiteY0" fmla="*/ 1146 h 1837479"/>
              <a:gd name="connsiteX1" fmla="*/ 1835308 w 1835338"/>
              <a:gd name="connsiteY1" fmla="*/ 0 h 1837479"/>
              <a:gd name="connsiteX2" fmla="*/ 1831853 w 1835338"/>
              <a:gd name="connsiteY2" fmla="*/ 1565580 h 1837479"/>
              <a:gd name="connsiteX3" fmla="*/ 1828336 w 1835338"/>
              <a:gd name="connsiteY3" fmla="*/ 1837313 h 1837479"/>
              <a:gd name="connsiteX4" fmla="*/ 4363 w 1835338"/>
              <a:gd name="connsiteY4" fmla="*/ 1832905 h 1837479"/>
              <a:gd name="connsiteX5" fmla="*/ 0 w 1835338"/>
              <a:gd name="connsiteY5" fmla="*/ 1146 h 18374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835338" h="1837479">
                <a:moveTo>
                  <a:pt x="0" y="1146"/>
                </a:moveTo>
                <a:lnTo>
                  <a:pt x="1835308" y="0"/>
                </a:lnTo>
                <a:cubicBezTo>
                  <a:pt x="1835611" y="571304"/>
                  <a:pt x="1833580" y="782790"/>
                  <a:pt x="1831853" y="1565580"/>
                </a:cubicBezTo>
                <a:cubicBezTo>
                  <a:pt x="1826010" y="1792548"/>
                  <a:pt x="1827613" y="1840742"/>
                  <a:pt x="1828336" y="1837313"/>
                </a:cubicBezTo>
                <a:cubicBezTo>
                  <a:pt x="1829264" y="1832909"/>
                  <a:pt x="524264" y="1832802"/>
                  <a:pt x="4363" y="1832905"/>
                </a:cubicBezTo>
                <a:cubicBezTo>
                  <a:pt x="2909" y="1222319"/>
                  <a:pt x="1454" y="611732"/>
                  <a:pt x="0" y="1146"/>
                </a:cubicBezTo>
                <a:close/>
              </a:path>
            </a:pathLst>
          </a:custGeo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 w="50800">
            <a:noFill/>
          </a:ln>
        </p:spPr>
        <p:txBody>
          <a:bodyPr lIns="324000" tIns="324000" rIns="324000" bIns="324000"/>
          <a:lstStyle>
            <a:lvl1pPr marL="0" indent="0">
              <a:lnSpc>
                <a:spcPts val="5333"/>
              </a:lnSpc>
              <a:spcBef>
                <a:spcPts val="0"/>
              </a:spcBef>
              <a:buNone/>
              <a:defRPr sz="5067" baseline="0">
                <a:solidFill>
                  <a:schemeClr val="accent1"/>
                </a:solidFill>
              </a:defRPr>
            </a:lvl1pPr>
            <a:lvl2pPr marL="457178" indent="0">
              <a:lnSpc>
                <a:spcPct val="100000"/>
              </a:lnSpc>
              <a:buNone/>
              <a:defRPr sz="1400">
                <a:solidFill>
                  <a:schemeClr val="bg1"/>
                </a:solidFill>
              </a:defRPr>
            </a:lvl2pPr>
            <a:lvl3pPr marL="914354" indent="0">
              <a:lnSpc>
                <a:spcPct val="100000"/>
              </a:lnSpc>
              <a:buNone/>
              <a:defRPr sz="1400">
                <a:solidFill>
                  <a:schemeClr val="bg1"/>
                </a:solidFill>
              </a:defRPr>
            </a:lvl3pPr>
            <a:lvl4pPr marL="1371532" indent="0">
              <a:lnSpc>
                <a:spcPct val="100000"/>
              </a:lnSpc>
              <a:buNone/>
              <a:defRPr sz="1400">
                <a:solidFill>
                  <a:schemeClr val="bg1"/>
                </a:solidFill>
              </a:defRPr>
            </a:lvl4pPr>
            <a:lvl5pPr marL="1828709" indent="0">
              <a:lnSpc>
                <a:spcPct val="100000"/>
              </a:lnSpc>
              <a:buNone/>
              <a:defRPr sz="1400">
                <a:solidFill>
                  <a:schemeClr val="bg1"/>
                </a:solidFill>
              </a:defRPr>
            </a:lvl5pPr>
            <a:lvl6pPr marL="2285886" indent="0">
              <a:lnSpc>
                <a:spcPct val="100000"/>
              </a:lnSpc>
              <a:buNone/>
              <a:defRPr sz="1400">
                <a:solidFill>
                  <a:schemeClr val="bg1"/>
                </a:solidFill>
              </a:defRPr>
            </a:lvl6pPr>
            <a:lvl7pPr marL="2743062" indent="0">
              <a:lnSpc>
                <a:spcPct val="100000"/>
              </a:lnSpc>
              <a:buNone/>
              <a:defRPr sz="1400">
                <a:solidFill>
                  <a:schemeClr val="bg1"/>
                </a:solidFill>
              </a:defRPr>
            </a:lvl7pPr>
            <a:lvl8pPr marL="3200240" indent="0">
              <a:lnSpc>
                <a:spcPct val="100000"/>
              </a:lnSpc>
              <a:buNone/>
              <a:defRPr sz="1400">
                <a:solidFill>
                  <a:schemeClr val="bg1"/>
                </a:solidFill>
              </a:defRPr>
            </a:lvl8pPr>
            <a:lvl9pPr marL="3657418" indent="0">
              <a:lnSpc>
                <a:spcPct val="100000"/>
              </a:lnSpc>
              <a:buNone/>
              <a:defRPr sz="14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12" name="Título 1">
            <a:extLst>
              <a:ext uri="{FF2B5EF4-FFF2-40B4-BE49-F238E27FC236}">
                <a16:creationId xmlns:a16="http://schemas.microsoft.com/office/drawing/2014/main" id="{30130373-B9C0-CA19-6B60-74E6D6DAE4B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68351" y="745945"/>
            <a:ext cx="10655300" cy="1921569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354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800" baseline="0">
                <a:solidFill>
                  <a:schemeClr val="accent2"/>
                </a:solidFill>
              </a:defRPr>
            </a:lvl1pPr>
          </a:lstStyle>
          <a:p>
            <a:r>
              <a:rPr lang="en-US" noProof="0"/>
              <a:t>Headline is Arial Reg.36pt.</a:t>
            </a:r>
            <a:br>
              <a:rPr lang="en-US" noProof="0"/>
            </a:br>
            <a:r>
              <a:rPr lang="en-US" noProof="0"/>
              <a:t>Lorem ipsum dolor sit </a:t>
            </a:r>
            <a:r>
              <a:rPr lang="en-US" noProof="0" err="1"/>
              <a:t>amet</a:t>
            </a:r>
            <a:r>
              <a:rPr lang="en-US" noProof="0"/>
              <a:t>. Lorem ipsum dolor sit </a:t>
            </a:r>
            <a:r>
              <a:rPr lang="en-US" noProof="0" err="1"/>
              <a:t>amet</a:t>
            </a:r>
            <a:r>
              <a:rPr lang="en-US" noProof="0"/>
              <a:t>.</a:t>
            </a:r>
          </a:p>
        </p:txBody>
      </p:sp>
      <p:sp>
        <p:nvSpPr>
          <p:cNvPr id="13" name="Marcador de texto 5">
            <a:extLst>
              <a:ext uri="{FF2B5EF4-FFF2-40B4-BE49-F238E27FC236}">
                <a16:creationId xmlns:a16="http://schemas.microsoft.com/office/drawing/2014/main" id="{2F4AD0A5-BD96-45EC-A0A3-1756351F95B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68351" y="2906859"/>
            <a:ext cx="10655300" cy="34161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733" baseline="0">
                <a:solidFill>
                  <a:schemeClr val="accent1"/>
                </a:solidFill>
              </a:defRPr>
            </a:lvl1pPr>
            <a:lvl2pPr marL="457178" indent="0">
              <a:buNone/>
              <a:defRPr/>
            </a:lvl2pPr>
            <a:lvl3pPr marL="914354" indent="0">
              <a:buNone/>
              <a:defRPr/>
            </a:lvl3pPr>
            <a:lvl4pPr marL="1371532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noProof="0"/>
              <a:t>Subhead is Arial Regular 13/Simple pt. Lorem ipsum dolor sit </a:t>
            </a:r>
            <a:r>
              <a:rPr lang="en-US" noProof="0" err="1"/>
              <a:t>amet</a:t>
            </a:r>
            <a:r>
              <a:rPr lang="en-US" noProof="0"/>
              <a:t>.</a:t>
            </a:r>
          </a:p>
        </p:txBody>
      </p:sp>
      <p:sp>
        <p:nvSpPr>
          <p:cNvPr id="14" name="Marcador de texto 5">
            <a:extLst>
              <a:ext uri="{FF2B5EF4-FFF2-40B4-BE49-F238E27FC236}">
                <a16:creationId xmlns:a16="http://schemas.microsoft.com/office/drawing/2014/main" id="{37DC32EF-6A0B-16D2-8C51-DD034D523BA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68351" y="3428999"/>
            <a:ext cx="10655300" cy="263948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aseline="0">
                <a:solidFill>
                  <a:schemeClr val="accent1"/>
                </a:solidFill>
              </a:defRPr>
            </a:lvl1pPr>
            <a:lvl2pPr marL="457178" indent="0">
              <a:buNone/>
              <a:defRPr/>
            </a:lvl2pPr>
            <a:lvl3pPr marL="914354" indent="0">
              <a:buNone/>
              <a:defRPr/>
            </a:lvl3pPr>
            <a:lvl4pPr marL="1371532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noProof="0" err="1"/>
              <a:t>Bodycopy</a:t>
            </a:r>
            <a:r>
              <a:rPr lang="en-US" noProof="0"/>
              <a:t> is Arial Regular 9/Simple pt. Lorem ipsum dolor sit </a:t>
            </a:r>
            <a:r>
              <a:rPr lang="en-US" noProof="0" err="1"/>
              <a:t>amet</a:t>
            </a:r>
            <a:r>
              <a:rPr lang="en-US" noProof="0"/>
              <a:t> lorem ipsum dolor sit </a:t>
            </a:r>
            <a:r>
              <a:rPr lang="en-US" noProof="0" err="1"/>
              <a:t>amet</a:t>
            </a:r>
            <a:r>
              <a:rPr lang="en-US" noProof="0"/>
              <a:t> lorem ipsum dolor sit </a:t>
            </a:r>
            <a:r>
              <a:rPr lang="en-US" noProof="0" err="1"/>
              <a:t>amet</a:t>
            </a:r>
            <a:r>
              <a:rPr lang="en-US" noProof="0"/>
              <a:t> lorem ipsum dolor sit </a:t>
            </a:r>
            <a:r>
              <a:rPr lang="en-US" noProof="0" err="1"/>
              <a:t>amet</a:t>
            </a:r>
            <a:r>
              <a:rPr lang="en-US" noProof="0"/>
              <a:t> lorem ipsum dolor sit </a:t>
            </a:r>
            <a:r>
              <a:rPr lang="en-US" noProof="0" err="1"/>
              <a:t>amet</a:t>
            </a:r>
            <a:r>
              <a:rPr lang="en-US" noProof="0"/>
              <a:t>. Lorem ipsum dolor sit </a:t>
            </a:r>
            <a:r>
              <a:rPr lang="en-US" noProof="0" err="1"/>
              <a:t>amet</a:t>
            </a:r>
            <a:r>
              <a:rPr lang="en-US" noProof="0"/>
              <a:t> lorem ipsum dolor sit </a:t>
            </a:r>
            <a:r>
              <a:rPr lang="en-US" noProof="0" err="1"/>
              <a:t>amet</a:t>
            </a:r>
            <a:r>
              <a:rPr lang="en-US" noProof="0"/>
              <a:t> lorem ipsum dolor sit </a:t>
            </a:r>
            <a:r>
              <a:rPr lang="en-US" noProof="0" err="1"/>
              <a:t>amet</a:t>
            </a:r>
            <a:r>
              <a:rPr lang="en-US" noProof="0"/>
              <a:t> lorem ipsum dolor sit </a:t>
            </a:r>
            <a:r>
              <a:rPr lang="en-US" noProof="0" err="1"/>
              <a:t>amet</a:t>
            </a:r>
            <a:r>
              <a:rPr lang="en-US" noProof="0"/>
              <a:t> lorem ipsum dolor sit </a:t>
            </a:r>
            <a:r>
              <a:rPr lang="en-US" noProof="0" err="1"/>
              <a:t>amet</a:t>
            </a:r>
            <a:r>
              <a:rPr lang="en-US" noProof="0"/>
              <a:t>.</a:t>
            </a:r>
          </a:p>
          <a:p>
            <a:pPr lvl="0"/>
            <a:endParaRPr lang="en-US" noProof="0"/>
          </a:p>
          <a:p>
            <a:pPr marL="0" marR="0" lvl="0" indent="0" algn="l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noProof="0" err="1"/>
              <a:t>Bodycopy</a:t>
            </a:r>
            <a:r>
              <a:rPr lang="en-US" noProof="0"/>
              <a:t> is Arial Regular 9/Simple pt. Lorem ipsum dolor sit </a:t>
            </a:r>
            <a:r>
              <a:rPr lang="en-US" noProof="0" err="1"/>
              <a:t>amet</a:t>
            </a:r>
            <a:r>
              <a:rPr lang="en-US" noProof="0"/>
              <a:t> lorem ipsum dolor sit </a:t>
            </a:r>
            <a:r>
              <a:rPr lang="en-US" noProof="0" err="1"/>
              <a:t>amet</a:t>
            </a:r>
            <a:r>
              <a:rPr lang="en-US" noProof="0"/>
              <a:t> lorem ipsum dolor sit </a:t>
            </a:r>
            <a:r>
              <a:rPr lang="en-US" noProof="0" err="1"/>
              <a:t>amet</a:t>
            </a:r>
            <a:r>
              <a:rPr lang="en-US" noProof="0"/>
              <a:t> lorem ipsum dolor sit </a:t>
            </a:r>
            <a:r>
              <a:rPr lang="en-US" noProof="0" err="1"/>
              <a:t>amet</a:t>
            </a:r>
            <a:r>
              <a:rPr lang="en-US" noProof="0"/>
              <a:t> lorem ipsum dolor sit </a:t>
            </a:r>
            <a:r>
              <a:rPr lang="en-US" noProof="0" err="1"/>
              <a:t>amet</a:t>
            </a:r>
            <a:r>
              <a:rPr lang="en-US" noProof="0"/>
              <a:t>. Lorem ipsum dolor sit </a:t>
            </a:r>
            <a:r>
              <a:rPr lang="en-US" noProof="0" err="1"/>
              <a:t>amet</a:t>
            </a:r>
            <a:r>
              <a:rPr lang="en-US" noProof="0"/>
              <a:t> lorem ipsum dolor sit </a:t>
            </a:r>
            <a:r>
              <a:rPr lang="en-US" noProof="0" err="1"/>
              <a:t>amet</a:t>
            </a:r>
            <a:r>
              <a:rPr lang="en-US" noProof="0"/>
              <a:t> lorem ipsum dolor sit </a:t>
            </a:r>
            <a:r>
              <a:rPr lang="en-US" noProof="0" err="1"/>
              <a:t>amet</a:t>
            </a:r>
            <a:r>
              <a:rPr lang="en-US" noProof="0"/>
              <a:t> lorem ipsum dolor sit </a:t>
            </a:r>
            <a:r>
              <a:rPr lang="en-US" noProof="0" err="1"/>
              <a:t>amet</a:t>
            </a:r>
            <a:r>
              <a:rPr lang="en-US" noProof="0"/>
              <a:t> lorem ipsum dolor sit </a:t>
            </a:r>
            <a:r>
              <a:rPr lang="en-US" noProof="0" err="1"/>
              <a:t>amet</a:t>
            </a:r>
            <a:r>
              <a:rPr lang="en-US" noProof="0"/>
              <a:t>.</a:t>
            </a:r>
          </a:p>
          <a:p>
            <a:pPr marL="0" marR="0" lvl="0" indent="0" algn="l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 noProof="0"/>
          </a:p>
          <a:p>
            <a:pPr lvl="0"/>
            <a:r>
              <a:rPr lang="en-US" noProof="0" err="1"/>
              <a:t>Bodycopy</a:t>
            </a:r>
            <a:r>
              <a:rPr lang="en-US" noProof="0"/>
              <a:t> is Arial Regular 9/Simple pt. Lorem ipsum dolor sit </a:t>
            </a:r>
            <a:r>
              <a:rPr lang="en-US" noProof="0" err="1"/>
              <a:t>amet</a:t>
            </a:r>
            <a:r>
              <a:rPr lang="en-US" noProof="0"/>
              <a:t> lorem ipsum dolor sit </a:t>
            </a:r>
            <a:r>
              <a:rPr lang="en-US" noProof="0" err="1"/>
              <a:t>amet</a:t>
            </a:r>
            <a:r>
              <a:rPr lang="en-US" noProof="0"/>
              <a:t> lorem ipsum dolor sit </a:t>
            </a:r>
            <a:r>
              <a:rPr lang="en-US" noProof="0" err="1"/>
              <a:t>amet</a:t>
            </a:r>
            <a:r>
              <a:rPr lang="en-US" noProof="0"/>
              <a:t> lorem ipsum dolor sit </a:t>
            </a:r>
            <a:r>
              <a:rPr lang="en-US" noProof="0" err="1"/>
              <a:t>amet</a:t>
            </a:r>
            <a:r>
              <a:rPr lang="en-US" noProof="0"/>
              <a:t> lorem ipsum dolor sit </a:t>
            </a:r>
            <a:r>
              <a:rPr lang="en-US" noProof="0" err="1"/>
              <a:t>amet</a:t>
            </a:r>
            <a:r>
              <a:rPr lang="en-US" noProof="0"/>
              <a:t>. Lorem ipsum dolor sit </a:t>
            </a:r>
            <a:r>
              <a:rPr lang="en-US" noProof="0" err="1"/>
              <a:t>amet</a:t>
            </a:r>
            <a:r>
              <a:rPr lang="en-US" noProof="0"/>
              <a:t> lorem ipsum dolor sit </a:t>
            </a:r>
            <a:r>
              <a:rPr lang="en-US" noProof="0" err="1"/>
              <a:t>amet</a:t>
            </a:r>
            <a:r>
              <a:rPr lang="en-US" noProof="0"/>
              <a:t> lorem ipsum dolor sit </a:t>
            </a:r>
            <a:r>
              <a:rPr lang="en-US" noProof="0" err="1"/>
              <a:t>amet</a:t>
            </a:r>
            <a:r>
              <a:rPr lang="en-US" noProof="0"/>
              <a:t> lorem ipsum dolor sit </a:t>
            </a:r>
            <a:r>
              <a:rPr lang="en-US" noProof="0" err="1"/>
              <a:t>amet</a:t>
            </a:r>
            <a:r>
              <a:rPr lang="en-US" noProof="0"/>
              <a:t> lorem ipsum dolor sit </a:t>
            </a:r>
            <a:r>
              <a:rPr lang="en-US" noProof="0" err="1"/>
              <a:t>amet</a:t>
            </a:r>
            <a:r>
              <a:rPr lang="en-US" noProof="0"/>
              <a:t>.</a:t>
            </a:r>
          </a:p>
          <a:p>
            <a:pPr lvl="0"/>
            <a:endParaRPr lang="en-US" noProof="0"/>
          </a:p>
          <a:p>
            <a:pPr marL="0" marR="0" lvl="0" indent="0" algn="l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noProof="0" err="1"/>
              <a:t>Bodycopy</a:t>
            </a:r>
            <a:r>
              <a:rPr lang="en-US" noProof="0"/>
              <a:t> is Arial Regular 9/Simple pt. Lorem ipsum dolor sit </a:t>
            </a:r>
            <a:r>
              <a:rPr lang="en-US" noProof="0" err="1"/>
              <a:t>amet</a:t>
            </a:r>
            <a:r>
              <a:rPr lang="en-US" noProof="0"/>
              <a:t> lorem ipsum dolor sit </a:t>
            </a:r>
            <a:r>
              <a:rPr lang="en-US" noProof="0" err="1"/>
              <a:t>amet</a:t>
            </a:r>
            <a:r>
              <a:rPr lang="en-US" noProof="0"/>
              <a:t> lorem ipsum dolor sit </a:t>
            </a:r>
            <a:r>
              <a:rPr lang="en-US" noProof="0" err="1"/>
              <a:t>amet</a:t>
            </a:r>
            <a:r>
              <a:rPr lang="en-US" noProof="0"/>
              <a:t> lorem ipsum dolor sit </a:t>
            </a:r>
            <a:r>
              <a:rPr lang="en-US" noProof="0" err="1"/>
              <a:t>amet</a:t>
            </a:r>
            <a:r>
              <a:rPr lang="en-US" noProof="0"/>
              <a:t> lorem ipsum dolor sit </a:t>
            </a:r>
            <a:r>
              <a:rPr lang="en-US" noProof="0" err="1"/>
              <a:t>amet</a:t>
            </a:r>
            <a:r>
              <a:rPr lang="en-US" noProof="0"/>
              <a:t>. Lorem ipsum dolor sit </a:t>
            </a:r>
            <a:r>
              <a:rPr lang="en-US" noProof="0" err="1"/>
              <a:t>amet</a:t>
            </a:r>
            <a:r>
              <a:rPr lang="en-US" noProof="0"/>
              <a:t> lorem ipsum dolor sit </a:t>
            </a:r>
            <a:r>
              <a:rPr lang="en-US" noProof="0" err="1"/>
              <a:t>amet</a:t>
            </a:r>
            <a:r>
              <a:rPr lang="en-US" noProof="0"/>
              <a:t> lorem ipsum dolor sit </a:t>
            </a:r>
            <a:r>
              <a:rPr lang="en-US" noProof="0" err="1"/>
              <a:t>amet</a:t>
            </a:r>
            <a:r>
              <a:rPr lang="en-US" noProof="0"/>
              <a:t> lorem ipsum dolor sit </a:t>
            </a:r>
            <a:r>
              <a:rPr lang="en-US" noProof="0" err="1"/>
              <a:t>amet</a:t>
            </a:r>
            <a:r>
              <a:rPr lang="en-US" noProof="0"/>
              <a:t> lorem ipsum dolor sit </a:t>
            </a:r>
            <a:r>
              <a:rPr lang="en-US" noProof="0" err="1"/>
              <a:t>amet</a:t>
            </a:r>
            <a:r>
              <a:rPr lang="en-US" noProof="0"/>
              <a:t>.</a:t>
            </a:r>
          </a:p>
          <a:p>
            <a:pPr marL="0" marR="0" lvl="0" indent="0" algn="l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 noProof="0"/>
          </a:p>
          <a:p>
            <a:pPr marL="0" marR="0" lvl="0" indent="0" algn="l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noProof="0" err="1"/>
              <a:t>Bodycopy</a:t>
            </a:r>
            <a:r>
              <a:rPr lang="en-US" noProof="0"/>
              <a:t> is Arial Regular 9/Simple pt. Lorem ipsum dolor sit </a:t>
            </a:r>
            <a:r>
              <a:rPr lang="en-US" noProof="0" err="1"/>
              <a:t>amet</a:t>
            </a:r>
            <a:r>
              <a:rPr lang="en-US" noProof="0"/>
              <a:t> lorem ipsum dolor sit </a:t>
            </a:r>
            <a:r>
              <a:rPr lang="en-US" noProof="0" err="1"/>
              <a:t>amet</a:t>
            </a:r>
            <a:r>
              <a:rPr lang="en-US" noProof="0"/>
              <a:t> lorem ipsum dolor sit </a:t>
            </a:r>
            <a:r>
              <a:rPr lang="en-US" noProof="0" err="1"/>
              <a:t>amet</a:t>
            </a:r>
            <a:r>
              <a:rPr lang="en-US" noProof="0"/>
              <a:t> lorem ipsum dolor sit </a:t>
            </a:r>
            <a:r>
              <a:rPr lang="en-US" noProof="0" err="1"/>
              <a:t>amet</a:t>
            </a:r>
            <a:r>
              <a:rPr lang="en-US" noProof="0"/>
              <a:t> lorem ipsum dolor sit </a:t>
            </a:r>
            <a:r>
              <a:rPr lang="en-US" noProof="0" err="1"/>
              <a:t>amet</a:t>
            </a:r>
            <a:r>
              <a:rPr lang="en-US" noProof="0"/>
              <a:t>. Lorem ipsum dolor sit </a:t>
            </a:r>
            <a:r>
              <a:rPr lang="en-US" noProof="0" err="1"/>
              <a:t>amet</a:t>
            </a:r>
            <a:r>
              <a:rPr lang="en-US" noProof="0"/>
              <a:t> lorem ipsum dolor sit </a:t>
            </a:r>
            <a:r>
              <a:rPr lang="en-US" noProof="0" err="1"/>
              <a:t>amet</a:t>
            </a:r>
            <a:r>
              <a:rPr lang="en-US" noProof="0"/>
              <a:t> lorem ipsum dolor sit </a:t>
            </a:r>
            <a:r>
              <a:rPr lang="en-US" noProof="0" err="1"/>
              <a:t>amet</a:t>
            </a:r>
            <a:r>
              <a:rPr lang="en-US" noProof="0"/>
              <a:t> lorem ipsum dolor sit </a:t>
            </a:r>
            <a:r>
              <a:rPr lang="en-US" noProof="0" err="1"/>
              <a:t>amet</a:t>
            </a:r>
            <a:r>
              <a:rPr lang="en-US" noProof="0"/>
              <a:t> lorem ipsum dolor sit </a:t>
            </a:r>
            <a:r>
              <a:rPr lang="en-US" noProof="0" err="1"/>
              <a:t>amet</a:t>
            </a:r>
            <a:r>
              <a:rPr lang="en-US" noProof="0"/>
              <a:t>.</a:t>
            </a:r>
          </a:p>
          <a:p>
            <a:pPr marL="0" marR="0" lvl="0" indent="0" algn="l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 noProof="0"/>
          </a:p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8823435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50">
          <p15:clr>
            <a:srgbClr val="FBAE40"/>
          </p15:clr>
        </p15:guide>
        <p15:guide id="2" pos="2160">
          <p15:clr>
            <a:srgbClr val="FBAE40"/>
          </p15:clr>
        </p15:guide>
        <p15:guide id="3" orient="horz" pos="263">
          <p15:clr>
            <a:srgbClr val="FBAE40"/>
          </p15:clr>
        </p15:guide>
        <p15:guide id="4" orient="horz" pos="569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x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5970886" y="6392072"/>
            <a:ext cx="2610852" cy="365125"/>
          </a:xfrm>
          <a:prstGeom prst="rect">
            <a:avLst/>
          </a:prstGeom>
        </p:spPr>
        <p:txBody>
          <a:bodyPr/>
          <a:lstStyle>
            <a:lvl1pPr algn="l">
              <a:defRPr sz="1000"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Deck tit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228308" y="6392072"/>
            <a:ext cx="580189" cy="365125"/>
          </a:xfrm>
          <a:prstGeom prst="rect">
            <a:avLst/>
          </a:prstGeom>
        </p:spPr>
        <p:txBody>
          <a:bodyPr/>
          <a:lstStyle>
            <a:lvl1pPr>
              <a:defRPr sz="1000">
                <a:solidFill>
                  <a:schemeClr val="accent1"/>
                </a:solidFill>
              </a:defRPr>
            </a:lvl1pPr>
          </a:lstStyle>
          <a:p>
            <a:fld id="{E7109EF1-F99E-2846-B900-05CEFB69D20A}" type="slidenum">
              <a:rPr lang="en-US" noProof="0" smtClean="0"/>
              <a:pPr/>
              <a:t>‹Nº›</a:t>
            </a:fld>
            <a:endParaRPr lang="en-US" noProof="0"/>
          </a:p>
        </p:txBody>
      </p:sp>
      <p:cxnSp>
        <p:nvCxnSpPr>
          <p:cNvPr id="19" name="Conector recto 18"/>
          <p:cNvCxnSpPr/>
          <p:nvPr userDrawn="1"/>
        </p:nvCxnSpPr>
        <p:spPr>
          <a:xfrm>
            <a:off x="419105" y="6312759"/>
            <a:ext cx="11389396" cy="0"/>
          </a:xfrm>
          <a:prstGeom prst="line">
            <a:avLst/>
          </a:prstGeom>
          <a:ln w="127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0" name="Imagen 19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46004" y="6338850"/>
            <a:ext cx="1129264" cy="494711"/>
          </a:xfrm>
          <a:prstGeom prst="rect">
            <a:avLst/>
          </a:prstGeom>
        </p:spPr>
      </p:pic>
      <p:sp>
        <p:nvSpPr>
          <p:cNvPr id="9" name="Título 1"/>
          <p:cNvSpPr>
            <a:spLocks noGrp="1"/>
          </p:cNvSpPr>
          <p:nvPr>
            <p:ph type="title" hasCustomPrompt="1"/>
          </p:nvPr>
        </p:nvSpPr>
        <p:spPr>
          <a:xfrm>
            <a:off x="411030" y="347572"/>
            <a:ext cx="11402089" cy="98331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312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933"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Slide title is Arial Regular 22/Simple pt.</a:t>
            </a:r>
          </a:p>
        </p:txBody>
      </p:sp>
      <p:sp>
        <p:nvSpPr>
          <p:cNvPr id="4" name="Marcador de texto 3"/>
          <p:cNvSpPr>
            <a:spLocks noGrp="1"/>
          </p:cNvSpPr>
          <p:nvPr>
            <p:ph type="body" sz="quarter" idx="14" hasCustomPrompt="1"/>
          </p:nvPr>
        </p:nvSpPr>
        <p:spPr>
          <a:xfrm>
            <a:off x="411649" y="1693333"/>
            <a:ext cx="11372849" cy="430106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buNone/>
              <a:defRPr sz="1400">
                <a:solidFill>
                  <a:schemeClr val="accent1"/>
                </a:solidFill>
              </a:defRPr>
            </a:lvl1pPr>
            <a:lvl2pPr marL="457157" indent="0">
              <a:lnSpc>
                <a:spcPct val="100000"/>
              </a:lnSpc>
              <a:buNone/>
              <a:defRPr sz="1400">
                <a:solidFill>
                  <a:schemeClr val="accent1"/>
                </a:solidFill>
              </a:defRPr>
            </a:lvl2pPr>
            <a:lvl3pPr marL="914312" indent="0">
              <a:lnSpc>
                <a:spcPct val="100000"/>
              </a:lnSpc>
              <a:buNone/>
              <a:defRPr sz="1400">
                <a:solidFill>
                  <a:schemeClr val="accent1"/>
                </a:solidFill>
              </a:defRPr>
            </a:lvl3pPr>
            <a:lvl4pPr marL="1371468" indent="0">
              <a:lnSpc>
                <a:spcPct val="100000"/>
              </a:lnSpc>
              <a:buNone/>
              <a:defRPr sz="1400">
                <a:solidFill>
                  <a:schemeClr val="accent1"/>
                </a:solidFill>
              </a:defRPr>
            </a:lvl4pPr>
            <a:lvl5pPr marL="1828624" indent="0">
              <a:lnSpc>
                <a:spcPct val="100000"/>
              </a:lnSpc>
              <a:buNone/>
              <a:defRPr sz="1400">
                <a:solidFill>
                  <a:schemeClr val="accent1"/>
                </a:solidFill>
              </a:defRPr>
            </a:lvl5pPr>
            <a:lvl6pPr marL="2285780" indent="0">
              <a:lnSpc>
                <a:spcPct val="100000"/>
              </a:lnSpc>
              <a:buNone/>
              <a:defRPr sz="1400">
                <a:solidFill>
                  <a:schemeClr val="accent1"/>
                </a:solidFill>
              </a:defRPr>
            </a:lvl6pPr>
            <a:lvl7pPr marL="2742935" indent="0">
              <a:lnSpc>
                <a:spcPct val="100000"/>
              </a:lnSpc>
              <a:buNone/>
              <a:defRPr sz="1400">
                <a:solidFill>
                  <a:schemeClr val="accent1"/>
                </a:solidFill>
              </a:defRPr>
            </a:lvl7pPr>
            <a:lvl8pPr marL="3200092" indent="0">
              <a:lnSpc>
                <a:spcPct val="100000"/>
              </a:lnSpc>
              <a:buNone/>
              <a:defRPr sz="1400">
                <a:solidFill>
                  <a:schemeClr val="accent1"/>
                </a:solidFill>
              </a:defRPr>
            </a:lvl8pPr>
            <a:lvl9pPr marL="3657247" indent="0">
              <a:lnSpc>
                <a:spcPct val="100000"/>
              </a:lnSpc>
              <a:buNone/>
              <a:defRPr sz="14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/>
              <a:t>Body copy is Arial Regular 14/Simple pt.</a:t>
            </a:r>
          </a:p>
        </p:txBody>
      </p:sp>
    </p:spTree>
    <p:extLst>
      <p:ext uri="{BB962C8B-B14F-4D97-AF65-F5344CB8AC3E}">
        <p14:creationId xmlns:p14="http://schemas.microsoft.com/office/powerpoint/2010/main" val="37479165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880">
          <p15:clr>
            <a:srgbClr val="FBAE40"/>
          </p15:clr>
        </p15:guide>
        <p15:guide id="4" pos="4400">
          <p15:clr>
            <a:srgbClr val="FBAE40"/>
          </p15:clr>
        </p15:guide>
        <p15:guide id="5" orient="horz" pos="259">
          <p15:clr>
            <a:srgbClr val="FBAE40"/>
          </p15:clr>
        </p15:guide>
        <p15:guide id="6" orient="horz" pos="797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upo 4">
            <a:extLst>
              <a:ext uri="{FF2B5EF4-FFF2-40B4-BE49-F238E27FC236}">
                <a16:creationId xmlns:a16="http://schemas.microsoft.com/office/drawing/2014/main" id="{6A89A73E-2C31-7D42-AF20-9EEB1A54201F}"/>
              </a:ext>
            </a:extLst>
          </p:cNvPr>
          <p:cNvGrpSpPr/>
          <p:nvPr/>
        </p:nvGrpSpPr>
        <p:grpSpPr>
          <a:xfrm>
            <a:off x="10869235" y="6305566"/>
            <a:ext cx="1001260" cy="310180"/>
            <a:chOff x="7785861" y="4639396"/>
            <a:chExt cx="1111660" cy="344382"/>
          </a:xfrm>
        </p:grpSpPr>
        <p:sp>
          <p:nvSpPr>
            <p:cNvPr id="6" name="Forma libre 5">
              <a:extLst>
                <a:ext uri="{FF2B5EF4-FFF2-40B4-BE49-F238E27FC236}">
                  <a16:creationId xmlns:a16="http://schemas.microsoft.com/office/drawing/2014/main" id="{34B27C1E-A557-6A44-8926-1FD5540CD3BF}"/>
                </a:ext>
              </a:extLst>
            </p:cNvPr>
            <p:cNvSpPr/>
            <p:nvPr/>
          </p:nvSpPr>
          <p:spPr>
            <a:xfrm>
              <a:off x="7785861" y="4639396"/>
              <a:ext cx="256158" cy="344382"/>
            </a:xfrm>
            <a:custGeom>
              <a:avLst/>
              <a:gdLst>
                <a:gd name="connsiteX0" fmla="*/ 107295 w 139455"/>
                <a:gd name="connsiteY0" fmla="*/ 11790 h 187485"/>
                <a:gd name="connsiteX1" fmla="*/ 107295 w 139455"/>
                <a:gd name="connsiteY1" fmla="*/ 0 h 187485"/>
                <a:gd name="connsiteX2" fmla="*/ 46294 w 139455"/>
                <a:gd name="connsiteY2" fmla="*/ 32046 h 187485"/>
                <a:gd name="connsiteX3" fmla="*/ 39296 w 139455"/>
                <a:gd name="connsiteY3" fmla="*/ 43610 h 187485"/>
                <a:gd name="connsiteX4" fmla="*/ 39296 w 139455"/>
                <a:gd name="connsiteY4" fmla="*/ 55400 h 187485"/>
                <a:gd name="connsiteX5" fmla="*/ 100310 w 139455"/>
                <a:gd name="connsiteY5" fmla="*/ 23353 h 187485"/>
                <a:gd name="connsiteX6" fmla="*/ 107295 w 139455"/>
                <a:gd name="connsiteY6" fmla="*/ 11790 h 187485"/>
                <a:gd name="connsiteX7" fmla="*/ 107466 w 139455"/>
                <a:gd name="connsiteY7" fmla="*/ 39279 h 187485"/>
                <a:gd name="connsiteX8" fmla="*/ 46459 w 139455"/>
                <a:gd name="connsiteY8" fmla="*/ 71325 h 187485"/>
                <a:gd name="connsiteX9" fmla="*/ 39466 w 139455"/>
                <a:gd name="connsiteY9" fmla="*/ 82889 h 187485"/>
                <a:gd name="connsiteX10" fmla="*/ 39466 w 139455"/>
                <a:gd name="connsiteY10" fmla="*/ 94678 h 187485"/>
                <a:gd name="connsiteX11" fmla="*/ 100475 w 139455"/>
                <a:gd name="connsiteY11" fmla="*/ 62638 h 187485"/>
                <a:gd name="connsiteX12" fmla="*/ 107466 w 139455"/>
                <a:gd name="connsiteY12" fmla="*/ 51069 h 187485"/>
                <a:gd name="connsiteX13" fmla="*/ 107466 w 139455"/>
                <a:gd name="connsiteY13" fmla="*/ 39279 h 187485"/>
                <a:gd name="connsiteX14" fmla="*/ 39466 w 139455"/>
                <a:gd name="connsiteY14" fmla="*/ 122167 h 187485"/>
                <a:gd name="connsiteX15" fmla="*/ 39466 w 139455"/>
                <a:gd name="connsiteY15" fmla="*/ 133951 h 187485"/>
                <a:gd name="connsiteX16" fmla="*/ 100475 w 139455"/>
                <a:gd name="connsiteY16" fmla="*/ 101905 h 187485"/>
                <a:gd name="connsiteX17" fmla="*/ 107466 w 139455"/>
                <a:gd name="connsiteY17" fmla="*/ 90347 h 187485"/>
                <a:gd name="connsiteX18" fmla="*/ 107466 w 139455"/>
                <a:gd name="connsiteY18" fmla="*/ 78558 h 187485"/>
                <a:gd name="connsiteX19" fmla="*/ 46459 w 139455"/>
                <a:gd name="connsiteY19" fmla="*/ 110598 h 187485"/>
                <a:gd name="connsiteX20" fmla="*/ 39466 w 139455"/>
                <a:gd name="connsiteY20" fmla="*/ 122167 h 187485"/>
                <a:gd name="connsiteX21" fmla="*/ 135911 w 139455"/>
                <a:gd name="connsiteY21" fmla="*/ 95809 h 187485"/>
                <a:gd name="connsiteX22" fmla="*/ 133008 w 139455"/>
                <a:gd name="connsiteY22" fmla="*/ 94672 h 187485"/>
                <a:gd name="connsiteX23" fmla="*/ 121920 w 139455"/>
                <a:gd name="connsiteY23" fmla="*/ 100488 h 187485"/>
                <a:gd name="connsiteX24" fmla="*/ 120729 w 139455"/>
                <a:gd name="connsiteY24" fmla="*/ 103347 h 187485"/>
                <a:gd name="connsiteX25" fmla="*/ 122428 w 139455"/>
                <a:gd name="connsiteY25" fmla="*/ 123475 h 187485"/>
                <a:gd name="connsiteX26" fmla="*/ 73087 w 139455"/>
                <a:gd name="connsiteY26" fmla="*/ 170658 h 187485"/>
                <a:gd name="connsiteX27" fmla="*/ 16725 w 139455"/>
                <a:gd name="connsiteY27" fmla="*/ 117788 h 187485"/>
                <a:gd name="connsiteX28" fmla="*/ 24499 w 139455"/>
                <a:gd name="connsiteY28" fmla="*/ 90170 h 187485"/>
                <a:gd name="connsiteX29" fmla="*/ 24602 w 139455"/>
                <a:gd name="connsiteY29" fmla="*/ 87171 h 187485"/>
                <a:gd name="connsiteX30" fmla="*/ 18094 w 139455"/>
                <a:gd name="connsiteY30" fmla="*/ 75345 h 187485"/>
                <a:gd name="connsiteX31" fmla="*/ 14640 w 139455"/>
                <a:gd name="connsiteY31" fmla="*/ 75088 h 187485"/>
                <a:gd name="connsiteX32" fmla="*/ 94 w 139455"/>
                <a:gd name="connsiteY32" fmla="*/ 121483 h 187485"/>
                <a:gd name="connsiteX33" fmla="*/ 66994 w 139455"/>
                <a:gd name="connsiteY33" fmla="*/ 187433 h 187485"/>
                <a:gd name="connsiteX34" fmla="*/ 139455 w 139455"/>
                <a:gd name="connsiteY34" fmla="*/ 117794 h 187485"/>
                <a:gd name="connsiteX35" fmla="*/ 135911 w 139455"/>
                <a:gd name="connsiteY35" fmla="*/ 95809 h 1874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</a:cxnLst>
              <a:rect l="l" t="t" r="r" b="b"/>
              <a:pathLst>
                <a:path w="139455" h="187485">
                  <a:moveTo>
                    <a:pt x="107295" y="11790"/>
                  </a:moveTo>
                  <a:lnTo>
                    <a:pt x="107295" y="0"/>
                  </a:lnTo>
                  <a:lnTo>
                    <a:pt x="46294" y="32046"/>
                  </a:lnTo>
                  <a:cubicBezTo>
                    <a:pt x="41997" y="34300"/>
                    <a:pt x="39296" y="38760"/>
                    <a:pt x="39296" y="43610"/>
                  </a:cubicBezTo>
                  <a:lnTo>
                    <a:pt x="39296" y="55400"/>
                  </a:lnTo>
                  <a:lnTo>
                    <a:pt x="100310" y="23353"/>
                  </a:lnTo>
                  <a:cubicBezTo>
                    <a:pt x="104612" y="21093"/>
                    <a:pt x="107295" y="16640"/>
                    <a:pt x="107295" y="11790"/>
                  </a:cubicBezTo>
                  <a:moveTo>
                    <a:pt x="107466" y="39279"/>
                  </a:moveTo>
                  <a:lnTo>
                    <a:pt x="46459" y="71325"/>
                  </a:lnTo>
                  <a:cubicBezTo>
                    <a:pt x="42168" y="73585"/>
                    <a:pt x="39466" y="78038"/>
                    <a:pt x="39466" y="82889"/>
                  </a:cubicBezTo>
                  <a:lnTo>
                    <a:pt x="39466" y="94678"/>
                  </a:lnTo>
                  <a:lnTo>
                    <a:pt x="100475" y="62638"/>
                  </a:lnTo>
                  <a:cubicBezTo>
                    <a:pt x="104771" y="60378"/>
                    <a:pt x="107466" y="55919"/>
                    <a:pt x="107466" y="51069"/>
                  </a:cubicBezTo>
                  <a:lnTo>
                    <a:pt x="107466" y="39279"/>
                  </a:lnTo>
                  <a:close/>
                  <a:moveTo>
                    <a:pt x="39466" y="122167"/>
                  </a:moveTo>
                  <a:lnTo>
                    <a:pt x="39466" y="133951"/>
                  </a:lnTo>
                  <a:lnTo>
                    <a:pt x="100475" y="101905"/>
                  </a:lnTo>
                  <a:cubicBezTo>
                    <a:pt x="104771" y="99651"/>
                    <a:pt x="107466" y="95198"/>
                    <a:pt x="107466" y="90347"/>
                  </a:cubicBezTo>
                  <a:lnTo>
                    <a:pt x="107466" y="78558"/>
                  </a:lnTo>
                  <a:lnTo>
                    <a:pt x="46459" y="110598"/>
                  </a:lnTo>
                  <a:cubicBezTo>
                    <a:pt x="42162" y="112864"/>
                    <a:pt x="39466" y="117317"/>
                    <a:pt x="39466" y="122167"/>
                  </a:cubicBezTo>
                  <a:moveTo>
                    <a:pt x="135911" y="95809"/>
                  </a:moveTo>
                  <a:cubicBezTo>
                    <a:pt x="135520" y="94617"/>
                    <a:pt x="134126" y="94086"/>
                    <a:pt x="133008" y="94672"/>
                  </a:cubicBezTo>
                  <a:lnTo>
                    <a:pt x="121920" y="100488"/>
                  </a:lnTo>
                  <a:cubicBezTo>
                    <a:pt x="120888" y="101038"/>
                    <a:pt x="120411" y="102223"/>
                    <a:pt x="120729" y="103347"/>
                  </a:cubicBezTo>
                  <a:cubicBezTo>
                    <a:pt x="122514" y="109651"/>
                    <a:pt x="123174" y="116438"/>
                    <a:pt x="122428" y="123475"/>
                  </a:cubicBezTo>
                  <a:cubicBezTo>
                    <a:pt x="119739" y="148942"/>
                    <a:pt x="98653" y="169082"/>
                    <a:pt x="73087" y="170658"/>
                  </a:cubicBezTo>
                  <a:cubicBezTo>
                    <a:pt x="42290" y="172564"/>
                    <a:pt x="16725" y="148154"/>
                    <a:pt x="16725" y="117788"/>
                  </a:cubicBezTo>
                  <a:cubicBezTo>
                    <a:pt x="16725" y="107665"/>
                    <a:pt x="19572" y="98203"/>
                    <a:pt x="24499" y="90170"/>
                  </a:cubicBezTo>
                  <a:cubicBezTo>
                    <a:pt x="25061" y="89248"/>
                    <a:pt x="25116" y="88112"/>
                    <a:pt x="24602" y="87171"/>
                  </a:cubicBezTo>
                  <a:lnTo>
                    <a:pt x="18094" y="75345"/>
                  </a:lnTo>
                  <a:cubicBezTo>
                    <a:pt x="17372" y="74037"/>
                    <a:pt x="15557" y="73915"/>
                    <a:pt x="14640" y="75088"/>
                  </a:cubicBezTo>
                  <a:cubicBezTo>
                    <a:pt x="4782" y="87782"/>
                    <a:pt x="-804" y="103964"/>
                    <a:pt x="94" y="121483"/>
                  </a:cubicBezTo>
                  <a:cubicBezTo>
                    <a:pt x="1953" y="157213"/>
                    <a:pt x="31228" y="186064"/>
                    <a:pt x="66994" y="187433"/>
                  </a:cubicBezTo>
                  <a:cubicBezTo>
                    <a:pt x="106751" y="188953"/>
                    <a:pt x="139455" y="157189"/>
                    <a:pt x="139455" y="117794"/>
                  </a:cubicBezTo>
                  <a:cubicBezTo>
                    <a:pt x="139455" y="110103"/>
                    <a:pt x="138209" y="102711"/>
                    <a:pt x="135911" y="95809"/>
                  </a:cubicBezTo>
                </a:path>
              </a:pathLst>
            </a:custGeom>
            <a:solidFill>
              <a:schemeClr val="accent2"/>
            </a:solidFill>
            <a:ln w="61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 sz="2400"/>
            </a:p>
          </p:txBody>
        </p:sp>
        <p:sp>
          <p:nvSpPr>
            <p:cNvPr id="7" name="Forma libre 6">
              <a:extLst>
                <a:ext uri="{FF2B5EF4-FFF2-40B4-BE49-F238E27FC236}">
                  <a16:creationId xmlns:a16="http://schemas.microsoft.com/office/drawing/2014/main" id="{CFC6D32C-2C73-9C45-B902-B36FDDC72516}"/>
                </a:ext>
              </a:extLst>
            </p:cNvPr>
            <p:cNvSpPr/>
            <p:nvPr/>
          </p:nvSpPr>
          <p:spPr>
            <a:xfrm>
              <a:off x="8098546" y="4754028"/>
              <a:ext cx="798975" cy="174628"/>
            </a:xfrm>
            <a:custGeom>
              <a:avLst/>
              <a:gdLst>
                <a:gd name="connsiteX0" fmla="*/ 418218 w 434970"/>
                <a:gd name="connsiteY0" fmla="*/ 7990 h 95069"/>
                <a:gd name="connsiteX1" fmla="*/ 418218 w 434970"/>
                <a:gd name="connsiteY1" fmla="*/ 93781 h 95069"/>
                <a:gd name="connsiteX2" fmla="*/ 434970 w 434970"/>
                <a:gd name="connsiteY2" fmla="*/ 93781 h 95069"/>
                <a:gd name="connsiteX3" fmla="*/ 434970 w 434970"/>
                <a:gd name="connsiteY3" fmla="*/ 3617 h 95069"/>
                <a:gd name="connsiteX4" fmla="*/ 418218 w 434970"/>
                <a:gd name="connsiteY4" fmla="*/ 7990 h 95069"/>
                <a:gd name="connsiteX5" fmla="*/ 279670 w 434970"/>
                <a:gd name="connsiteY5" fmla="*/ 37617 h 95069"/>
                <a:gd name="connsiteX6" fmla="*/ 279670 w 434970"/>
                <a:gd name="connsiteY6" fmla="*/ 31307 h 95069"/>
                <a:gd name="connsiteX7" fmla="*/ 263565 w 434970"/>
                <a:gd name="connsiteY7" fmla="*/ 31307 h 95069"/>
                <a:gd name="connsiteX8" fmla="*/ 263565 w 434970"/>
                <a:gd name="connsiteY8" fmla="*/ 93787 h 95069"/>
                <a:gd name="connsiteX9" fmla="*/ 280306 w 434970"/>
                <a:gd name="connsiteY9" fmla="*/ 93787 h 95069"/>
                <a:gd name="connsiteX10" fmla="*/ 280306 w 434970"/>
                <a:gd name="connsiteY10" fmla="*/ 54490 h 95069"/>
                <a:gd name="connsiteX11" fmla="*/ 295518 w 434970"/>
                <a:gd name="connsiteY11" fmla="*/ 45473 h 95069"/>
                <a:gd name="connsiteX12" fmla="*/ 301575 w 434970"/>
                <a:gd name="connsiteY12" fmla="*/ 46121 h 95069"/>
                <a:gd name="connsiteX13" fmla="*/ 303512 w 434970"/>
                <a:gd name="connsiteY13" fmla="*/ 30525 h 95069"/>
                <a:gd name="connsiteX14" fmla="*/ 297834 w 434970"/>
                <a:gd name="connsiteY14" fmla="*/ 30012 h 95069"/>
                <a:gd name="connsiteX15" fmla="*/ 279670 w 434970"/>
                <a:gd name="connsiteY15" fmla="*/ 37617 h 95069"/>
                <a:gd name="connsiteX16" fmla="*/ 353776 w 434970"/>
                <a:gd name="connsiteY16" fmla="*/ 71881 h 95069"/>
                <a:gd name="connsiteX17" fmla="*/ 338698 w 434970"/>
                <a:gd name="connsiteY17" fmla="*/ 79608 h 95069"/>
                <a:gd name="connsiteX18" fmla="*/ 322196 w 434970"/>
                <a:gd name="connsiteY18" fmla="*/ 62608 h 95069"/>
                <a:gd name="connsiteX19" fmla="*/ 338313 w 434970"/>
                <a:gd name="connsiteY19" fmla="*/ 45473 h 95069"/>
                <a:gd name="connsiteX20" fmla="*/ 353776 w 434970"/>
                <a:gd name="connsiteY20" fmla="*/ 53201 h 95069"/>
                <a:gd name="connsiteX21" fmla="*/ 353776 w 434970"/>
                <a:gd name="connsiteY21" fmla="*/ 71881 h 95069"/>
                <a:gd name="connsiteX22" fmla="*/ 354423 w 434970"/>
                <a:gd name="connsiteY22" fmla="*/ 36328 h 95069"/>
                <a:gd name="connsiteX23" fmla="*/ 336124 w 434970"/>
                <a:gd name="connsiteY23" fmla="*/ 30018 h 95069"/>
                <a:gd name="connsiteX24" fmla="*/ 305443 w 434970"/>
                <a:gd name="connsiteY24" fmla="*/ 62608 h 95069"/>
                <a:gd name="connsiteX25" fmla="*/ 313444 w 434970"/>
                <a:gd name="connsiteY25" fmla="*/ 84508 h 95069"/>
                <a:gd name="connsiteX26" fmla="*/ 337023 w 434970"/>
                <a:gd name="connsiteY26" fmla="*/ 95070 h 95069"/>
                <a:gd name="connsiteX27" fmla="*/ 354423 w 434970"/>
                <a:gd name="connsiteY27" fmla="*/ 88759 h 95069"/>
                <a:gd name="connsiteX28" fmla="*/ 354423 w 434970"/>
                <a:gd name="connsiteY28" fmla="*/ 93781 h 95069"/>
                <a:gd name="connsiteX29" fmla="*/ 370534 w 434970"/>
                <a:gd name="connsiteY29" fmla="*/ 93781 h 95069"/>
                <a:gd name="connsiteX30" fmla="*/ 370534 w 434970"/>
                <a:gd name="connsiteY30" fmla="*/ 31301 h 95069"/>
                <a:gd name="connsiteX31" fmla="*/ 354423 w 434970"/>
                <a:gd name="connsiteY31" fmla="*/ 31301 h 95069"/>
                <a:gd name="connsiteX32" fmla="*/ 354423 w 434970"/>
                <a:gd name="connsiteY32" fmla="*/ 36328 h 95069"/>
                <a:gd name="connsiteX33" fmla="*/ 385997 w 434970"/>
                <a:gd name="connsiteY33" fmla="*/ 93781 h 95069"/>
                <a:gd name="connsiteX34" fmla="*/ 402749 w 434970"/>
                <a:gd name="connsiteY34" fmla="*/ 93781 h 95069"/>
                <a:gd name="connsiteX35" fmla="*/ 402749 w 434970"/>
                <a:gd name="connsiteY35" fmla="*/ 3617 h 95069"/>
                <a:gd name="connsiteX36" fmla="*/ 385997 w 434970"/>
                <a:gd name="connsiteY36" fmla="*/ 7996 h 95069"/>
                <a:gd name="connsiteX37" fmla="*/ 385997 w 434970"/>
                <a:gd name="connsiteY37" fmla="*/ 93781 h 95069"/>
                <a:gd name="connsiteX38" fmla="*/ 239717 w 434970"/>
                <a:gd name="connsiteY38" fmla="*/ 0 h 95069"/>
                <a:gd name="connsiteX39" fmla="*/ 228765 w 434970"/>
                <a:gd name="connsiteY39" fmla="*/ 10690 h 95069"/>
                <a:gd name="connsiteX40" fmla="*/ 239717 w 434970"/>
                <a:gd name="connsiteY40" fmla="*/ 21387 h 95069"/>
                <a:gd name="connsiteX41" fmla="*/ 250676 w 434970"/>
                <a:gd name="connsiteY41" fmla="*/ 10690 h 95069"/>
                <a:gd name="connsiteX42" fmla="*/ 239717 w 434970"/>
                <a:gd name="connsiteY42" fmla="*/ 0 h 95069"/>
                <a:gd name="connsiteX43" fmla="*/ 48332 w 434970"/>
                <a:gd name="connsiteY43" fmla="*/ 71881 h 95069"/>
                <a:gd name="connsiteX44" fmla="*/ 33248 w 434970"/>
                <a:gd name="connsiteY44" fmla="*/ 79608 h 95069"/>
                <a:gd name="connsiteX45" fmla="*/ 16752 w 434970"/>
                <a:gd name="connsiteY45" fmla="*/ 62608 h 95069"/>
                <a:gd name="connsiteX46" fmla="*/ 32870 w 434970"/>
                <a:gd name="connsiteY46" fmla="*/ 45473 h 95069"/>
                <a:gd name="connsiteX47" fmla="*/ 48332 w 434970"/>
                <a:gd name="connsiteY47" fmla="*/ 53201 h 95069"/>
                <a:gd name="connsiteX48" fmla="*/ 48332 w 434970"/>
                <a:gd name="connsiteY48" fmla="*/ 71881 h 95069"/>
                <a:gd name="connsiteX49" fmla="*/ 48973 w 434970"/>
                <a:gd name="connsiteY49" fmla="*/ 36328 h 95069"/>
                <a:gd name="connsiteX50" fmla="*/ 30675 w 434970"/>
                <a:gd name="connsiteY50" fmla="*/ 30018 h 95069"/>
                <a:gd name="connsiteX51" fmla="*/ 0 w 434970"/>
                <a:gd name="connsiteY51" fmla="*/ 62608 h 95069"/>
                <a:gd name="connsiteX52" fmla="*/ 7988 w 434970"/>
                <a:gd name="connsiteY52" fmla="*/ 84508 h 95069"/>
                <a:gd name="connsiteX53" fmla="*/ 31574 w 434970"/>
                <a:gd name="connsiteY53" fmla="*/ 95070 h 95069"/>
                <a:gd name="connsiteX54" fmla="*/ 48973 w 434970"/>
                <a:gd name="connsiteY54" fmla="*/ 88759 h 95069"/>
                <a:gd name="connsiteX55" fmla="*/ 48973 w 434970"/>
                <a:gd name="connsiteY55" fmla="*/ 93781 h 95069"/>
                <a:gd name="connsiteX56" fmla="*/ 65085 w 434970"/>
                <a:gd name="connsiteY56" fmla="*/ 93781 h 95069"/>
                <a:gd name="connsiteX57" fmla="*/ 65085 w 434970"/>
                <a:gd name="connsiteY57" fmla="*/ 31301 h 95069"/>
                <a:gd name="connsiteX58" fmla="*/ 48973 w 434970"/>
                <a:gd name="connsiteY58" fmla="*/ 31301 h 95069"/>
                <a:gd name="connsiteX59" fmla="*/ 48973 w 434970"/>
                <a:gd name="connsiteY59" fmla="*/ 36328 h 95069"/>
                <a:gd name="connsiteX60" fmla="*/ 80547 w 434970"/>
                <a:gd name="connsiteY60" fmla="*/ 93781 h 95069"/>
                <a:gd name="connsiteX61" fmla="*/ 97306 w 434970"/>
                <a:gd name="connsiteY61" fmla="*/ 93781 h 95069"/>
                <a:gd name="connsiteX62" fmla="*/ 97306 w 434970"/>
                <a:gd name="connsiteY62" fmla="*/ 3617 h 95069"/>
                <a:gd name="connsiteX63" fmla="*/ 80547 w 434970"/>
                <a:gd name="connsiteY63" fmla="*/ 7996 h 95069"/>
                <a:gd name="connsiteX64" fmla="*/ 80547 w 434970"/>
                <a:gd name="connsiteY64" fmla="*/ 93781 h 95069"/>
                <a:gd name="connsiteX65" fmla="*/ 188934 w 434970"/>
                <a:gd name="connsiteY65" fmla="*/ 30012 h 95069"/>
                <a:gd name="connsiteX66" fmla="*/ 166767 w 434970"/>
                <a:gd name="connsiteY66" fmla="*/ 39810 h 95069"/>
                <a:gd name="connsiteX67" fmla="*/ 145760 w 434970"/>
                <a:gd name="connsiteY67" fmla="*/ 30012 h 95069"/>
                <a:gd name="connsiteX68" fmla="*/ 128874 w 434970"/>
                <a:gd name="connsiteY68" fmla="*/ 36328 h 95069"/>
                <a:gd name="connsiteX69" fmla="*/ 128874 w 434970"/>
                <a:gd name="connsiteY69" fmla="*/ 31307 h 95069"/>
                <a:gd name="connsiteX70" fmla="*/ 112756 w 434970"/>
                <a:gd name="connsiteY70" fmla="*/ 31307 h 95069"/>
                <a:gd name="connsiteX71" fmla="*/ 112756 w 434970"/>
                <a:gd name="connsiteY71" fmla="*/ 93787 h 95069"/>
                <a:gd name="connsiteX72" fmla="*/ 129515 w 434970"/>
                <a:gd name="connsiteY72" fmla="*/ 93787 h 95069"/>
                <a:gd name="connsiteX73" fmla="*/ 129515 w 434970"/>
                <a:gd name="connsiteY73" fmla="*/ 53201 h 95069"/>
                <a:gd name="connsiteX74" fmla="*/ 144079 w 434970"/>
                <a:gd name="connsiteY74" fmla="*/ 45473 h 95069"/>
                <a:gd name="connsiteX75" fmla="*/ 153486 w 434970"/>
                <a:gd name="connsiteY75" fmla="*/ 49340 h 95069"/>
                <a:gd name="connsiteX76" fmla="*/ 156578 w 434970"/>
                <a:gd name="connsiteY76" fmla="*/ 60030 h 95069"/>
                <a:gd name="connsiteX77" fmla="*/ 156578 w 434970"/>
                <a:gd name="connsiteY77" fmla="*/ 93781 h 95069"/>
                <a:gd name="connsiteX78" fmla="*/ 173331 w 434970"/>
                <a:gd name="connsiteY78" fmla="*/ 93781 h 95069"/>
                <a:gd name="connsiteX79" fmla="*/ 173331 w 434970"/>
                <a:gd name="connsiteY79" fmla="*/ 60678 h 95069"/>
                <a:gd name="connsiteX80" fmla="*/ 172817 w 434970"/>
                <a:gd name="connsiteY80" fmla="*/ 53714 h 95069"/>
                <a:gd name="connsiteX81" fmla="*/ 187901 w 434970"/>
                <a:gd name="connsiteY81" fmla="*/ 45467 h 95069"/>
                <a:gd name="connsiteX82" fmla="*/ 197307 w 434970"/>
                <a:gd name="connsiteY82" fmla="*/ 49334 h 95069"/>
                <a:gd name="connsiteX83" fmla="*/ 200406 w 434970"/>
                <a:gd name="connsiteY83" fmla="*/ 60024 h 95069"/>
                <a:gd name="connsiteX84" fmla="*/ 200406 w 434970"/>
                <a:gd name="connsiteY84" fmla="*/ 93774 h 95069"/>
                <a:gd name="connsiteX85" fmla="*/ 217152 w 434970"/>
                <a:gd name="connsiteY85" fmla="*/ 93774 h 95069"/>
                <a:gd name="connsiteX86" fmla="*/ 217152 w 434970"/>
                <a:gd name="connsiteY86" fmla="*/ 60671 h 95069"/>
                <a:gd name="connsiteX87" fmla="*/ 210845 w 434970"/>
                <a:gd name="connsiteY87" fmla="*/ 40055 h 95069"/>
                <a:gd name="connsiteX88" fmla="*/ 188934 w 434970"/>
                <a:gd name="connsiteY88" fmla="*/ 30012 h 95069"/>
                <a:gd name="connsiteX89" fmla="*/ 231344 w 434970"/>
                <a:gd name="connsiteY89" fmla="*/ 93781 h 95069"/>
                <a:gd name="connsiteX90" fmla="*/ 248096 w 434970"/>
                <a:gd name="connsiteY90" fmla="*/ 93781 h 95069"/>
                <a:gd name="connsiteX91" fmla="*/ 248096 w 434970"/>
                <a:gd name="connsiteY91" fmla="*/ 31301 h 95069"/>
                <a:gd name="connsiteX92" fmla="*/ 231344 w 434970"/>
                <a:gd name="connsiteY92" fmla="*/ 31301 h 95069"/>
                <a:gd name="connsiteX93" fmla="*/ 231344 w 434970"/>
                <a:gd name="connsiteY93" fmla="*/ 93781 h 950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</a:cxnLst>
              <a:rect l="l" t="t" r="r" b="b"/>
              <a:pathLst>
                <a:path w="434970" h="95069">
                  <a:moveTo>
                    <a:pt x="418218" y="7990"/>
                  </a:moveTo>
                  <a:lnTo>
                    <a:pt x="418218" y="93781"/>
                  </a:lnTo>
                  <a:lnTo>
                    <a:pt x="434970" y="93781"/>
                  </a:lnTo>
                  <a:lnTo>
                    <a:pt x="434970" y="3617"/>
                  </a:lnTo>
                  <a:lnTo>
                    <a:pt x="418218" y="7990"/>
                  </a:lnTo>
                  <a:close/>
                  <a:moveTo>
                    <a:pt x="279670" y="37617"/>
                  </a:moveTo>
                  <a:lnTo>
                    <a:pt x="279670" y="31307"/>
                  </a:lnTo>
                  <a:lnTo>
                    <a:pt x="263565" y="31307"/>
                  </a:lnTo>
                  <a:lnTo>
                    <a:pt x="263565" y="93787"/>
                  </a:lnTo>
                  <a:lnTo>
                    <a:pt x="280306" y="93787"/>
                  </a:lnTo>
                  <a:lnTo>
                    <a:pt x="280306" y="54490"/>
                  </a:lnTo>
                  <a:cubicBezTo>
                    <a:pt x="282365" y="50763"/>
                    <a:pt x="288172" y="45473"/>
                    <a:pt x="295518" y="45473"/>
                  </a:cubicBezTo>
                  <a:cubicBezTo>
                    <a:pt x="297962" y="45473"/>
                    <a:pt x="300413" y="45736"/>
                    <a:pt x="301575" y="46121"/>
                  </a:cubicBezTo>
                  <a:lnTo>
                    <a:pt x="303512" y="30525"/>
                  </a:lnTo>
                  <a:cubicBezTo>
                    <a:pt x="301697" y="30269"/>
                    <a:pt x="300285" y="30012"/>
                    <a:pt x="297834" y="30012"/>
                  </a:cubicBezTo>
                  <a:cubicBezTo>
                    <a:pt x="290237" y="30018"/>
                    <a:pt x="283404" y="32981"/>
                    <a:pt x="279670" y="37617"/>
                  </a:cubicBezTo>
                  <a:moveTo>
                    <a:pt x="353776" y="71881"/>
                  </a:moveTo>
                  <a:cubicBezTo>
                    <a:pt x="350555" y="76517"/>
                    <a:pt x="345005" y="79608"/>
                    <a:pt x="338698" y="79608"/>
                  </a:cubicBezTo>
                  <a:cubicBezTo>
                    <a:pt x="329285" y="79608"/>
                    <a:pt x="322196" y="72394"/>
                    <a:pt x="322196" y="62608"/>
                  </a:cubicBezTo>
                  <a:cubicBezTo>
                    <a:pt x="322196" y="53591"/>
                    <a:pt x="328515" y="45473"/>
                    <a:pt x="338313" y="45473"/>
                  </a:cubicBezTo>
                  <a:cubicBezTo>
                    <a:pt x="344754" y="45473"/>
                    <a:pt x="350297" y="48564"/>
                    <a:pt x="353776" y="53201"/>
                  </a:cubicBezTo>
                  <a:lnTo>
                    <a:pt x="353776" y="71881"/>
                  </a:lnTo>
                  <a:close/>
                  <a:moveTo>
                    <a:pt x="354423" y="36328"/>
                  </a:moveTo>
                  <a:cubicBezTo>
                    <a:pt x="349522" y="32333"/>
                    <a:pt x="343208" y="30018"/>
                    <a:pt x="336124" y="30018"/>
                  </a:cubicBezTo>
                  <a:cubicBezTo>
                    <a:pt x="319110" y="30018"/>
                    <a:pt x="305443" y="44184"/>
                    <a:pt x="305443" y="62608"/>
                  </a:cubicBezTo>
                  <a:cubicBezTo>
                    <a:pt x="305443" y="71117"/>
                    <a:pt x="308536" y="78839"/>
                    <a:pt x="313444" y="84508"/>
                  </a:cubicBezTo>
                  <a:cubicBezTo>
                    <a:pt x="318974" y="90952"/>
                    <a:pt x="327751" y="95070"/>
                    <a:pt x="337023" y="95070"/>
                  </a:cubicBezTo>
                  <a:cubicBezTo>
                    <a:pt x="343337" y="95070"/>
                    <a:pt x="349265" y="93139"/>
                    <a:pt x="354423" y="88759"/>
                  </a:cubicBezTo>
                  <a:lnTo>
                    <a:pt x="354423" y="93781"/>
                  </a:lnTo>
                  <a:lnTo>
                    <a:pt x="370534" y="93781"/>
                  </a:lnTo>
                  <a:lnTo>
                    <a:pt x="370534" y="31301"/>
                  </a:lnTo>
                  <a:lnTo>
                    <a:pt x="354423" y="31301"/>
                  </a:lnTo>
                  <a:lnTo>
                    <a:pt x="354423" y="36328"/>
                  </a:lnTo>
                  <a:close/>
                  <a:moveTo>
                    <a:pt x="385997" y="93781"/>
                  </a:moveTo>
                  <a:lnTo>
                    <a:pt x="402749" y="93781"/>
                  </a:lnTo>
                  <a:lnTo>
                    <a:pt x="402749" y="3617"/>
                  </a:lnTo>
                  <a:lnTo>
                    <a:pt x="385997" y="7996"/>
                  </a:lnTo>
                  <a:lnTo>
                    <a:pt x="385997" y="93781"/>
                  </a:lnTo>
                  <a:close/>
                  <a:moveTo>
                    <a:pt x="239717" y="0"/>
                  </a:moveTo>
                  <a:cubicBezTo>
                    <a:pt x="233660" y="0"/>
                    <a:pt x="228765" y="4643"/>
                    <a:pt x="228765" y="10690"/>
                  </a:cubicBezTo>
                  <a:cubicBezTo>
                    <a:pt x="228765" y="16750"/>
                    <a:pt x="233660" y="21387"/>
                    <a:pt x="239717" y="21387"/>
                  </a:cubicBezTo>
                  <a:cubicBezTo>
                    <a:pt x="245774" y="21387"/>
                    <a:pt x="250676" y="16750"/>
                    <a:pt x="250676" y="10690"/>
                  </a:cubicBezTo>
                  <a:cubicBezTo>
                    <a:pt x="250676" y="4643"/>
                    <a:pt x="245774" y="0"/>
                    <a:pt x="239717" y="0"/>
                  </a:cubicBezTo>
                  <a:moveTo>
                    <a:pt x="48332" y="71881"/>
                  </a:moveTo>
                  <a:cubicBezTo>
                    <a:pt x="45117" y="76517"/>
                    <a:pt x="39568" y="79608"/>
                    <a:pt x="33248" y="79608"/>
                  </a:cubicBezTo>
                  <a:cubicBezTo>
                    <a:pt x="23842" y="79608"/>
                    <a:pt x="16752" y="72394"/>
                    <a:pt x="16752" y="62608"/>
                  </a:cubicBezTo>
                  <a:cubicBezTo>
                    <a:pt x="16752" y="53591"/>
                    <a:pt x="23072" y="45473"/>
                    <a:pt x="32870" y="45473"/>
                  </a:cubicBezTo>
                  <a:cubicBezTo>
                    <a:pt x="39317" y="45473"/>
                    <a:pt x="44860" y="48564"/>
                    <a:pt x="48332" y="53201"/>
                  </a:cubicBezTo>
                  <a:lnTo>
                    <a:pt x="48332" y="71881"/>
                  </a:lnTo>
                  <a:close/>
                  <a:moveTo>
                    <a:pt x="48973" y="36328"/>
                  </a:moveTo>
                  <a:cubicBezTo>
                    <a:pt x="44079" y="32333"/>
                    <a:pt x="37759" y="30018"/>
                    <a:pt x="30675" y="30018"/>
                  </a:cubicBezTo>
                  <a:cubicBezTo>
                    <a:pt x="13660" y="30018"/>
                    <a:pt x="0" y="44184"/>
                    <a:pt x="0" y="62608"/>
                  </a:cubicBezTo>
                  <a:cubicBezTo>
                    <a:pt x="0" y="71117"/>
                    <a:pt x="3092" y="78839"/>
                    <a:pt x="7988" y="84508"/>
                  </a:cubicBezTo>
                  <a:cubicBezTo>
                    <a:pt x="13531" y="90952"/>
                    <a:pt x="22296" y="95070"/>
                    <a:pt x="31574" y="95070"/>
                  </a:cubicBezTo>
                  <a:cubicBezTo>
                    <a:pt x="37887" y="95070"/>
                    <a:pt x="43822" y="93139"/>
                    <a:pt x="48973" y="88759"/>
                  </a:cubicBezTo>
                  <a:lnTo>
                    <a:pt x="48973" y="93781"/>
                  </a:lnTo>
                  <a:lnTo>
                    <a:pt x="65085" y="93781"/>
                  </a:lnTo>
                  <a:lnTo>
                    <a:pt x="65085" y="31301"/>
                  </a:lnTo>
                  <a:lnTo>
                    <a:pt x="48973" y="31301"/>
                  </a:lnTo>
                  <a:lnTo>
                    <a:pt x="48973" y="36328"/>
                  </a:lnTo>
                  <a:close/>
                  <a:moveTo>
                    <a:pt x="80547" y="93781"/>
                  </a:moveTo>
                  <a:lnTo>
                    <a:pt x="97306" y="93781"/>
                  </a:lnTo>
                  <a:lnTo>
                    <a:pt x="97306" y="3617"/>
                  </a:lnTo>
                  <a:lnTo>
                    <a:pt x="80547" y="7996"/>
                  </a:lnTo>
                  <a:lnTo>
                    <a:pt x="80547" y="93781"/>
                  </a:lnTo>
                  <a:close/>
                  <a:moveTo>
                    <a:pt x="188934" y="30012"/>
                  </a:moveTo>
                  <a:cubicBezTo>
                    <a:pt x="179650" y="30012"/>
                    <a:pt x="171791" y="34526"/>
                    <a:pt x="166767" y="39810"/>
                  </a:cubicBezTo>
                  <a:cubicBezTo>
                    <a:pt x="161865" y="33879"/>
                    <a:pt x="154262" y="30012"/>
                    <a:pt x="145760" y="30012"/>
                  </a:cubicBezTo>
                  <a:cubicBezTo>
                    <a:pt x="139704" y="30012"/>
                    <a:pt x="133775" y="31949"/>
                    <a:pt x="128874" y="36328"/>
                  </a:cubicBezTo>
                  <a:lnTo>
                    <a:pt x="128874" y="31307"/>
                  </a:lnTo>
                  <a:lnTo>
                    <a:pt x="112756" y="31307"/>
                  </a:lnTo>
                  <a:lnTo>
                    <a:pt x="112756" y="93787"/>
                  </a:lnTo>
                  <a:lnTo>
                    <a:pt x="129515" y="93787"/>
                  </a:lnTo>
                  <a:lnTo>
                    <a:pt x="129515" y="53201"/>
                  </a:lnTo>
                  <a:cubicBezTo>
                    <a:pt x="131831" y="50250"/>
                    <a:pt x="136996" y="45473"/>
                    <a:pt x="144079" y="45473"/>
                  </a:cubicBezTo>
                  <a:cubicBezTo>
                    <a:pt x="147294" y="45473"/>
                    <a:pt x="150907" y="46506"/>
                    <a:pt x="153486" y="49340"/>
                  </a:cubicBezTo>
                  <a:cubicBezTo>
                    <a:pt x="155417" y="51527"/>
                    <a:pt x="156578" y="54361"/>
                    <a:pt x="156578" y="60030"/>
                  </a:cubicBezTo>
                  <a:lnTo>
                    <a:pt x="156578" y="93781"/>
                  </a:lnTo>
                  <a:lnTo>
                    <a:pt x="173331" y="93781"/>
                  </a:lnTo>
                  <a:lnTo>
                    <a:pt x="173331" y="60678"/>
                  </a:lnTo>
                  <a:cubicBezTo>
                    <a:pt x="173331" y="58100"/>
                    <a:pt x="173074" y="55772"/>
                    <a:pt x="172817" y="53714"/>
                  </a:cubicBezTo>
                  <a:cubicBezTo>
                    <a:pt x="175011" y="50501"/>
                    <a:pt x="180677" y="45467"/>
                    <a:pt x="187901" y="45467"/>
                  </a:cubicBezTo>
                  <a:cubicBezTo>
                    <a:pt x="191116" y="45467"/>
                    <a:pt x="194728" y="46499"/>
                    <a:pt x="197307" y="49334"/>
                  </a:cubicBezTo>
                  <a:cubicBezTo>
                    <a:pt x="199239" y="51521"/>
                    <a:pt x="200406" y="54355"/>
                    <a:pt x="200406" y="60024"/>
                  </a:cubicBezTo>
                  <a:lnTo>
                    <a:pt x="200406" y="93774"/>
                  </a:lnTo>
                  <a:lnTo>
                    <a:pt x="217152" y="93774"/>
                  </a:lnTo>
                  <a:lnTo>
                    <a:pt x="217152" y="60671"/>
                  </a:lnTo>
                  <a:cubicBezTo>
                    <a:pt x="217152" y="51392"/>
                    <a:pt x="214830" y="44954"/>
                    <a:pt x="210845" y="40055"/>
                  </a:cubicBezTo>
                  <a:cubicBezTo>
                    <a:pt x="205821" y="33879"/>
                    <a:pt x="197582" y="30012"/>
                    <a:pt x="188934" y="30012"/>
                  </a:cubicBezTo>
                  <a:moveTo>
                    <a:pt x="231344" y="93781"/>
                  </a:moveTo>
                  <a:lnTo>
                    <a:pt x="248096" y="93781"/>
                  </a:lnTo>
                  <a:lnTo>
                    <a:pt x="248096" y="31301"/>
                  </a:lnTo>
                  <a:lnTo>
                    <a:pt x="231344" y="31301"/>
                  </a:lnTo>
                  <a:lnTo>
                    <a:pt x="231344" y="93781"/>
                  </a:lnTo>
                  <a:close/>
                </a:path>
              </a:pathLst>
            </a:custGeom>
            <a:solidFill>
              <a:schemeClr val="accent1"/>
            </a:solidFill>
            <a:ln w="61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 sz="2400" dirty="0">
                <a:solidFill>
                  <a:schemeClr val="accent1"/>
                </a:solidFill>
              </a:endParaRPr>
            </a:p>
          </p:txBody>
        </p:sp>
      </p:grpSp>
      <p:pic>
        <p:nvPicPr>
          <p:cNvPr id="43" name="Imagen 42">
            <a:extLst>
              <a:ext uri="{FF2B5EF4-FFF2-40B4-BE49-F238E27FC236}">
                <a16:creationId xmlns:a16="http://schemas.microsoft.com/office/drawing/2014/main" id="{B5477B23-F4C0-4652-BFC8-E64DF78C097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5598629"/>
            <a:ext cx="2079437" cy="1262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80079034"/>
      </p:ext>
    </p:extLst>
  </p:cSld>
  <p:clrMapOvr>
    <a:masterClrMapping/>
  </p:clrMapOvr>
  <p:transition spd="med"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-2-LINE HEADLINE 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40418" y="515273"/>
            <a:ext cx="10346231" cy="880781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240418" y="1628274"/>
            <a:ext cx="10346231" cy="47684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4112705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type="titleOnly">
  <p:cSld name="Title only">
    <p:spTree>
      <p:nvGrpSpPr>
        <p:cNvPr id="1" name="Shape 2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Google Shape;25;p6"/>
          <p:cNvSpPr txBox="1">
            <a:spLocks noGrp="1"/>
          </p:cNvSpPr>
          <p:nvPr>
            <p:ph type="title"/>
          </p:nvPr>
        </p:nvSpPr>
        <p:spPr>
          <a:xfrm>
            <a:off x="603400" y="548633"/>
            <a:ext cx="10985200" cy="748800"/>
          </a:xfrm>
          <a:prstGeom prst="rect">
            <a:avLst/>
          </a:prstGeom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Fira Sans Extra Condensed"/>
              <a:buNone/>
              <a:defRPr sz="3200" b="1">
                <a:solidFill>
                  <a:schemeClr val="dk1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Fira Sans Extra Condensed"/>
              <a:buNone/>
              <a:defRPr sz="3200" b="1">
                <a:solidFill>
                  <a:schemeClr val="dk1"/>
                </a:solidFill>
                <a:latin typeface="Fira Sans Extra Condensed"/>
                <a:ea typeface="Fira Sans Extra Condensed"/>
                <a:cs typeface="Fira Sans Extra Condensed"/>
                <a:sym typeface="Fira Sans Extra Condensed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Fira Sans Extra Condensed"/>
              <a:buNone/>
              <a:defRPr sz="3200" b="1">
                <a:solidFill>
                  <a:schemeClr val="dk1"/>
                </a:solidFill>
                <a:latin typeface="Fira Sans Extra Condensed"/>
                <a:ea typeface="Fira Sans Extra Condensed"/>
                <a:cs typeface="Fira Sans Extra Condensed"/>
                <a:sym typeface="Fira Sans Extra Condensed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Fira Sans Extra Condensed"/>
              <a:buNone/>
              <a:defRPr sz="3200" b="1">
                <a:solidFill>
                  <a:schemeClr val="dk1"/>
                </a:solidFill>
                <a:latin typeface="Fira Sans Extra Condensed"/>
                <a:ea typeface="Fira Sans Extra Condensed"/>
                <a:cs typeface="Fira Sans Extra Condensed"/>
                <a:sym typeface="Fira Sans Extra Condensed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Fira Sans Extra Condensed"/>
              <a:buNone/>
              <a:defRPr sz="3200" b="1">
                <a:solidFill>
                  <a:schemeClr val="dk1"/>
                </a:solidFill>
                <a:latin typeface="Fira Sans Extra Condensed"/>
                <a:ea typeface="Fira Sans Extra Condensed"/>
                <a:cs typeface="Fira Sans Extra Condensed"/>
                <a:sym typeface="Fira Sans Extra Condensed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Fira Sans Extra Condensed"/>
              <a:buNone/>
              <a:defRPr sz="3200" b="1">
                <a:solidFill>
                  <a:schemeClr val="dk1"/>
                </a:solidFill>
                <a:latin typeface="Fira Sans Extra Condensed"/>
                <a:ea typeface="Fira Sans Extra Condensed"/>
                <a:cs typeface="Fira Sans Extra Condensed"/>
                <a:sym typeface="Fira Sans Extra Condensed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Fira Sans Extra Condensed"/>
              <a:buNone/>
              <a:defRPr sz="3200" b="1">
                <a:solidFill>
                  <a:schemeClr val="dk1"/>
                </a:solidFill>
                <a:latin typeface="Fira Sans Extra Condensed"/>
                <a:ea typeface="Fira Sans Extra Condensed"/>
                <a:cs typeface="Fira Sans Extra Condensed"/>
                <a:sym typeface="Fira Sans Extra Condensed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Fira Sans Extra Condensed"/>
              <a:buNone/>
              <a:defRPr sz="3200" b="1">
                <a:solidFill>
                  <a:schemeClr val="dk1"/>
                </a:solidFill>
                <a:latin typeface="Fira Sans Extra Condensed"/>
                <a:ea typeface="Fira Sans Extra Condensed"/>
                <a:cs typeface="Fira Sans Extra Condensed"/>
                <a:sym typeface="Fira Sans Extra Condensed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Fira Sans Extra Condensed"/>
              <a:buNone/>
              <a:defRPr sz="3200" b="1">
                <a:solidFill>
                  <a:schemeClr val="dk1"/>
                </a:solidFill>
                <a:latin typeface="Fira Sans Extra Condensed"/>
                <a:ea typeface="Fira Sans Extra Condensed"/>
                <a:cs typeface="Fira Sans Extra Condensed"/>
                <a:sym typeface="Fira Sans Extra Condensed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16411256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ítulo 1">
            <a:extLst>
              <a:ext uri="{FF2B5EF4-FFF2-40B4-BE49-F238E27FC236}">
                <a16:creationId xmlns:a16="http://schemas.microsoft.com/office/drawing/2014/main" id="{064ECE5C-F180-9075-788D-279D1026D58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2425" y="365126"/>
            <a:ext cx="9505951" cy="1307810"/>
          </a:xfrm>
        </p:spPr>
        <p:txBody>
          <a:bodyPr anchor="t" anchorCtr="0">
            <a:normAutofit/>
          </a:bodyPr>
          <a:lstStyle>
            <a:lvl1pPr>
              <a:defRPr sz="3600" b="1" cap="none" baseline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s-ES" dirty="0"/>
              <a:t>Haga clic para modificar el estilo de título del patrón</a:t>
            </a:r>
          </a:p>
        </p:txBody>
      </p:sp>
      <p:sp>
        <p:nvSpPr>
          <p:cNvPr id="10" name="Marcador de contenido 2">
            <a:extLst>
              <a:ext uri="{FF2B5EF4-FFF2-40B4-BE49-F238E27FC236}">
                <a16:creationId xmlns:a16="http://schemas.microsoft.com/office/drawing/2014/main" id="{1F969E75-B7CE-12A2-BED5-D7099AC3D8E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52425" y="1799072"/>
            <a:ext cx="9505951" cy="4288907"/>
          </a:xfrm>
        </p:spPr>
        <p:txBody>
          <a:bodyPr/>
          <a:lstStyle>
            <a:lvl1pPr>
              <a:buClr>
                <a:srgbClr val="FFD161"/>
              </a:buClr>
              <a:defRPr>
                <a:solidFill>
                  <a:srgbClr val="00285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buClr>
                <a:srgbClr val="FFD161"/>
              </a:buClr>
              <a:defRPr>
                <a:solidFill>
                  <a:srgbClr val="00285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buClr>
                <a:srgbClr val="FFD161"/>
              </a:buClr>
              <a:defRPr>
                <a:solidFill>
                  <a:srgbClr val="00285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buClr>
                <a:srgbClr val="FFD161"/>
              </a:buClr>
              <a:defRPr>
                <a:solidFill>
                  <a:srgbClr val="00285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buClr>
                <a:srgbClr val="FFD161"/>
              </a:buClr>
              <a:defRPr>
                <a:solidFill>
                  <a:srgbClr val="00285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s-ES" dirty="0"/>
              <a:t>Haga clic para modificar los estilos de texto del patrón</a:t>
            </a:r>
          </a:p>
          <a:p>
            <a:pPr lvl="1"/>
            <a:r>
              <a:rPr lang="es-ES" dirty="0"/>
              <a:t>Segundo nivel</a:t>
            </a:r>
          </a:p>
          <a:p>
            <a:pPr lvl="2"/>
            <a:r>
              <a:rPr lang="es-ES" dirty="0"/>
              <a:t>Tercer nivel</a:t>
            </a:r>
          </a:p>
          <a:p>
            <a:pPr lvl="3"/>
            <a:r>
              <a:rPr lang="es-ES" dirty="0"/>
              <a:t>Cuarto nivel</a:t>
            </a:r>
          </a:p>
          <a:p>
            <a:pPr lvl="4"/>
            <a:r>
              <a:rPr lang="es-ES" dirty="0"/>
              <a:t>Quinto nivel</a:t>
            </a:r>
          </a:p>
        </p:txBody>
      </p:sp>
      <p:pic>
        <p:nvPicPr>
          <p:cNvPr id="3" name="Imagen 2">
            <a:extLst>
              <a:ext uri="{FF2B5EF4-FFF2-40B4-BE49-F238E27FC236}">
                <a16:creationId xmlns:a16="http://schemas.microsoft.com/office/drawing/2014/main" id="{3C8F6232-EEA3-60E9-788B-6DB05EDDA66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717" y="0"/>
            <a:ext cx="12193434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679300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En blanco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F799596-F1AE-5F4F-A317-9CBFC14D5F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7"/>
            <a:ext cx="10515600" cy="1325563"/>
          </a:xfrm>
          <a:prstGeom prst="rect">
            <a:avLst/>
          </a:prstGeom>
        </p:spPr>
        <p:txBody>
          <a:bodyPr>
            <a:normAutofit/>
          </a:bodyPr>
          <a:lstStyle>
            <a:lvl1pPr>
              <a:lnSpc>
                <a:spcPts val="3500"/>
              </a:lnSpc>
              <a:defRPr sz="3200" b="0" i="0">
                <a:solidFill>
                  <a:schemeClr val="accent1"/>
                </a:solidFill>
                <a:latin typeface="Montserrat" pitchFamily="2" charset="77"/>
              </a:defRPr>
            </a:lvl1pPr>
          </a:lstStyle>
          <a:p>
            <a:r>
              <a:rPr lang="es-ES" dirty="0"/>
              <a:t>Haga clic para modificar el estilo de título del patrón</a:t>
            </a:r>
            <a:endParaRPr lang="en-US" dirty="0"/>
          </a:p>
        </p:txBody>
      </p:sp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261ED17C-880A-074C-9BF0-23F0938AC6D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8200" y="3138393"/>
            <a:ext cx="10515600" cy="2969108"/>
          </a:xfrm>
          <a:prstGeom prst="rect">
            <a:avLst/>
          </a:prstGeom>
        </p:spPr>
        <p:txBody>
          <a:bodyPr/>
          <a:lstStyle>
            <a:lvl1pPr marL="285750" indent="-285750">
              <a:spcAft>
                <a:spcPts val="12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600" b="0" i="0">
                <a:solidFill>
                  <a:schemeClr val="bg2">
                    <a:lumMod val="25000"/>
                  </a:schemeClr>
                </a:solidFill>
                <a:latin typeface="Montserrat Light" pitchFamily="2" charset="77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s-ES" dirty="0"/>
              <a:t>Haga clic para modificar los estilos de texto del patrón</a:t>
            </a:r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id="{751DF64B-8B54-3E4C-99FB-4CCC8893FDD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38200" y="1825624"/>
            <a:ext cx="10515600" cy="1177834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buNone/>
              <a:defRPr sz="2000" b="0" i="0">
                <a:solidFill>
                  <a:schemeClr val="accent2"/>
                </a:solidFill>
                <a:latin typeface="Montserrat Light" pitchFamily="2" charset="77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s-ES" dirty="0"/>
              <a:t>Haga clic para modificar el estilo de subtítulo del patrón</a:t>
            </a:r>
            <a:endParaRPr lang="en-US" dirty="0"/>
          </a:p>
        </p:txBody>
      </p:sp>
      <p:pic>
        <p:nvPicPr>
          <p:cNvPr id="8" name="Imagen 7">
            <a:extLst>
              <a:ext uri="{FF2B5EF4-FFF2-40B4-BE49-F238E27FC236}">
                <a16:creationId xmlns:a16="http://schemas.microsoft.com/office/drawing/2014/main" id="{3E5DDC68-5304-0D45-8D00-ECA45119F48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8200" y="6353780"/>
            <a:ext cx="2016759" cy="383135"/>
          </a:xfrm>
          <a:prstGeom prst="rect">
            <a:avLst/>
          </a:prstGeom>
        </p:spPr>
      </p:pic>
      <p:pic>
        <p:nvPicPr>
          <p:cNvPr id="7" name="Imagen 6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91856" y="6100877"/>
            <a:ext cx="1748147" cy="7658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1745196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exto s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n 5">
            <a:extLst>
              <a:ext uri="{FF2B5EF4-FFF2-40B4-BE49-F238E27FC236}">
                <a16:creationId xmlns:a16="http://schemas.microsoft.com/office/drawing/2014/main" id="{057F6F9D-641F-4F3E-B189-6D48E2F78FB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5595933"/>
            <a:ext cx="2079437" cy="1262068"/>
          </a:xfrm>
          <a:prstGeom prst="rect">
            <a:avLst/>
          </a:prstGeom>
        </p:spPr>
      </p:pic>
      <p:cxnSp>
        <p:nvCxnSpPr>
          <p:cNvPr id="11" name="Conector recto 10">
            <a:extLst>
              <a:ext uri="{FF2B5EF4-FFF2-40B4-BE49-F238E27FC236}">
                <a16:creationId xmlns:a16="http://schemas.microsoft.com/office/drawing/2014/main" id="{DD92853B-47F0-D2AB-2E43-E936312B5337}"/>
              </a:ext>
            </a:extLst>
          </p:cNvPr>
          <p:cNvCxnSpPr>
            <a:cxnSpLocks/>
          </p:cNvCxnSpPr>
          <p:nvPr userDrawn="1"/>
        </p:nvCxnSpPr>
        <p:spPr>
          <a:xfrm>
            <a:off x="440761" y="1108365"/>
            <a:ext cx="11389396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C775B039-0370-64AA-89FF-02371C6539E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261534" y="6375402"/>
            <a:ext cx="9492191" cy="44132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s-ES_tradnl"/>
            </a:defPPr>
            <a:lvl1pPr marL="0" algn="ctr" defTabSz="121917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609585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17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75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833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92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750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7093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6678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Deck title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8279350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880">
          <p15:clr>
            <a:srgbClr val="FBAE40"/>
          </p15:clr>
        </p15:guide>
        <p15:guide id="4" pos="4400">
          <p15:clr>
            <a:srgbClr val="FBAE40"/>
          </p15:clr>
        </p15:guide>
        <p15:guide id="5" orient="horz" pos="259">
          <p15:clr>
            <a:srgbClr val="FBAE40"/>
          </p15:clr>
        </p15:guide>
        <p15:guide id="6" orient="horz" pos="797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over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upo 4">
            <a:extLst>
              <a:ext uri="{FF2B5EF4-FFF2-40B4-BE49-F238E27FC236}">
                <a16:creationId xmlns:a16="http://schemas.microsoft.com/office/drawing/2014/main" id="{6A89A73E-2C31-7D42-AF20-9EEB1A54201F}"/>
              </a:ext>
            </a:extLst>
          </p:cNvPr>
          <p:cNvGrpSpPr/>
          <p:nvPr userDrawn="1"/>
        </p:nvGrpSpPr>
        <p:grpSpPr>
          <a:xfrm>
            <a:off x="10869235" y="6305566"/>
            <a:ext cx="1001260" cy="310180"/>
            <a:chOff x="7785861" y="4639396"/>
            <a:chExt cx="1111660" cy="344382"/>
          </a:xfrm>
        </p:grpSpPr>
        <p:sp>
          <p:nvSpPr>
            <p:cNvPr id="6" name="Forma libre 5">
              <a:extLst>
                <a:ext uri="{FF2B5EF4-FFF2-40B4-BE49-F238E27FC236}">
                  <a16:creationId xmlns:a16="http://schemas.microsoft.com/office/drawing/2014/main" id="{34B27C1E-A557-6A44-8926-1FD5540CD3BF}"/>
                </a:ext>
              </a:extLst>
            </p:cNvPr>
            <p:cNvSpPr/>
            <p:nvPr userDrawn="1"/>
          </p:nvSpPr>
          <p:spPr>
            <a:xfrm>
              <a:off x="7785861" y="4639396"/>
              <a:ext cx="256158" cy="344382"/>
            </a:xfrm>
            <a:custGeom>
              <a:avLst/>
              <a:gdLst>
                <a:gd name="connsiteX0" fmla="*/ 107295 w 139455"/>
                <a:gd name="connsiteY0" fmla="*/ 11790 h 187485"/>
                <a:gd name="connsiteX1" fmla="*/ 107295 w 139455"/>
                <a:gd name="connsiteY1" fmla="*/ 0 h 187485"/>
                <a:gd name="connsiteX2" fmla="*/ 46294 w 139455"/>
                <a:gd name="connsiteY2" fmla="*/ 32046 h 187485"/>
                <a:gd name="connsiteX3" fmla="*/ 39296 w 139455"/>
                <a:gd name="connsiteY3" fmla="*/ 43610 h 187485"/>
                <a:gd name="connsiteX4" fmla="*/ 39296 w 139455"/>
                <a:gd name="connsiteY4" fmla="*/ 55400 h 187485"/>
                <a:gd name="connsiteX5" fmla="*/ 100310 w 139455"/>
                <a:gd name="connsiteY5" fmla="*/ 23353 h 187485"/>
                <a:gd name="connsiteX6" fmla="*/ 107295 w 139455"/>
                <a:gd name="connsiteY6" fmla="*/ 11790 h 187485"/>
                <a:gd name="connsiteX7" fmla="*/ 107466 w 139455"/>
                <a:gd name="connsiteY7" fmla="*/ 39279 h 187485"/>
                <a:gd name="connsiteX8" fmla="*/ 46459 w 139455"/>
                <a:gd name="connsiteY8" fmla="*/ 71325 h 187485"/>
                <a:gd name="connsiteX9" fmla="*/ 39466 w 139455"/>
                <a:gd name="connsiteY9" fmla="*/ 82889 h 187485"/>
                <a:gd name="connsiteX10" fmla="*/ 39466 w 139455"/>
                <a:gd name="connsiteY10" fmla="*/ 94678 h 187485"/>
                <a:gd name="connsiteX11" fmla="*/ 100475 w 139455"/>
                <a:gd name="connsiteY11" fmla="*/ 62638 h 187485"/>
                <a:gd name="connsiteX12" fmla="*/ 107466 w 139455"/>
                <a:gd name="connsiteY12" fmla="*/ 51069 h 187485"/>
                <a:gd name="connsiteX13" fmla="*/ 107466 w 139455"/>
                <a:gd name="connsiteY13" fmla="*/ 39279 h 187485"/>
                <a:gd name="connsiteX14" fmla="*/ 39466 w 139455"/>
                <a:gd name="connsiteY14" fmla="*/ 122167 h 187485"/>
                <a:gd name="connsiteX15" fmla="*/ 39466 w 139455"/>
                <a:gd name="connsiteY15" fmla="*/ 133951 h 187485"/>
                <a:gd name="connsiteX16" fmla="*/ 100475 w 139455"/>
                <a:gd name="connsiteY16" fmla="*/ 101905 h 187485"/>
                <a:gd name="connsiteX17" fmla="*/ 107466 w 139455"/>
                <a:gd name="connsiteY17" fmla="*/ 90347 h 187485"/>
                <a:gd name="connsiteX18" fmla="*/ 107466 w 139455"/>
                <a:gd name="connsiteY18" fmla="*/ 78558 h 187485"/>
                <a:gd name="connsiteX19" fmla="*/ 46459 w 139455"/>
                <a:gd name="connsiteY19" fmla="*/ 110598 h 187485"/>
                <a:gd name="connsiteX20" fmla="*/ 39466 w 139455"/>
                <a:gd name="connsiteY20" fmla="*/ 122167 h 187485"/>
                <a:gd name="connsiteX21" fmla="*/ 135911 w 139455"/>
                <a:gd name="connsiteY21" fmla="*/ 95809 h 187485"/>
                <a:gd name="connsiteX22" fmla="*/ 133008 w 139455"/>
                <a:gd name="connsiteY22" fmla="*/ 94672 h 187485"/>
                <a:gd name="connsiteX23" fmla="*/ 121920 w 139455"/>
                <a:gd name="connsiteY23" fmla="*/ 100488 h 187485"/>
                <a:gd name="connsiteX24" fmla="*/ 120729 w 139455"/>
                <a:gd name="connsiteY24" fmla="*/ 103347 h 187485"/>
                <a:gd name="connsiteX25" fmla="*/ 122428 w 139455"/>
                <a:gd name="connsiteY25" fmla="*/ 123475 h 187485"/>
                <a:gd name="connsiteX26" fmla="*/ 73087 w 139455"/>
                <a:gd name="connsiteY26" fmla="*/ 170658 h 187485"/>
                <a:gd name="connsiteX27" fmla="*/ 16725 w 139455"/>
                <a:gd name="connsiteY27" fmla="*/ 117788 h 187485"/>
                <a:gd name="connsiteX28" fmla="*/ 24499 w 139455"/>
                <a:gd name="connsiteY28" fmla="*/ 90170 h 187485"/>
                <a:gd name="connsiteX29" fmla="*/ 24602 w 139455"/>
                <a:gd name="connsiteY29" fmla="*/ 87171 h 187485"/>
                <a:gd name="connsiteX30" fmla="*/ 18094 w 139455"/>
                <a:gd name="connsiteY30" fmla="*/ 75345 h 187485"/>
                <a:gd name="connsiteX31" fmla="*/ 14640 w 139455"/>
                <a:gd name="connsiteY31" fmla="*/ 75088 h 187485"/>
                <a:gd name="connsiteX32" fmla="*/ 94 w 139455"/>
                <a:gd name="connsiteY32" fmla="*/ 121483 h 187485"/>
                <a:gd name="connsiteX33" fmla="*/ 66994 w 139455"/>
                <a:gd name="connsiteY33" fmla="*/ 187433 h 187485"/>
                <a:gd name="connsiteX34" fmla="*/ 139455 w 139455"/>
                <a:gd name="connsiteY34" fmla="*/ 117794 h 187485"/>
                <a:gd name="connsiteX35" fmla="*/ 135911 w 139455"/>
                <a:gd name="connsiteY35" fmla="*/ 95809 h 1874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</a:cxnLst>
              <a:rect l="l" t="t" r="r" b="b"/>
              <a:pathLst>
                <a:path w="139455" h="187485">
                  <a:moveTo>
                    <a:pt x="107295" y="11790"/>
                  </a:moveTo>
                  <a:lnTo>
                    <a:pt x="107295" y="0"/>
                  </a:lnTo>
                  <a:lnTo>
                    <a:pt x="46294" y="32046"/>
                  </a:lnTo>
                  <a:cubicBezTo>
                    <a:pt x="41997" y="34300"/>
                    <a:pt x="39296" y="38760"/>
                    <a:pt x="39296" y="43610"/>
                  </a:cubicBezTo>
                  <a:lnTo>
                    <a:pt x="39296" y="55400"/>
                  </a:lnTo>
                  <a:lnTo>
                    <a:pt x="100310" y="23353"/>
                  </a:lnTo>
                  <a:cubicBezTo>
                    <a:pt x="104612" y="21093"/>
                    <a:pt x="107295" y="16640"/>
                    <a:pt x="107295" y="11790"/>
                  </a:cubicBezTo>
                  <a:moveTo>
                    <a:pt x="107466" y="39279"/>
                  </a:moveTo>
                  <a:lnTo>
                    <a:pt x="46459" y="71325"/>
                  </a:lnTo>
                  <a:cubicBezTo>
                    <a:pt x="42168" y="73585"/>
                    <a:pt x="39466" y="78038"/>
                    <a:pt x="39466" y="82889"/>
                  </a:cubicBezTo>
                  <a:lnTo>
                    <a:pt x="39466" y="94678"/>
                  </a:lnTo>
                  <a:lnTo>
                    <a:pt x="100475" y="62638"/>
                  </a:lnTo>
                  <a:cubicBezTo>
                    <a:pt x="104771" y="60378"/>
                    <a:pt x="107466" y="55919"/>
                    <a:pt x="107466" y="51069"/>
                  </a:cubicBezTo>
                  <a:lnTo>
                    <a:pt x="107466" y="39279"/>
                  </a:lnTo>
                  <a:close/>
                  <a:moveTo>
                    <a:pt x="39466" y="122167"/>
                  </a:moveTo>
                  <a:lnTo>
                    <a:pt x="39466" y="133951"/>
                  </a:lnTo>
                  <a:lnTo>
                    <a:pt x="100475" y="101905"/>
                  </a:lnTo>
                  <a:cubicBezTo>
                    <a:pt x="104771" y="99651"/>
                    <a:pt x="107466" y="95198"/>
                    <a:pt x="107466" y="90347"/>
                  </a:cubicBezTo>
                  <a:lnTo>
                    <a:pt x="107466" y="78558"/>
                  </a:lnTo>
                  <a:lnTo>
                    <a:pt x="46459" y="110598"/>
                  </a:lnTo>
                  <a:cubicBezTo>
                    <a:pt x="42162" y="112864"/>
                    <a:pt x="39466" y="117317"/>
                    <a:pt x="39466" y="122167"/>
                  </a:cubicBezTo>
                  <a:moveTo>
                    <a:pt x="135911" y="95809"/>
                  </a:moveTo>
                  <a:cubicBezTo>
                    <a:pt x="135520" y="94617"/>
                    <a:pt x="134126" y="94086"/>
                    <a:pt x="133008" y="94672"/>
                  </a:cubicBezTo>
                  <a:lnTo>
                    <a:pt x="121920" y="100488"/>
                  </a:lnTo>
                  <a:cubicBezTo>
                    <a:pt x="120888" y="101038"/>
                    <a:pt x="120411" y="102223"/>
                    <a:pt x="120729" y="103347"/>
                  </a:cubicBezTo>
                  <a:cubicBezTo>
                    <a:pt x="122514" y="109651"/>
                    <a:pt x="123174" y="116438"/>
                    <a:pt x="122428" y="123475"/>
                  </a:cubicBezTo>
                  <a:cubicBezTo>
                    <a:pt x="119739" y="148942"/>
                    <a:pt x="98653" y="169082"/>
                    <a:pt x="73087" y="170658"/>
                  </a:cubicBezTo>
                  <a:cubicBezTo>
                    <a:pt x="42290" y="172564"/>
                    <a:pt x="16725" y="148154"/>
                    <a:pt x="16725" y="117788"/>
                  </a:cubicBezTo>
                  <a:cubicBezTo>
                    <a:pt x="16725" y="107665"/>
                    <a:pt x="19572" y="98203"/>
                    <a:pt x="24499" y="90170"/>
                  </a:cubicBezTo>
                  <a:cubicBezTo>
                    <a:pt x="25061" y="89248"/>
                    <a:pt x="25116" y="88112"/>
                    <a:pt x="24602" y="87171"/>
                  </a:cubicBezTo>
                  <a:lnTo>
                    <a:pt x="18094" y="75345"/>
                  </a:lnTo>
                  <a:cubicBezTo>
                    <a:pt x="17372" y="74037"/>
                    <a:pt x="15557" y="73915"/>
                    <a:pt x="14640" y="75088"/>
                  </a:cubicBezTo>
                  <a:cubicBezTo>
                    <a:pt x="4782" y="87782"/>
                    <a:pt x="-804" y="103964"/>
                    <a:pt x="94" y="121483"/>
                  </a:cubicBezTo>
                  <a:cubicBezTo>
                    <a:pt x="1953" y="157213"/>
                    <a:pt x="31228" y="186064"/>
                    <a:pt x="66994" y="187433"/>
                  </a:cubicBezTo>
                  <a:cubicBezTo>
                    <a:pt x="106751" y="188953"/>
                    <a:pt x="139455" y="157189"/>
                    <a:pt x="139455" y="117794"/>
                  </a:cubicBezTo>
                  <a:cubicBezTo>
                    <a:pt x="139455" y="110103"/>
                    <a:pt x="138209" y="102711"/>
                    <a:pt x="135911" y="95809"/>
                  </a:cubicBezTo>
                </a:path>
              </a:pathLst>
            </a:custGeom>
            <a:solidFill>
              <a:schemeClr val="accent2"/>
            </a:solidFill>
            <a:ln w="61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 sz="2400"/>
            </a:p>
          </p:txBody>
        </p:sp>
        <p:sp>
          <p:nvSpPr>
            <p:cNvPr id="7" name="Forma libre 6">
              <a:extLst>
                <a:ext uri="{FF2B5EF4-FFF2-40B4-BE49-F238E27FC236}">
                  <a16:creationId xmlns:a16="http://schemas.microsoft.com/office/drawing/2014/main" id="{CFC6D32C-2C73-9C45-B902-B36FDDC72516}"/>
                </a:ext>
              </a:extLst>
            </p:cNvPr>
            <p:cNvSpPr/>
            <p:nvPr userDrawn="1"/>
          </p:nvSpPr>
          <p:spPr>
            <a:xfrm>
              <a:off x="8098546" y="4754028"/>
              <a:ext cx="798975" cy="174628"/>
            </a:xfrm>
            <a:custGeom>
              <a:avLst/>
              <a:gdLst>
                <a:gd name="connsiteX0" fmla="*/ 418218 w 434970"/>
                <a:gd name="connsiteY0" fmla="*/ 7990 h 95069"/>
                <a:gd name="connsiteX1" fmla="*/ 418218 w 434970"/>
                <a:gd name="connsiteY1" fmla="*/ 93781 h 95069"/>
                <a:gd name="connsiteX2" fmla="*/ 434970 w 434970"/>
                <a:gd name="connsiteY2" fmla="*/ 93781 h 95069"/>
                <a:gd name="connsiteX3" fmla="*/ 434970 w 434970"/>
                <a:gd name="connsiteY3" fmla="*/ 3617 h 95069"/>
                <a:gd name="connsiteX4" fmla="*/ 418218 w 434970"/>
                <a:gd name="connsiteY4" fmla="*/ 7990 h 95069"/>
                <a:gd name="connsiteX5" fmla="*/ 279670 w 434970"/>
                <a:gd name="connsiteY5" fmla="*/ 37617 h 95069"/>
                <a:gd name="connsiteX6" fmla="*/ 279670 w 434970"/>
                <a:gd name="connsiteY6" fmla="*/ 31307 h 95069"/>
                <a:gd name="connsiteX7" fmla="*/ 263565 w 434970"/>
                <a:gd name="connsiteY7" fmla="*/ 31307 h 95069"/>
                <a:gd name="connsiteX8" fmla="*/ 263565 w 434970"/>
                <a:gd name="connsiteY8" fmla="*/ 93787 h 95069"/>
                <a:gd name="connsiteX9" fmla="*/ 280306 w 434970"/>
                <a:gd name="connsiteY9" fmla="*/ 93787 h 95069"/>
                <a:gd name="connsiteX10" fmla="*/ 280306 w 434970"/>
                <a:gd name="connsiteY10" fmla="*/ 54490 h 95069"/>
                <a:gd name="connsiteX11" fmla="*/ 295518 w 434970"/>
                <a:gd name="connsiteY11" fmla="*/ 45473 h 95069"/>
                <a:gd name="connsiteX12" fmla="*/ 301575 w 434970"/>
                <a:gd name="connsiteY12" fmla="*/ 46121 h 95069"/>
                <a:gd name="connsiteX13" fmla="*/ 303512 w 434970"/>
                <a:gd name="connsiteY13" fmla="*/ 30525 h 95069"/>
                <a:gd name="connsiteX14" fmla="*/ 297834 w 434970"/>
                <a:gd name="connsiteY14" fmla="*/ 30012 h 95069"/>
                <a:gd name="connsiteX15" fmla="*/ 279670 w 434970"/>
                <a:gd name="connsiteY15" fmla="*/ 37617 h 95069"/>
                <a:gd name="connsiteX16" fmla="*/ 353776 w 434970"/>
                <a:gd name="connsiteY16" fmla="*/ 71881 h 95069"/>
                <a:gd name="connsiteX17" fmla="*/ 338698 w 434970"/>
                <a:gd name="connsiteY17" fmla="*/ 79608 h 95069"/>
                <a:gd name="connsiteX18" fmla="*/ 322196 w 434970"/>
                <a:gd name="connsiteY18" fmla="*/ 62608 h 95069"/>
                <a:gd name="connsiteX19" fmla="*/ 338313 w 434970"/>
                <a:gd name="connsiteY19" fmla="*/ 45473 h 95069"/>
                <a:gd name="connsiteX20" fmla="*/ 353776 w 434970"/>
                <a:gd name="connsiteY20" fmla="*/ 53201 h 95069"/>
                <a:gd name="connsiteX21" fmla="*/ 353776 w 434970"/>
                <a:gd name="connsiteY21" fmla="*/ 71881 h 95069"/>
                <a:gd name="connsiteX22" fmla="*/ 354423 w 434970"/>
                <a:gd name="connsiteY22" fmla="*/ 36328 h 95069"/>
                <a:gd name="connsiteX23" fmla="*/ 336124 w 434970"/>
                <a:gd name="connsiteY23" fmla="*/ 30018 h 95069"/>
                <a:gd name="connsiteX24" fmla="*/ 305443 w 434970"/>
                <a:gd name="connsiteY24" fmla="*/ 62608 h 95069"/>
                <a:gd name="connsiteX25" fmla="*/ 313444 w 434970"/>
                <a:gd name="connsiteY25" fmla="*/ 84508 h 95069"/>
                <a:gd name="connsiteX26" fmla="*/ 337023 w 434970"/>
                <a:gd name="connsiteY26" fmla="*/ 95070 h 95069"/>
                <a:gd name="connsiteX27" fmla="*/ 354423 w 434970"/>
                <a:gd name="connsiteY27" fmla="*/ 88759 h 95069"/>
                <a:gd name="connsiteX28" fmla="*/ 354423 w 434970"/>
                <a:gd name="connsiteY28" fmla="*/ 93781 h 95069"/>
                <a:gd name="connsiteX29" fmla="*/ 370534 w 434970"/>
                <a:gd name="connsiteY29" fmla="*/ 93781 h 95069"/>
                <a:gd name="connsiteX30" fmla="*/ 370534 w 434970"/>
                <a:gd name="connsiteY30" fmla="*/ 31301 h 95069"/>
                <a:gd name="connsiteX31" fmla="*/ 354423 w 434970"/>
                <a:gd name="connsiteY31" fmla="*/ 31301 h 95069"/>
                <a:gd name="connsiteX32" fmla="*/ 354423 w 434970"/>
                <a:gd name="connsiteY32" fmla="*/ 36328 h 95069"/>
                <a:gd name="connsiteX33" fmla="*/ 385997 w 434970"/>
                <a:gd name="connsiteY33" fmla="*/ 93781 h 95069"/>
                <a:gd name="connsiteX34" fmla="*/ 402749 w 434970"/>
                <a:gd name="connsiteY34" fmla="*/ 93781 h 95069"/>
                <a:gd name="connsiteX35" fmla="*/ 402749 w 434970"/>
                <a:gd name="connsiteY35" fmla="*/ 3617 h 95069"/>
                <a:gd name="connsiteX36" fmla="*/ 385997 w 434970"/>
                <a:gd name="connsiteY36" fmla="*/ 7996 h 95069"/>
                <a:gd name="connsiteX37" fmla="*/ 385997 w 434970"/>
                <a:gd name="connsiteY37" fmla="*/ 93781 h 95069"/>
                <a:gd name="connsiteX38" fmla="*/ 239717 w 434970"/>
                <a:gd name="connsiteY38" fmla="*/ 0 h 95069"/>
                <a:gd name="connsiteX39" fmla="*/ 228765 w 434970"/>
                <a:gd name="connsiteY39" fmla="*/ 10690 h 95069"/>
                <a:gd name="connsiteX40" fmla="*/ 239717 w 434970"/>
                <a:gd name="connsiteY40" fmla="*/ 21387 h 95069"/>
                <a:gd name="connsiteX41" fmla="*/ 250676 w 434970"/>
                <a:gd name="connsiteY41" fmla="*/ 10690 h 95069"/>
                <a:gd name="connsiteX42" fmla="*/ 239717 w 434970"/>
                <a:gd name="connsiteY42" fmla="*/ 0 h 95069"/>
                <a:gd name="connsiteX43" fmla="*/ 48332 w 434970"/>
                <a:gd name="connsiteY43" fmla="*/ 71881 h 95069"/>
                <a:gd name="connsiteX44" fmla="*/ 33248 w 434970"/>
                <a:gd name="connsiteY44" fmla="*/ 79608 h 95069"/>
                <a:gd name="connsiteX45" fmla="*/ 16752 w 434970"/>
                <a:gd name="connsiteY45" fmla="*/ 62608 h 95069"/>
                <a:gd name="connsiteX46" fmla="*/ 32870 w 434970"/>
                <a:gd name="connsiteY46" fmla="*/ 45473 h 95069"/>
                <a:gd name="connsiteX47" fmla="*/ 48332 w 434970"/>
                <a:gd name="connsiteY47" fmla="*/ 53201 h 95069"/>
                <a:gd name="connsiteX48" fmla="*/ 48332 w 434970"/>
                <a:gd name="connsiteY48" fmla="*/ 71881 h 95069"/>
                <a:gd name="connsiteX49" fmla="*/ 48973 w 434970"/>
                <a:gd name="connsiteY49" fmla="*/ 36328 h 95069"/>
                <a:gd name="connsiteX50" fmla="*/ 30675 w 434970"/>
                <a:gd name="connsiteY50" fmla="*/ 30018 h 95069"/>
                <a:gd name="connsiteX51" fmla="*/ 0 w 434970"/>
                <a:gd name="connsiteY51" fmla="*/ 62608 h 95069"/>
                <a:gd name="connsiteX52" fmla="*/ 7988 w 434970"/>
                <a:gd name="connsiteY52" fmla="*/ 84508 h 95069"/>
                <a:gd name="connsiteX53" fmla="*/ 31574 w 434970"/>
                <a:gd name="connsiteY53" fmla="*/ 95070 h 95069"/>
                <a:gd name="connsiteX54" fmla="*/ 48973 w 434970"/>
                <a:gd name="connsiteY54" fmla="*/ 88759 h 95069"/>
                <a:gd name="connsiteX55" fmla="*/ 48973 w 434970"/>
                <a:gd name="connsiteY55" fmla="*/ 93781 h 95069"/>
                <a:gd name="connsiteX56" fmla="*/ 65085 w 434970"/>
                <a:gd name="connsiteY56" fmla="*/ 93781 h 95069"/>
                <a:gd name="connsiteX57" fmla="*/ 65085 w 434970"/>
                <a:gd name="connsiteY57" fmla="*/ 31301 h 95069"/>
                <a:gd name="connsiteX58" fmla="*/ 48973 w 434970"/>
                <a:gd name="connsiteY58" fmla="*/ 31301 h 95069"/>
                <a:gd name="connsiteX59" fmla="*/ 48973 w 434970"/>
                <a:gd name="connsiteY59" fmla="*/ 36328 h 95069"/>
                <a:gd name="connsiteX60" fmla="*/ 80547 w 434970"/>
                <a:gd name="connsiteY60" fmla="*/ 93781 h 95069"/>
                <a:gd name="connsiteX61" fmla="*/ 97306 w 434970"/>
                <a:gd name="connsiteY61" fmla="*/ 93781 h 95069"/>
                <a:gd name="connsiteX62" fmla="*/ 97306 w 434970"/>
                <a:gd name="connsiteY62" fmla="*/ 3617 h 95069"/>
                <a:gd name="connsiteX63" fmla="*/ 80547 w 434970"/>
                <a:gd name="connsiteY63" fmla="*/ 7996 h 95069"/>
                <a:gd name="connsiteX64" fmla="*/ 80547 w 434970"/>
                <a:gd name="connsiteY64" fmla="*/ 93781 h 95069"/>
                <a:gd name="connsiteX65" fmla="*/ 188934 w 434970"/>
                <a:gd name="connsiteY65" fmla="*/ 30012 h 95069"/>
                <a:gd name="connsiteX66" fmla="*/ 166767 w 434970"/>
                <a:gd name="connsiteY66" fmla="*/ 39810 h 95069"/>
                <a:gd name="connsiteX67" fmla="*/ 145760 w 434970"/>
                <a:gd name="connsiteY67" fmla="*/ 30012 h 95069"/>
                <a:gd name="connsiteX68" fmla="*/ 128874 w 434970"/>
                <a:gd name="connsiteY68" fmla="*/ 36328 h 95069"/>
                <a:gd name="connsiteX69" fmla="*/ 128874 w 434970"/>
                <a:gd name="connsiteY69" fmla="*/ 31307 h 95069"/>
                <a:gd name="connsiteX70" fmla="*/ 112756 w 434970"/>
                <a:gd name="connsiteY70" fmla="*/ 31307 h 95069"/>
                <a:gd name="connsiteX71" fmla="*/ 112756 w 434970"/>
                <a:gd name="connsiteY71" fmla="*/ 93787 h 95069"/>
                <a:gd name="connsiteX72" fmla="*/ 129515 w 434970"/>
                <a:gd name="connsiteY72" fmla="*/ 93787 h 95069"/>
                <a:gd name="connsiteX73" fmla="*/ 129515 w 434970"/>
                <a:gd name="connsiteY73" fmla="*/ 53201 h 95069"/>
                <a:gd name="connsiteX74" fmla="*/ 144079 w 434970"/>
                <a:gd name="connsiteY74" fmla="*/ 45473 h 95069"/>
                <a:gd name="connsiteX75" fmla="*/ 153486 w 434970"/>
                <a:gd name="connsiteY75" fmla="*/ 49340 h 95069"/>
                <a:gd name="connsiteX76" fmla="*/ 156578 w 434970"/>
                <a:gd name="connsiteY76" fmla="*/ 60030 h 95069"/>
                <a:gd name="connsiteX77" fmla="*/ 156578 w 434970"/>
                <a:gd name="connsiteY77" fmla="*/ 93781 h 95069"/>
                <a:gd name="connsiteX78" fmla="*/ 173331 w 434970"/>
                <a:gd name="connsiteY78" fmla="*/ 93781 h 95069"/>
                <a:gd name="connsiteX79" fmla="*/ 173331 w 434970"/>
                <a:gd name="connsiteY79" fmla="*/ 60678 h 95069"/>
                <a:gd name="connsiteX80" fmla="*/ 172817 w 434970"/>
                <a:gd name="connsiteY80" fmla="*/ 53714 h 95069"/>
                <a:gd name="connsiteX81" fmla="*/ 187901 w 434970"/>
                <a:gd name="connsiteY81" fmla="*/ 45467 h 95069"/>
                <a:gd name="connsiteX82" fmla="*/ 197307 w 434970"/>
                <a:gd name="connsiteY82" fmla="*/ 49334 h 95069"/>
                <a:gd name="connsiteX83" fmla="*/ 200406 w 434970"/>
                <a:gd name="connsiteY83" fmla="*/ 60024 h 95069"/>
                <a:gd name="connsiteX84" fmla="*/ 200406 w 434970"/>
                <a:gd name="connsiteY84" fmla="*/ 93774 h 95069"/>
                <a:gd name="connsiteX85" fmla="*/ 217152 w 434970"/>
                <a:gd name="connsiteY85" fmla="*/ 93774 h 95069"/>
                <a:gd name="connsiteX86" fmla="*/ 217152 w 434970"/>
                <a:gd name="connsiteY86" fmla="*/ 60671 h 95069"/>
                <a:gd name="connsiteX87" fmla="*/ 210845 w 434970"/>
                <a:gd name="connsiteY87" fmla="*/ 40055 h 95069"/>
                <a:gd name="connsiteX88" fmla="*/ 188934 w 434970"/>
                <a:gd name="connsiteY88" fmla="*/ 30012 h 95069"/>
                <a:gd name="connsiteX89" fmla="*/ 231344 w 434970"/>
                <a:gd name="connsiteY89" fmla="*/ 93781 h 95069"/>
                <a:gd name="connsiteX90" fmla="*/ 248096 w 434970"/>
                <a:gd name="connsiteY90" fmla="*/ 93781 h 95069"/>
                <a:gd name="connsiteX91" fmla="*/ 248096 w 434970"/>
                <a:gd name="connsiteY91" fmla="*/ 31301 h 95069"/>
                <a:gd name="connsiteX92" fmla="*/ 231344 w 434970"/>
                <a:gd name="connsiteY92" fmla="*/ 31301 h 95069"/>
                <a:gd name="connsiteX93" fmla="*/ 231344 w 434970"/>
                <a:gd name="connsiteY93" fmla="*/ 93781 h 950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</a:cxnLst>
              <a:rect l="l" t="t" r="r" b="b"/>
              <a:pathLst>
                <a:path w="434970" h="95069">
                  <a:moveTo>
                    <a:pt x="418218" y="7990"/>
                  </a:moveTo>
                  <a:lnTo>
                    <a:pt x="418218" y="93781"/>
                  </a:lnTo>
                  <a:lnTo>
                    <a:pt x="434970" y="93781"/>
                  </a:lnTo>
                  <a:lnTo>
                    <a:pt x="434970" y="3617"/>
                  </a:lnTo>
                  <a:lnTo>
                    <a:pt x="418218" y="7990"/>
                  </a:lnTo>
                  <a:close/>
                  <a:moveTo>
                    <a:pt x="279670" y="37617"/>
                  </a:moveTo>
                  <a:lnTo>
                    <a:pt x="279670" y="31307"/>
                  </a:lnTo>
                  <a:lnTo>
                    <a:pt x="263565" y="31307"/>
                  </a:lnTo>
                  <a:lnTo>
                    <a:pt x="263565" y="93787"/>
                  </a:lnTo>
                  <a:lnTo>
                    <a:pt x="280306" y="93787"/>
                  </a:lnTo>
                  <a:lnTo>
                    <a:pt x="280306" y="54490"/>
                  </a:lnTo>
                  <a:cubicBezTo>
                    <a:pt x="282365" y="50763"/>
                    <a:pt x="288172" y="45473"/>
                    <a:pt x="295518" y="45473"/>
                  </a:cubicBezTo>
                  <a:cubicBezTo>
                    <a:pt x="297962" y="45473"/>
                    <a:pt x="300413" y="45736"/>
                    <a:pt x="301575" y="46121"/>
                  </a:cubicBezTo>
                  <a:lnTo>
                    <a:pt x="303512" y="30525"/>
                  </a:lnTo>
                  <a:cubicBezTo>
                    <a:pt x="301697" y="30269"/>
                    <a:pt x="300285" y="30012"/>
                    <a:pt x="297834" y="30012"/>
                  </a:cubicBezTo>
                  <a:cubicBezTo>
                    <a:pt x="290237" y="30018"/>
                    <a:pt x="283404" y="32981"/>
                    <a:pt x="279670" y="37617"/>
                  </a:cubicBezTo>
                  <a:moveTo>
                    <a:pt x="353776" y="71881"/>
                  </a:moveTo>
                  <a:cubicBezTo>
                    <a:pt x="350555" y="76517"/>
                    <a:pt x="345005" y="79608"/>
                    <a:pt x="338698" y="79608"/>
                  </a:cubicBezTo>
                  <a:cubicBezTo>
                    <a:pt x="329285" y="79608"/>
                    <a:pt x="322196" y="72394"/>
                    <a:pt x="322196" y="62608"/>
                  </a:cubicBezTo>
                  <a:cubicBezTo>
                    <a:pt x="322196" y="53591"/>
                    <a:pt x="328515" y="45473"/>
                    <a:pt x="338313" y="45473"/>
                  </a:cubicBezTo>
                  <a:cubicBezTo>
                    <a:pt x="344754" y="45473"/>
                    <a:pt x="350297" y="48564"/>
                    <a:pt x="353776" y="53201"/>
                  </a:cubicBezTo>
                  <a:lnTo>
                    <a:pt x="353776" y="71881"/>
                  </a:lnTo>
                  <a:close/>
                  <a:moveTo>
                    <a:pt x="354423" y="36328"/>
                  </a:moveTo>
                  <a:cubicBezTo>
                    <a:pt x="349522" y="32333"/>
                    <a:pt x="343208" y="30018"/>
                    <a:pt x="336124" y="30018"/>
                  </a:cubicBezTo>
                  <a:cubicBezTo>
                    <a:pt x="319110" y="30018"/>
                    <a:pt x="305443" y="44184"/>
                    <a:pt x="305443" y="62608"/>
                  </a:cubicBezTo>
                  <a:cubicBezTo>
                    <a:pt x="305443" y="71117"/>
                    <a:pt x="308536" y="78839"/>
                    <a:pt x="313444" y="84508"/>
                  </a:cubicBezTo>
                  <a:cubicBezTo>
                    <a:pt x="318974" y="90952"/>
                    <a:pt x="327751" y="95070"/>
                    <a:pt x="337023" y="95070"/>
                  </a:cubicBezTo>
                  <a:cubicBezTo>
                    <a:pt x="343337" y="95070"/>
                    <a:pt x="349265" y="93139"/>
                    <a:pt x="354423" y="88759"/>
                  </a:cubicBezTo>
                  <a:lnTo>
                    <a:pt x="354423" y="93781"/>
                  </a:lnTo>
                  <a:lnTo>
                    <a:pt x="370534" y="93781"/>
                  </a:lnTo>
                  <a:lnTo>
                    <a:pt x="370534" y="31301"/>
                  </a:lnTo>
                  <a:lnTo>
                    <a:pt x="354423" y="31301"/>
                  </a:lnTo>
                  <a:lnTo>
                    <a:pt x="354423" y="36328"/>
                  </a:lnTo>
                  <a:close/>
                  <a:moveTo>
                    <a:pt x="385997" y="93781"/>
                  </a:moveTo>
                  <a:lnTo>
                    <a:pt x="402749" y="93781"/>
                  </a:lnTo>
                  <a:lnTo>
                    <a:pt x="402749" y="3617"/>
                  </a:lnTo>
                  <a:lnTo>
                    <a:pt x="385997" y="7996"/>
                  </a:lnTo>
                  <a:lnTo>
                    <a:pt x="385997" y="93781"/>
                  </a:lnTo>
                  <a:close/>
                  <a:moveTo>
                    <a:pt x="239717" y="0"/>
                  </a:moveTo>
                  <a:cubicBezTo>
                    <a:pt x="233660" y="0"/>
                    <a:pt x="228765" y="4643"/>
                    <a:pt x="228765" y="10690"/>
                  </a:cubicBezTo>
                  <a:cubicBezTo>
                    <a:pt x="228765" y="16750"/>
                    <a:pt x="233660" y="21387"/>
                    <a:pt x="239717" y="21387"/>
                  </a:cubicBezTo>
                  <a:cubicBezTo>
                    <a:pt x="245774" y="21387"/>
                    <a:pt x="250676" y="16750"/>
                    <a:pt x="250676" y="10690"/>
                  </a:cubicBezTo>
                  <a:cubicBezTo>
                    <a:pt x="250676" y="4643"/>
                    <a:pt x="245774" y="0"/>
                    <a:pt x="239717" y="0"/>
                  </a:cubicBezTo>
                  <a:moveTo>
                    <a:pt x="48332" y="71881"/>
                  </a:moveTo>
                  <a:cubicBezTo>
                    <a:pt x="45117" y="76517"/>
                    <a:pt x="39568" y="79608"/>
                    <a:pt x="33248" y="79608"/>
                  </a:cubicBezTo>
                  <a:cubicBezTo>
                    <a:pt x="23842" y="79608"/>
                    <a:pt x="16752" y="72394"/>
                    <a:pt x="16752" y="62608"/>
                  </a:cubicBezTo>
                  <a:cubicBezTo>
                    <a:pt x="16752" y="53591"/>
                    <a:pt x="23072" y="45473"/>
                    <a:pt x="32870" y="45473"/>
                  </a:cubicBezTo>
                  <a:cubicBezTo>
                    <a:pt x="39317" y="45473"/>
                    <a:pt x="44860" y="48564"/>
                    <a:pt x="48332" y="53201"/>
                  </a:cubicBezTo>
                  <a:lnTo>
                    <a:pt x="48332" y="71881"/>
                  </a:lnTo>
                  <a:close/>
                  <a:moveTo>
                    <a:pt x="48973" y="36328"/>
                  </a:moveTo>
                  <a:cubicBezTo>
                    <a:pt x="44079" y="32333"/>
                    <a:pt x="37759" y="30018"/>
                    <a:pt x="30675" y="30018"/>
                  </a:cubicBezTo>
                  <a:cubicBezTo>
                    <a:pt x="13660" y="30018"/>
                    <a:pt x="0" y="44184"/>
                    <a:pt x="0" y="62608"/>
                  </a:cubicBezTo>
                  <a:cubicBezTo>
                    <a:pt x="0" y="71117"/>
                    <a:pt x="3092" y="78839"/>
                    <a:pt x="7988" y="84508"/>
                  </a:cubicBezTo>
                  <a:cubicBezTo>
                    <a:pt x="13531" y="90952"/>
                    <a:pt x="22296" y="95070"/>
                    <a:pt x="31574" y="95070"/>
                  </a:cubicBezTo>
                  <a:cubicBezTo>
                    <a:pt x="37887" y="95070"/>
                    <a:pt x="43822" y="93139"/>
                    <a:pt x="48973" y="88759"/>
                  </a:cubicBezTo>
                  <a:lnTo>
                    <a:pt x="48973" y="93781"/>
                  </a:lnTo>
                  <a:lnTo>
                    <a:pt x="65085" y="93781"/>
                  </a:lnTo>
                  <a:lnTo>
                    <a:pt x="65085" y="31301"/>
                  </a:lnTo>
                  <a:lnTo>
                    <a:pt x="48973" y="31301"/>
                  </a:lnTo>
                  <a:lnTo>
                    <a:pt x="48973" y="36328"/>
                  </a:lnTo>
                  <a:close/>
                  <a:moveTo>
                    <a:pt x="80547" y="93781"/>
                  </a:moveTo>
                  <a:lnTo>
                    <a:pt x="97306" y="93781"/>
                  </a:lnTo>
                  <a:lnTo>
                    <a:pt x="97306" y="3617"/>
                  </a:lnTo>
                  <a:lnTo>
                    <a:pt x="80547" y="7996"/>
                  </a:lnTo>
                  <a:lnTo>
                    <a:pt x="80547" y="93781"/>
                  </a:lnTo>
                  <a:close/>
                  <a:moveTo>
                    <a:pt x="188934" y="30012"/>
                  </a:moveTo>
                  <a:cubicBezTo>
                    <a:pt x="179650" y="30012"/>
                    <a:pt x="171791" y="34526"/>
                    <a:pt x="166767" y="39810"/>
                  </a:cubicBezTo>
                  <a:cubicBezTo>
                    <a:pt x="161865" y="33879"/>
                    <a:pt x="154262" y="30012"/>
                    <a:pt x="145760" y="30012"/>
                  </a:cubicBezTo>
                  <a:cubicBezTo>
                    <a:pt x="139704" y="30012"/>
                    <a:pt x="133775" y="31949"/>
                    <a:pt x="128874" y="36328"/>
                  </a:cubicBezTo>
                  <a:lnTo>
                    <a:pt x="128874" y="31307"/>
                  </a:lnTo>
                  <a:lnTo>
                    <a:pt x="112756" y="31307"/>
                  </a:lnTo>
                  <a:lnTo>
                    <a:pt x="112756" y="93787"/>
                  </a:lnTo>
                  <a:lnTo>
                    <a:pt x="129515" y="93787"/>
                  </a:lnTo>
                  <a:lnTo>
                    <a:pt x="129515" y="53201"/>
                  </a:lnTo>
                  <a:cubicBezTo>
                    <a:pt x="131831" y="50250"/>
                    <a:pt x="136996" y="45473"/>
                    <a:pt x="144079" y="45473"/>
                  </a:cubicBezTo>
                  <a:cubicBezTo>
                    <a:pt x="147294" y="45473"/>
                    <a:pt x="150907" y="46506"/>
                    <a:pt x="153486" y="49340"/>
                  </a:cubicBezTo>
                  <a:cubicBezTo>
                    <a:pt x="155417" y="51527"/>
                    <a:pt x="156578" y="54361"/>
                    <a:pt x="156578" y="60030"/>
                  </a:cubicBezTo>
                  <a:lnTo>
                    <a:pt x="156578" y="93781"/>
                  </a:lnTo>
                  <a:lnTo>
                    <a:pt x="173331" y="93781"/>
                  </a:lnTo>
                  <a:lnTo>
                    <a:pt x="173331" y="60678"/>
                  </a:lnTo>
                  <a:cubicBezTo>
                    <a:pt x="173331" y="58100"/>
                    <a:pt x="173074" y="55772"/>
                    <a:pt x="172817" y="53714"/>
                  </a:cubicBezTo>
                  <a:cubicBezTo>
                    <a:pt x="175011" y="50501"/>
                    <a:pt x="180677" y="45467"/>
                    <a:pt x="187901" y="45467"/>
                  </a:cubicBezTo>
                  <a:cubicBezTo>
                    <a:pt x="191116" y="45467"/>
                    <a:pt x="194728" y="46499"/>
                    <a:pt x="197307" y="49334"/>
                  </a:cubicBezTo>
                  <a:cubicBezTo>
                    <a:pt x="199239" y="51521"/>
                    <a:pt x="200406" y="54355"/>
                    <a:pt x="200406" y="60024"/>
                  </a:cubicBezTo>
                  <a:lnTo>
                    <a:pt x="200406" y="93774"/>
                  </a:lnTo>
                  <a:lnTo>
                    <a:pt x="217152" y="93774"/>
                  </a:lnTo>
                  <a:lnTo>
                    <a:pt x="217152" y="60671"/>
                  </a:lnTo>
                  <a:cubicBezTo>
                    <a:pt x="217152" y="51392"/>
                    <a:pt x="214830" y="44954"/>
                    <a:pt x="210845" y="40055"/>
                  </a:cubicBezTo>
                  <a:cubicBezTo>
                    <a:pt x="205821" y="33879"/>
                    <a:pt x="197582" y="30012"/>
                    <a:pt x="188934" y="30012"/>
                  </a:cubicBezTo>
                  <a:moveTo>
                    <a:pt x="231344" y="93781"/>
                  </a:moveTo>
                  <a:lnTo>
                    <a:pt x="248096" y="93781"/>
                  </a:lnTo>
                  <a:lnTo>
                    <a:pt x="248096" y="31301"/>
                  </a:lnTo>
                  <a:lnTo>
                    <a:pt x="231344" y="31301"/>
                  </a:lnTo>
                  <a:lnTo>
                    <a:pt x="231344" y="93781"/>
                  </a:lnTo>
                  <a:close/>
                </a:path>
              </a:pathLst>
            </a:custGeom>
            <a:solidFill>
              <a:schemeClr val="accent1"/>
            </a:solidFill>
            <a:ln w="61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 sz="2400">
                <a:solidFill>
                  <a:schemeClr val="accent1"/>
                </a:solidFill>
              </a:endParaRPr>
            </a:p>
          </p:txBody>
        </p:sp>
      </p:grpSp>
      <p:pic>
        <p:nvPicPr>
          <p:cNvPr id="43" name="Imagen 42">
            <a:extLst>
              <a:ext uri="{FF2B5EF4-FFF2-40B4-BE49-F238E27FC236}">
                <a16:creationId xmlns:a16="http://schemas.microsoft.com/office/drawing/2014/main" id="{B5477B23-F4C0-4652-BFC8-E64DF78C097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5595933"/>
            <a:ext cx="2079437" cy="1262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74546293"/>
      </p:ext>
    </p:extLst>
  </p:cSld>
  <p:clrMapOvr>
    <a:masterClrMapping/>
  </p:clrMapOvr>
  <p:transition spd="med"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2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0" Type="http://schemas.openxmlformats.org/officeDocument/2006/relationships/tags" Target="../tags/tag1.x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.xml"/><Relationship Id="rId13" Type="http://schemas.openxmlformats.org/officeDocument/2006/relationships/slideLayout" Target="../slideLayouts/slideLayout21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11.xml"/><Relationship Id="rId7" Type="http://schemas.openxmlformats.org/officeDocument/2006/relationships/slideLayout" Target="../slideLayouts/slideLayout15.xml"/><Relationship Id="rId12" Type="http://schemas.openxmlformats.org/officeDocument/2006/relationships/slideLayout" Target="../slideLayouts/slideLayout20.xml"/><Relationship Id="rId17" Type="http://schemas.openxmlformats.org/officeDocument/2006/relationships/tags" Target="../tags/tag2.xml"/><Relationship Id="rId2" Type="http://schemas.openxmlformats.org/officeDocument/2006/relationships/slideLayout" Target="../slideLayouts/slideLayout10.xml"/><Relationship Id="rId16" Type="http://schemas.openxmlformats.org/officeDocument/2006/relationships/theme" Target="../theme/theme2.xml"/><Relationship Id="rId1" Type="http://schemas.openxmlformats.org/officeDocument/2006/relationships/slideLayout" Target="../slideLayouts/slideLayout9.xml"/><Relationship Id="rId6" Type="http://schemas.openxmlformats.org/officeDocument/2006/relationships/slideLayout" Target="../slideLayouts/slideLayout14.xml"/><Relationship Id="rId11" Type="http://schemas.openxmlformats.org/officeDocument/2006/relationships/slideLayout" Target="../slideLayouts/slideLayout19.xml"/><Relationship Id="rId5" Type="http://schemas.openxmlformats.org/officeDocument/2006/relationships/slideLayout" Target="../slideLayouts/slideLayout13.xml"/><Relationship Id="rId15" Type="http://schemas.openxmlformats.org/officeDocument/2006/relationships/slideLayout" Target="../slideLayouts/slideLayout23.xml"/><Relationship Id="rId10" Type="http://schemas.openxmlformats.org/officeDocument/2006/relationships/slideLayout" Target="../slideLayouts/slideLayout18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12.xml"/><Relationship Id="rId9" Type="http://schemas.openxmlformats.org/officeDocument/2006/relationships/slideLayout" Target="../slideLayouts/slideLayout17.xml"/><Relationship Id="rId14" Type="http://schemas.openxmlformats.org/officeDocument/2006/relationships/slideLayout" Target="../slideLayouts/slideLayout2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0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359" imgH="355" progId="TCLayout.ActiveDocument.1">
                  <p:embed/>
                </p:oleObj>
              </mc:Choice>
              <mc:Fallback>
                <p:oleObj name="think-cell Slide" r:id="rId11" imgW="359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7" name="Grupo 6">
            <a:extLst>
              <a:ext uri="{FF2B5EF4-FFF2-40B4-BE49-F238E27FC236}">
                <a16:creationId xmlns:a16="http://schemas.microsoft.com/office/drawing/2014/main" id="{F246AD8A-13A8-AD45-A853-196B64D14D86}"/>
              </a:ext>
            </a:extLst>
          </p:cNvPr>
          <p:cNvGrpSpPr/>
          <p:nvPr/>
        </p:nvGrpSpPr>
        <p:grpSpPr>
          <a:xfrm>
            <a:off x="10869235" y="6305566"/>
            <a:ext cx="1001260" cy="310180"/>
            <a:chOff x="7785861" y="4639396"/>
            <a:chExt cx="1111660" cy="344382"/>
          </a:xfrm>
        </p:grpSpPr>
        <p:sp>
          <p:nvSpPr>
            <p:cNvPr id="8" name="Forma libre 7">
              <a:extLst>
                <a:ext uri="{FF2B5EF4-FFF2-40B4-BE49-F238E27FC236}">
                  <a16:creationId xmlns:a16="http://schemas.microsoft.com/office/drawing/2014/main" id="{3CDBEAD3-8A02-4543-B455-7EACBA27B583}"/>
                </a:ext>
              </a:extLst>
            </p:cNvPr>
            <p:cNvSpPr/>
            <p:nvPr/>
          </p:nvSpPr>
          <p:spPr>
            <a:xfrm>
              <a:off x="7785861" y="4639396"/>
              <a:ext cx="256158" cy="344382"/>
            </a:xfrm>
            <a:custGeom>
              <a:avLst/>
              <a:gdLst>
                <a:gd name="connsiteX0" fmla="*/ 107295 w 139455"/>
                <a:gd name="connsiteY0" fmla="*/ 11790 h 187485"/>
                <a:gd name="connsiteX1" fmla="*/ 107295 w 139455"/>
                <a:gd name="connsiteY1" fmla="*/ 0 h 187485"/>
                <a:gd name="connsiteX2" fmla="*/ 46294 w 139455"/>
                <a:gd name="connsiteY2" fmla="*/ 32046 h 187485"/>
                <a:gd name="connsiteX3" fmla="*/ 39296 w 139455"/>
                <a:gd name="connsiteY3" fmla="*/ 43610 h 187485"/>
                <a:gd name="connsiteX4" fmla="*/ 39296 w 139455"/>
                <a:gd name="connsiteY4" fmla="*/ 55400 h 187485"/>
                <a:gd name="connsiteX5" fmla="*/ 100310 w 139455"/>
                <a:gd name="connsiteY5" fmla="*/ 23353 h 187485"/>
                <a:gd name="connsiteX6" fmla="*/ 107295 w 139455"/>
                <a:gd name="connsiteY6" fmla="*/ 11790 h 187485"/>
                <a:gd name="connsiteX7" fmla="*/ 107466 w 139455"/>
                <a:gd name="connsiteY7" fmla="*/ 39279 h 187485"/>
                <a:gd name="connsiteX8" fmla="*/ 46459 w 139455"/>
                <a:gd name="connsiteY8" fmla="*/ 71325 h 187485"/>
                <a:gd name="connsiteX9" fmla="*/ 39466 w 139455"/>
                <a:gd name="connsiteY9" fmla="*/ 82889 h 187485"/>
                <a:gd name="connsiteX10" fmla="*/ 39466 w 139455"/>
                <a:gd name="connsiteY10" fmla="*/ 94678 h 187485"/>
                <a:gd name="connsiteX11" fmla="*/ 100475 w 139455"/>
                <a:gd name="connsiteY11" fmla="*/ 62638 h 187485"/>
                <a:gd name="connsiteX12" fmla="*/ 107466 w 139455"/>
                <a:gd name="connsiteY12" fmla="*/ 51069 h 187485"/>
                <a:gd name="connsiteX13" fmla="*/ 107466 w 139455"/>
                <a:gd name="connsiteY13" fmla="*/ 39279 h 187485"/>
                <a:gd name="connsiteX14" fmla="*/ 39466 w 139455"/>
                <a:gd name="connsiteY14" fmla="*/ 122167 h 187485"/>
                <a:gd name="connsiteX15" fmla="*/ 39466 w 139455"/>
                <a:gd name="connsiteY15" fmla="*/ 133951 h 187485"/>
                <a:gd name="connsiteX16" fmla="*/ 100475 w 139455"/>
                <a:gd name="connsiteY16" fmla="*/ 101905 h 187485"/>
                <a:gd name="connsiteX17" fmla="*/ 107466 w 139455"/>
                <a:gd name="connsiteY17" fmla="*/ 90347 h 187485"/>
                <a:gd name="connsiteX18" fmla="*/ 107466 w 139455"/>
                <a:gd name="connsiteY18" fmla="*/ 78558 h 187485"/>
                <a:gd name="connsiteX19" fmla="*/ 46459 w 139455"/>
                <a:gd name="connsiteY19" fmla="*/ 110598 h 187485"/>
                <a:gd name="connsiteX20" fmla="*/ 39466 w 139455"/>
                <a:gd name="connsiteY20" fmla="*/ 122167 h 187485"/>
                <a:gd name="connsiteX21" fmla="*/ 135911 w 139455"/>
                <a:gd name="connsiteY21" fmla="*/ 95809 h 187485"/>
                <a:gd name="connsiteX22" fmla="*/ 133008 w 139455"/>
                <a:gd name="connsiteY22" fmla="*/ 94672 h 187485"/>
                <a:gd name="connsiteX23" fmla="*/ 121920 w 139455"/>
                <a:gd name="connsiteY23" fmla="*/ 100488 h 187485"/>
                <a:gd name="connsiteX24" fmla="*/ 120729 w 139455"/>
                <a:gd name="connsiteY24" fmla="*/ 103347 h 187485"/>
                <a:gd name="connsiteX25" fmla="*/ 122428 w 139455"/>
                <a:gd name="connsiteY25" fmla="*/ 123475 h 187485"/>
                <a:gd name="connsiteX26" fmla="*/ 73087 w 139455"/>
                <a:gd name="connsiteY26" fmla="*/ 170658 h 187485"/>
                <a:gd name="connsiteX27" fmla="*/ 16725 w 139455"/>
                <a:gd name="connsiteY27" fmla="*/ 117788 h 187485"/>
                <a:gd name="connsiteX28" fmla="*/ 24499 w 139455"/>
                <a:gd name="connsiteY28" fmla="*/ 90170 h 187485"/>
                <a:gd name="connsiteX29" fmla="*/ 24602 w 139455"/>
                <a:gd name="connsiteY29" fmla="*/ 87171 h 187485"/>
                <a:gd name="connsiteX30" fmla="*/ 18094 w 139455"/>
                <a:gd name="connsiteY30" fmla="*/ 75345 h 187485"/>
                <a:gd name="connsiteX31" fmla="*/ 14640 w 139455"/>
                <a:gd name="connsiteY31" fmla="*/ 75088 h 187485"/>
                <a:gd name="connsiteX32" fmla="*/ 94 w 139455"/>
                <a:gd name="connsiteY32" fmla="*/ 121483 h 187485"/>
                <a:gd name="connsiteX33" fmla="*/ 66994 w 139455"/>
                <a:gd name="connsiteY33" fmla="*/ 187433 h 187485"/>
                <a:gd name="connsiteX34" fmla="*/ 139455 w 139455"/>
                <a:gd name="connsiteY34" fmla="*/ 117794 h 187485"/>
                <a:gd name="connsiteX35" fmla="*/ 135911 w 139455"/>
                <a:gd name="connsiteY35" fmla="*/ 95809 h 1874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</a:cxnLst>
              <a:rect l="l" t="t" r="r" b="b"/>
              <a:pathLst>
                <a:path w="139455" h="187485">
                  <a:moveTo>
                    <a:pt x="107295" y="11790"/>
                  </a:moveTo>
                  <a:lnTo>
                    <a:pt x="107295" y="0"/>
                  </a:lnTo>
                  <a:lnTo>
                    <a:pt x="46294" y="32046"/>
                  </a:lnTo>
                  <a:cubicBezTo>
                    <a:pt x="41997" y="34300"/>
                    <a:pt x="39296" y="38760"/>
                    <a:pt x="39296" y="43610"/>
                  </a:cubicBezTo>
                  <a:lnTo>
                    <a:pt x="39296" y="55400"/>
                  </a:lnTo>
                  <a:lnTo>
                    <a:pt x="100310" y="23353"/>
                  </a:lnTo>
                  <a:cubicBezTo>
                    <a:pt x="104612" y="21093"/>
                    <a:pt x="107295" y="16640"/>
                    <a:pt x="107295" y="11790"/>
                  </a:cubicBezTo>
                  <a:moveTo>
                    <a:pt x="107466" y="39279"/>
                  </a:moveTo>
                  <a:lnTo>
                    <a:pt x="46459" y="71325"/>
                  </a:lnTo>
                  <a:cubicBezTo>
                    <a:pt x="42168" y="73585"/>
                    <a:pt x="39466" y="78038"/>
                    <a:pt x="39466" y="82889"/>
                  </a:cubicBezTo>
                  <a:lnTo>
                    <a:pt x="39466" y="94678"/>
                  </a:lnTo>
                  <a:lnTo>
                    <a:pt x="100475" y="62638"/>
                  </a:lnTo>
                  <a:cubicBezTo>
                    <a:pt x="104771" y="60378"/>
                    <a:pt x="107466" y="55919"/>
                    <a:pt x="107466" y="51069"/>
                  </a:cubicBezTo>
                  <a:lnTo>
                    <a:pt x="107466" y="39279"/>
                  </a:lnTo>
                  <a:close/>
                  <a:moveTo>
                    <a:pt x="39466" y="122167"/>
                  </a:moveTo>
                  <a:lnTo>
                    <a:pt x="39466" y="133951"/>
                  </a:lnTo>
                  <a:lnTo>
                    <a:pt x="100475" y="101905"/>
                  </a:lnTo>
                  <a:cubicBezTo>
                    <a:pt x="104771" y="99651"/>
                    <a:pt x="107466" y="95198"/>
                    <a:pt x="107466" y="90347"/>
                  </a:cubicBezTo>
                  <a:lnTo>
                    <a:pt x="107466" y="78558"/>
                  </a:lnTo>
                  <a:lnTo>
                    <a:pt x="46459" y="110598"/>
                  </a:lnTo>
                  <a:cubicBezTo>
                    <a:pt x="42162" y="112864"/>
                    <a:pt x="39466" y="117317"/>
                    <a:pt x="39466" y="122167"/>
                  </a:cubicBezTo>
                  <a:moveTo>
                    <a:pt x="135911" y="95809"/>
                  </a:moveTo>
                  <a:cubicBezTo>
                    <a:pt x="135520" y="94617"/>
                    <a:pt x="134126" y="94086"/>
                    <a:pt x="133008" y="94672"/>
                  </a:cubicBezTo>
                  <a:lnTo>
                    <a:pt x="121920" y="100488"/>
                  </a:lnTo>
                  <a:cubicBezTo>
                    <a:pt x="120888" y="101038"/>
                    <a:pt x="120411" y="102223"/>
                    <a:pt x="120729" y="103347"/>
                  </a:cubicBezTo>
                  <a:cubicBezTo>
                    <a:pt x="122514" y="109651"/>
                    <a:pt x="123174" y="116438"/>
                    <a:pt x="122428" y="123475"/>
                  </a:cubicBezTo>
                  <a:cubicBezTo>
                    <a:pt x="119739" y="148942"/>
                    <a:pt x="98653" y="169082"/>
                    <a:pt x="73087" y="170658"/>
                  </a:cubicBezTo>
                  <a:cubicBezTo>
                    <a:pt x="42290" y="172564"/>
                    <a:pt x="16725" y="148154"/>
                    <a:pt x="16725" y="117788"/>
                  </a:cubicBezTo>
                  <a:cubicBezTo>
                    <a:pt x="16725" y="107665"/>
                    <a:pt x="19572" y="98203"/>
                    <a:pt x="24499" y="90170"/>
                  </a:cubicBezTo>
                  <a:cubicBezTo>
                    <a:pt x="25061" y="89248"/>
                    <a:pt x="25116" y="88112"/>
                    <a:pt x="24602" y="87171"/>
                  </a:cubicBezTo>
                  <a:lnTo>
                    <a:pt x="18094" y="75345"/>
                  </a:lnTo>
                  <a:cubicBezTo>
                    <a:pt x="17372" y="74037"/>
                    <a:pt x="15557" y="73915"/>
                    <a:pt x="14640" y="75088"/>
                  </a:cubicBezTo>
                  <a:cubicBezTo>
                    <a:pt x="4782" y="87782"/>
                    <a:pt x="-804" y="103964"/>
                    <a:pt x="94" y="121483"/>
                  </a:cubicBezTo>
                  <a:cubicBezTo>
                    <a:pt x="1953" y="157213"/>
                    <a:pt x="31228" y="186064"/>
                    <a:pt x="66994" y="187433"/>
                  </a:cubicBezTo>
                  <a:cubicBezTo>
                    <a:pt x="106751" y="188953"/>
                    <a:pt x="139455" y="157189"/>
                    <a:pt x="139455" y="117794"/>
                  </a:cubicBezTo>
                  <a:cubicBezTo>
                    <a:pt x="139455" y="110103"/>
                    <a:pt x="138209" y="102711"/>
                    <a:pt x="135911" y="95809"/>
                  </a:cubicBezTo>
                </a:path>
              </a:pathLst>
            </a:custGeom>
            <a:solidFill>
              <a:schemeClr val="accent2"/>
            </a:solidFill>
            <a:ln w="61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 sz="2400"/>
            </a:p>
          </p:txBody>
        </p:sp>
        <p:sp>
          <p:nvSpPr>
            <p:cNvPr id="9" name="Forma libre 8">
              <a:extLst>
                <a:ext uri="{FF2B5EF4-FFF2-40B4-BE49-F238E27FC236}">
                  <a16:creationId xmlns:a16="http://schemas.microsoft.com/office/drawing/2014/main" id="{A29E6964-5BF6-6C4A-AF1F-349FC1884D2A}"/>
                </a:ext>
              </a:extLst>
            </p:cNvPr>
            <p:cNvSpPr/>
            <p:nvPr/>
          </p:nvSpPr>
          <p:spPr>
            <a:xfrm>
              <a:off x="8098546" y="4754028"/>
              <a:ext cx="798975" cy="174628"/>
            </a:xfrm>
            <a:custGeom>
              <a:avLst/>
              <a:gdLst>
                <a:gd name="connsiteX0" fmla="*/ 418218 w 434970"/>
                <a:gd name="connsiteY0" fmla="*/ 7990 h 95069"/>
                <a:gd name="connsiteX1" fmla="*/ 418218 w 434970"/>
                <a:gd name="connsiteY1" fmla="*/ 93781 h 95069"/>
                <a:gd name="connsiteX2" fmla="*/ 434970 w 434970"/>
                <a:gd name="connsiteY2" fmla="*/ 93781 h 95069"/>
                <a:gd name="connsiteX3" fmla="*/ 434970 w 434970"/>
                <a:gd name="connsiteY3" fmla="*/ 3617 h 95069"/>
                <a:gd name="connsiteX4" fmla="*/ 418218 w 434970"/>
                <a:gd name="connsiteY4" fmla="*/ 7990 h 95069"/>
                <a:gd name="connsiteX5" fmla="*/ 279670 w 434970"/>
                <a:gd name="connsiteY5" fmla="*/ 37617 h 95069"/>
                <a:gd name="connsiteX6" fmla="*/ 279670 w 434970"/>
                <a:gd name="connsiteY6" fmla="*/ 31307 h 95069"/>
                <a:gd name="connsiteX7" fmla="*/ 263565 w 434970"/>
                <a:gd name="connsiteY7" fmla="*/ 31307 h 95069"/>
                <a:gd name="connsiteX8" fmla="*/ 263565 w 434970"/>
                <a:gd name="connsiteY8" fmla="*/ 93787 h 95069"/>
                <a:gd name="connsiteX9" fmla="*/ 280306 w 434970"/>
                <a:gd name="connsiteY9" fmla="*/ 93787 h 95069"/>
                <a:gd name="connsiteX10" fmla="*/ 280306 w 434970"/>
                <a:gd name="connsiteY10" fmla="*/ 54490 h 95069"/>
                <a:gd name="connsiteX11" fmla="*/ 295518 w 434970"/>
                <a:gd name="connsiteY11" fmla="*/ 45473 h 95069"/>
                <a:gd name="connsiteX12" fmla="*/ 301575 w 434970"/>
                <a:gd name="connsiteY12" fmla="*/ 46121 h 95069"/>
                <a:gd name="connsiteX13" fmla="*/ 303512 w 434970"/>
                <a:gd name="connsiteY13" fmla="*/ 30525 h 95069"/>
                <a:gd name="connsiteX14" fmla="*/ 297834 w 434970"/>
                <a:gd name="connsiteY14" fmla="*/ 30012 h 95069"/>
                <a:gd name="connsiteX15" fmla="*/ 279670 w 434970"/>
                <a:gd name="connsiteY15" fmla="*/ 37617 h 95069"/>
                <a:gd name="connsiteX16" fmla="*/ 353776 w 434970"/>
                <a:gd name="connsiteY16" fmla="*/ 71881 h 95069"/>
                <a:gd name="connsiteX17" fmla="*/ 338698 w 434970"/>
                <a:gd name="connsiteY17" fmla="*/ 79608 h 95069"/>
                <a:gd name="connsiteX18" fmla="*/ 322196 w 434970"/>
                <a:gd name="connsiteY18" fmla="*/ 62608 h 95069"/>
                <a:gd name="connsiteX19" fmla="*/ 338313 w 434970"/>
                <a:gd name="connsiteY19" fmla="*/ 45473 h 95069"/>
                <a:gd name="connsiteX20" fmla="*/ 353776 w 434970"/>
                <a:gd name="connsiteY20" fmla="*/ 53201 h 95069"/>
                <a:gd name="connsiteX21" fmla="*/ 353776 w 434970"/>
                <a:gd name="connsiteY21" fmla="*/ 71881 h 95069"/>
                <a:gd name="connsiteX22" fmla="*/ 354423 w 434970"/>
                <a:gd name="connsiteY22" fmla="*/ 36328 h 95069"/>
                <a:gd name="connsiteX23" fmla="*/ 336124 w 434970"/>
                <a:gd name="connsiteY23" fmla="*/ 30018 h 95069"/>
                <a:gd name="connsiteX24" fmla="*/ 305443 w 434970"/>
                <a:gd name="connsiteY24" fmla="*/ 62608 h 95069"/>
                <a:gd name="connsiteX25" fmla="*/ 313444 w 434970"/>
                <a:gd name="connsiteY25" fmla="*/ 84508 h 95069"/>
                <a:gd name="connsiteX26" fmla="*/ 337023 w 434970"/>
                <a:gd name="connsiteY26" fmla="*/ 95070 h 95069"/>
                <a:gd name="connsiteX27" fmla="*/ 354423 w 434970"/>
                <a:gd name="connsiteY27" fmla="*/ 88759 h 95069"/>
                <a:gd name="connsiteX28" fmla="*/ 354423 w 434970"/>
                <a:gd name="connsiteY28" fmla="*/ 93781 h 95069"/>
                <a:gd name="connsiteX29" fmla="*/ 370534 w 434970"/>
                <a:gd name="connsiteY29" fmla="*/ 93781 h 95069"/>
                <a:gd name="connsiteX30" fmla="*/ 370534 w 434970"/>
                <a:gd name="connsiteY30" fmla="*/ 31301 h 95069"/>
                <a:gd name="connsiteX31" fmla="*/ 354423 w 434970"/>
                <a:gd name="connsiteY31" fmla="*/ 31301 h 95069"/>
                <a:gd name="connsiteX32" fmla="*/ 354423 w 434970"/>
                <a:gd name="connsiteY32" fmla="*/ 36328 h 95069"/>
                <a:gd name="connsiteX33" fmla="*/ 385997 w 434970"/>
                <a:gd name="connsiteY33" fmla="*/ 93781 h 95069"/>
                <a:gd name="connsiteX34" fmla="*/ 402749 w 434970"/>
                <a:gd name="connsiteY34" fmla="*/ 93781 h 95069"/>
                <a:gd name="connsiteX35" fmla="*/ 402749 w 434970"/>
                <a:gd name="connsiteY35" fmla="*/ 3617 h 95069"/>
                <a:gd name="connsiteX36" fmla="*/ 385997 w 434970"/>
                <a:gd name="connsiteY36" fmla="*/ 7996 h 95069"/>
                <a:gd name="connsiteX37" fmla="*/ 385997 w 434970"/>
                <a:gd name="connsiteY37" fmla="*/ 93781 h 95069"/>
                <a:gd name="connsiteX38" fmla="*/ 239717 w 434970"/>
                <a:gd name="connsiteY38" fmla="*/ 0 h 95069"/>
                <a:gd name="connsiteX39" fmla="*/ 228765 w 434970"/>
                <a:gd name="connsiteY39" fmla="*/ 10690 h 95069"/>
                <a:gd name="connsiteX40" fmla="*/ 239717 w 434970"/>
                <a:gd name="connsiteY40" fmla="*/ 21387 h 95069"/>
                <a:gd name="connsiteX41" fmla="*/ 250676 w 434970"/>
                <a:gd name="connsiteY41" fmla="*/ 10690 h 95069"/>
                <a:gd name="connsiteX42" fmla="*/ 239717 w 434970"/>
                <a:gd name="connsiteY42" fmla="*/ 0 h 95069"/>
                <a:gd name="connsiteX43" fmla="*/ 48332 w 434970"/>
                <a:gd name="connsiteY43" fmla="*/ 71881 h 95069"/>
                <a:gd name="connsiteX44" fmla="*/ 33248 w 434970"/>
                <a:gd name="connsiteY44" fmla="*/ 79608 h 95069"/>
                <a:gd name="connsiteX45" fmla="*/ 16752 w 434970"/>
                <a:gd name="connsiteY45" fmla="*/ 62608 h 95069"/>
                <a:gd name="connsiteX46" fmla="*/ 32870 w 434970"/>
                <a:gd name="connsiteY46" fmla="*/ 45473 h 95069"/>
                <a:gd name="connsiteX47" fmla="*/ 48332 w 434970"/>
                <a:gd name="connsiteY47" fmla="*/ 53201 h 95069"/>
                <a:gd name="connsiteX48" fmla="*/ 48332 w 434970"/>
                <a:gd name="connsiteY48" fmla="*/ 71881 h 95069"/>
                <a:gd name="connsiteX49" fmla="*/ 48973 w 434970"/>
                <a:gd name="connsiteY49" fmla="*/ 36328 h 95069"/>
                <a:gd name="connsiteX50" fmla="*/ 30675 w 434970"/>
                <a:gd name="connsiteY50" fmla="*/ 30018 h 95069"/>
                <a:gd name="connsiteX51" fmla="*/ 0 w 434970"/>
                <a:gd name="connsiteY51" fmla="*/ 62608 h 95069"/>
                <a:gd name="connsiteX52" fmla="*/ 7988 w 434970"/>
                <a:gd name="connsiteY52" fmla="*/ 84508 h 95069"/>
                <a:gd name="connsiteX53" fmla="*/ 31574 w 434970"/>
                <a:gd name="connsiteY53" fmla="*/ 95070 h 95069"/>
                <a:gd name="connsiteX54" fmla="*/ 48973 w 434970"/>
                <a:gd name="connsiteY54" fmla="*/ 88759 h 95069"/>
                <a:gd name="connsiteX55" fmla="*/ 48973 w 434970"/>
                <a:gd name="connsiteY55" fmla="*/ 93781 h 95069"/>
                <a:gd name="connsiteX56" fmla="*/ 65085 w 434970"/>
                <a:gd name="connsiteY56" fmla="*/ 93781 h 95069"/>
                <a:gd name="connsiteX57" fmla="*/ 65085 w 434970"/>
                <a:gd name="connsiteY57" fmla="*/ 31301 h 95069"/>
                <a:gd name="connsiteX58" fmla="*/ 48973 w 434970"/>
                <a:gd name="connsiteY58" fmla="*/ 31301 h 95069"/>
                <a:gd name="connsiteX59" fmla="*/ 48973 w 434970"/>
                <a:gd name="connsiteY59" fmla="*/ 36328 h 95069"/>
                <a:gd name="connsiteX60" fmla="*/ 80547 w 434970"/>
                <a:gd name="connsiteY60" fmla="*/ 93781 h 95069"/>
                <a:gd name="connsiteX61" fmla="*/ 97306 w 434970"/>
                <a:gd name="connsiteY61" fmla="*/ 93781 h 95069"/>
                <a:gd name="connsiteX62" fmla="*/ 97306 w 434970"/>
                <a:gd name="connsiteY62" fmla="*/ 3617 h 95069"/>
                <a:gd name="connsiteX63" fmla="*/ 80547 w 434970"/>
                <a:gd name="connsiteY63" fmla="*/ 7996 h 95069"/>
                <a:gd name="connsiteX64" fmla="*/ 80547 w 434970"/>
                <a:gd name="connsiteY64" fmla="*/ 93781 h 95069"/>
                <a:gd name="connsiteX65" fmla="*/ 188934 w 434970"/>
                <a:gd name="connsiteY65" fmla="*/ 30012 h 95069"/>
                <a:gd name="connsiteX66" fmla="*/ 166767 w 434970"/>
                <a:gd name="connsiteY66" fmla="*/ 39810 h 95069"/>
                <a:gd name="connsiteX67" fmla="*/ 145760 w 434970"/>
                <a:gd name="connsiteY67" fmla="*/ 30012 h 95069"/>
                <a:gd name="connsiteX68" fmla="*/ 128874 w 434970"/>
                <a:gd name="connsiteY68" fmla="*/ 36328 h 95069"/>
                <a:gd name="connsiteX69" fmla="*/ 128874 w 434970"/>
                <a:gd name="connsiteY69" fmla="*/ 31307 h 95069"/>
                <a:gd name="connsiteX70" fmla="*/ 112756 w 434970"/>
                <a:gd name="connsiteY70" fmla="*/ 31307 h 95069"/>
                <a:gd name="connsiteX71" fmla="*/ 112756 w 434970"/>
                <a:gd name="connsiteY71" fmla="*/ 93787 h 95069"/>
                <a:gd name="connsiteX72" fmla="*/ 129515 w 434970"/>
                <a:gd name="connsiteY72" fmla="*/ 93787 h 95069"/>
                <a:gd name="connsiteX73" fmla="*/ 129515 w 434970"/>
                <a:gd name="connsiteY73" fmla="*/ 53201 h 95069"/>
                <a:gd name="connsiteX74" fmla="*/ 144079 w 434970"/>
                <a:gd name="connsiteY74" fmla="*/ 45473 h 95069"/>
                <a:gd name="connsiteX75" fmla="*/ 153486 w 434970"/>
                <a:gd name="connsiteY75" fmla="*/ 49340 h 95069"/>
                <a:gd name="connsiteX76" fmla="*/ 156578 w 434970"/>
                <a:gd name="connsiteY76" fmla="*/ 60030 h 95069"/>
                <a:gd name="connsiteX77" fmla="*/ 156578 w 434970"/>
                <a:gd name="connsiteY77" fmla="*/ 93781 h 95069"/>
                <a:gd name="connsiteX78" fmla="*/ 173331 w 434970"/>
                <a:gd name="connsiteY78" fmla="*/ 93781 h 95069"/>
                <a:gd name="connsiteX79" fmla="*/ 173331 w 434970"/>
                <a:gd name="connsiteY79" fmla="*/ 60678 h 95069"/>
                <a:gd name="connsiteX80" fmla="*/ 172817 w 434970"/>
                <a:gd name="connsiteY80" fmla="*/ 53714 h 95069"/>
                <a:gd name="connsiteX81" fmla="*/ 187901 w 434970"/>
                <a:gd name="connsiteY81" fmla="*/ 45467 h 95069"/>
                <a:gd name="connsiteX82" fmla="*/ 197307 w 434970"/>
                <a:gd name="connsiteY82" fmla="*/ 49334 h 95069"/>
                <a:gd name="connsiteX83" fmla="*/ 200406 w 434970"/>
                <a:gd name="connsiteY83" fmla="*/ 60024 h 95069"/>
                <a:gd name="connsiteX84" fmla="*/ 200406 w 434970"/>
                <a:gd name="connsiteY84" fmla="*/ 93774 h 95069"/>
                <a:gd name="connsiteX85" fmla="*/ 217152 w 434970"/>
                <a:gd name="connsiteY85" fmla="*/ 93774 h 95069"/>
                <a:gd name="connsiteX86" fmla="*/ 217152 w 434970"/>
                <a:gd name="connsiteY86" fmla="*/ 60671 h 95069"/>
                <a:gd name="connsiteX87" fmla="*/ 210845 w 434970"/>
                <a:gd name="connsiteY87" fmla="*/ 40055 h 95069"/>
                <a:gd name="connsiteX88" fmla="*/ 188934 w 434970"/>
                <a:gd name="connsiteY88" fmla="*/ 30012 h 95069"/>
                <a:gd name="connsiteX89" fmla="*/ 231344 w 434970"/>
                <a:gd name="connsiteY89" fmla="*/ 93781 h 95069"/>
                <a:gd name="connsiteX90" fmla="*/ 248096 w 434970"/>
                <a:gd name="connsiteY90" fmla="*/ 93781 h 95069"/>
                <a:gd name="connsiteX91" fmla="*/ 248096 w 434970"/>
                <a:gd name="connsiteY91" fmla="*/ 31301 h 95069"/>
                <a:gd name="connsiteX92" fmla="*/ 231344 w 434970"/>
                <a:gd name="connsiteY92" fmla="*/ 31301 h 95069"/>
                <a:gd name="connsiteX93" fmla="*/ 231344 w 434970"/>
                <a:gd name="connsiteY93" fmla="*/ 93781 h 950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</a:cxnLst>
              <a:rect l="l" t="t" r="r" b="b"/>
              <a:pathLst>
                <a:path w="434970" h="95069">
                  <a:moveTo>
                    <a:pt x="418218" y="7990"/>
                  </a:moveTo>
                  <a:lnTo>
                    <a:pt x="418218" y="93781"/>
                  </a:lnTo>
                  <a:lnTo>
                    <a:pt x="434970" y="93781"/>
                  </a:lnTo>
                  <a:lnTo>
                    <a:pt x="434970" y="3617"/>
                  </a:lnTo>
                  <a:lnTo>
                    <a:pt x="418218" y="7990"/>
                  </a:lnTo>
                  <a:close/>
                  <a:moveTo>
                    <a:pt x="279670" y="37617"/>
                  </a:moveTo>
                  <a:lnTo>
                    <a:pt x="279670" y="31307"/>
                  </a:lnTo>
                  <a:lnTo>
                    <a:pt x="263565" y="31307"/>
                  </a:lnTo>
                  <a:lnTo>
                    <a:pt x="263565" y="93787"/>
                  </a:lnTo>
                  <a:lnTo>
                    <a:pt x="280306" y="93787"/>
                  </a:lnTo>
                  <a:lnTo>
                    <a:pt x="280306" y="54490"/>
                  </a:lnTo>
                  <a:cubicBezTo>
                    <a:pt x="282365" y="50763"/>
                    <a:pt x="288172" y="45473"/>
                    <a:pt x="295518" y="45473"/>
                  </a:cubicBezTo>
                  <a:cubicBezTo>
                    <a:pt x="297962" y="45473"/>
                    <a:pt x="300413" y="45736"/>
                    <a:pt x="301575" y="46121"/>
                  </a:cubicBezTo>
                  <a:lnTo>
                    <a:pt x="303512" y="30525"/>
                  </a:lnTo>
                  <a:cubicBezTo>
                    <a:pt x="301697" y="30269"/>
                    <a:pt x="300285" y="30012"/>
                    <a:pt x="297834" y="30012"/>
                  </a:cubicBezTo>
                  <a:cubicBezTo>
                    <a:pt x="290237" y="30018"/>
                    <a:pt x="283404" y="32981"/>
                    <a:pt x="279670" y="37617"/>
                  </a:cubicBezTo>
                  <a:moveTo>
                    <a:pt x="353776" y="71881"/>
                  </a:moveTo>
                  <a:cubicBezTo>
                    <a:pt x="350555" y="76517"/>
                    <a:pt x="345005" y="79608"/>
                    <a:pt x="338698" y="79608"/>
                  </a:cubicBezTo>
                  <a:cubicBezTo>
                    <a:pt x="329285" y="79608"/>
                    <a:pt x="322196" y="72394"/>
                    <a:pt x="322196" y="62608"/>
                  </a:cubicBezTo>
                  <a:cubicBezTo>
                    <a:pt x="322196" y="53591"/>
                    <a:pt x="328515" y="45473"/>
                    <a:pt x="338313" y="45473"/>
                  </a:cubicBezTo>
                  <a:cubicBezTo>
                    <a:pt x="344754" y="45473"/>
                    <a:pt x="350297" y="48564"/>
                    <a:pt x="353776" y="53201"/>
                  </a:cubicBezTo>
                  <a:lnTo>
                    <a:pt x="353776" y="71881"/>
                  </a:lnTo>
                  <a:close/>
                  <a:moveTo>
                    <a:pt x="354423" y="36328"/>
                  </a:moveTo>
                  <a:cubicBezTo>
                    <a:pt x="349522" y="32333"/>
                    <a:pt x="343208" y="30018"/>
                    <a:pt x="336124" y="30018"/>
                  </a:cubicBezTo>
                  <a:cubicBezTo>
                    <a:pt x="319110" y="30018"/>
                    <a:pt x="305443" y="44184"/>
                    <a:pt x="305443" y="62608"/>
                  </a:cubicBezTo>
                  <a:cubicBezTo>
                    <a:pt x="305443" y="71117"/>
                    <a:pt x="308536" y="78839"/>
                    <a:pt x="313444" y="84508"/>
                  </a:cubicBezTo>
                  <a:cubicBezTo>
                    <a:pt x="318974" y="90952"/>
                    <a:pt x="327751" y="95070"/>
                    <a:pt x="337023" y="95070"/>
                  </a:cubicBezTo>
                  <a:cubicBezTo>
                    <a:pt x="343337" y="95070"/>
                    <a:pt x="349265" y="93139"/>
                    <a:pt x="354423" y="88759"/>
                  </a:cubicBezTo>
                  <a:lnTo>
                    <a:pt x="354423" y="93781"/>
                  </a:lnTo>
                  <a:lnTo>
                    <a:pt x="370534" y="93781"/>
                  </a:lnTo>
                  <a:lnTo>
                    <a:pt x="370534" y="31301"/>
                  </a:lnTo>
                  <a:lnTo>
                    <a:pt x="354423" y="31301"/>
                  </a:lnTo>
                  <a:lnTo>
                    <a:pt x="354423" y="36328"/>
                  </a:lnTo>
                  <a:close/>
                  <a:moveTo>
                    <a:pt x="385997" y="93781"/>
                  </a:moveTo>
                  <a:lnTo>
                    <a:pt x="402749" y="93781"/>
                  </a:lnTo>
                  <a:lnTo>
                    <a:pt x="402749" y="3617"/>
                  </a:lnTo>
                  <a:lnTo>
                    <a:pt x="385997" y="7996"/>
                  </a:lnTo>
                  <a:lnTo>
                    <a:pt x="385997" y="93781"/>
                  </a:lnTo>
                  <a:close/>
                  <a:moveTo>
                    <a:pt x="239717" y="0"/>
                  </a:moveTo>
                  <a:cubicBezTo>
                    <a:pt x="233660" y="0"/>
                    <a:pt x="228765" y="4643"/>
                    <a:pt x="228765" y="10690"/>
                  </a:cubicBezTo>
                  <a:cubicBezTo>
                    <a:pt x="228765" y="16750"/>
                    <a:pt x="233660" y="21387"/>
                    <a:pt x="239717" y="21387"/>
                  </a:cubicBezTo>
                  <a:cubicBezTo>
                    <a:pt x="245774" y="21387"/>
                    <a:pt x="250676" y="16750"/>
                    <a:pt x="250676" y="10690"/>
                  </a:cubicBezTo>
                  <a:cubicBezTo>
                    <a:pt x="250676" y="4643"/>
                    <a:pt x="245774" y="0"/>
                    <a:pt x="239717" y="0"/>
                  </a:cubicBezTo>
                  <a:moveTo>
                    <a:pt x="48332" y="71881"/>
                  </a:moveTo>
                  <a:cubicBezTo>
                    <a:pt x="45117" y="76517"/>
                    <a:pt x="39568" y="79608"/>
                    <a:pt x="33248" y="79608"/>
                  </a:cubicBezTo>
                  <a:cubicBezTo>
                    <a:pt x="23842" y="79608"/>
                    <a:pt x="16752" y="72394"/>
                    <a:pt x="16752" y="62608"/>
                  </a:cubicBezTo>
                  <a:cubicBezTo>
                    <a:pt x="16752" y="53591"/>
                    <a:pt x="23072" y="45473"/>
                    <a:pt x="32870" y="45473"/>
                  </a:cubicBezTo>
                  <a:cubicBezTo>
                    <a:pt x="39317" y="45473"/>
                    <a:pt x="44860" y="48564"/>
                    <a:pt x="48332" y="53201"/>
                  </a:cubicBezTo>
                  <a:lnTo>
                    <a:pt x="48332" y="71881"/>
                  </a:lnTo>
                  <a:close/>
                  <a:moveTo>
                    <a:pt x="48973" y="36328"/>
                  </a:moveTo>
                  <a:cubicBezTo>
                    <a:pt x="44079" y="32333"/>
                    <a:pt x="37759" y="30018"/>
                    <a:pt x="30675" y="30018"/>
                  </a:cubicBezTo>
                  <a:cubicBezTo>
                    <a:pt x="13660" y="30018"/>
                    <a:pt x="0" y="44184"/>
                    <a:pt x="0" y="62608"/>
                  </a:cubicBezTo>
                  <a:cubicBezTo>
                    <a:pt x="0" y="71117"/>
                    <a:pt x="3092" y="78839"/>
                    <a:pt x="7988" y="84508"/>
                  </a:cubicBezTo>
                  <a:cubicBezTo>
                    <a:pt x="13531" y="90952"/>
                    <a:pt x="22296" y="95070"/>
                    <a:pt x="31574" y="95070"/>
                  </a:cubicBezTo>
                  <a:cubicBezTo>
                    <a:pt x="37887" y="95070"/>
                    <a:pt x="43822" y="93139"/>
                    <a:pt x="48973" y="88759"/>
                  </a:cubicBezTo>
                  <a:lnTo>
                    <a:pt x="48973" y="93781"/>
                  </a:lnTo>
                  <a:lnTo>
                    <a:pt x="65085" y="93781"/>
                  </a:lnTo>
                  <a:lnTo>
                    <a:pt x="65085" y="31301"/>
                  </a:lnTo>
                  <a:lnTo>
                    <a:pt x="48973" y="31301"/>
                  </a:lnTo>
                  <a:lnTo>
                    <a:pt x="48973" y="36328"/>
                  </a:lnTo>
                  <a:close/>
                  <a:moveTo>
                    <a:pt x="80547" y="93781"/>
                  </a:moveTo>
                  <a:lnTo>
                    <a:pt x="97306" y="93781"/>
                  </a:lnTo>
                  <a:lnTo>
                    <a:pt x="97306" y="3617"/>
                  </a:lnTo>
                  <a:lnTo>
                    <a:pt x="80547" y="7996"/>
                  </a:lnTo>
                  <a:lnTo>
                    <a:pt x="80547" y="93781"/>
                  </a:lnTo>
                  <a:close/>
                  <a:moveTo>
                    <a:pt x="188934" y="30012"/>
                  </a:moveTo>
                  <a:cubicBezTo>
                    <a:pt x="179650" y="30012"/>
                    <a:pt x="171791" y="34526"/>
                    <a:pt x="166767" y="39810"/>
                  </a:cubicBezTo>
                  <a:cubicBezTo>
                    <a:pt x="161865" y="33879"/>
                    <a:pt x="154262" y="30012"/>
                    <a:pt x="145760" y="30012"/>
                  </a:cubicBezTo>
                  <a:cubicBezTo>
                    <a:pt x="139704" y="30012"/>
                    <a:pt x="133775" y="31949"/>
                    <a:pt x="128874" y="36328"/>
                  </a:cubicBezTo>
                  <a:lnTo>
                    <a:pt x="128874" y="31307"/>
                  </a:lnTo>
                  <a:lnTo>
                    <a:pt x="112756" y="31307"/>
                  </a:lnTo>
                  <a:lnTo>
                    <a:pt x="112756" y="93787"/>
                  </a:lnTo>
                  <a:lnTo>
                    <a:pt x="129515" y="93787"/>
                  </a:lnTo>
                  <a:lnTo>
                    <a:pt x="129515" y="53201"/>
                  </a:lnTo>
                  <a:cubicBezTo>
                    <a:pt x="131831" y="50250"/>
                    <a:pt x="136996" y="45473"/>
                    <a:pt x="144079" y="45473"/>
                  </a:cubicBezTo>
                  <a:cubicBezTo>
                    <a:pt x="147294" y="45473"/>
                    <a:pt x="150907" y="46506"/>
                    <a:pt x="153486" y="49340"/>
                  </a:cubicBezTo>
                  <a:cubicBezTo>
                    <a:pt x="155417" y="51527"/>
                    <a:pt x="156578" y="54361"/>
                    <a:pt x="156578" y="60030"/>
                  </a:cubicBezTo>
                  <a:lnTo>
                    <a:pt x="156578" y="93781"/>
                  </a:lnTo>
                  <a:lnTo>
                    <a:pt x="173331" y="93781"/>
                  </a:lnTo>
                  <a:lnTo>
                    <a:pt x="173331" y="60678"/>
                  </a:lnTo>
                  <a:cubicBezTo>
                    <a:pt x="173331" y="58100"/>
                    <a:pt x="173074" y="55772"/>
                    <a:pt x="172817" y="53714"/>
                  </a:cubicBezTo>
                  <a:cubicBezTo>
                    <a:pt x="175011" y="50501"/>
                    <a:pt x="180677" y="45467"/>
                    <a:pt x="187901" y="45467"/>
                  </a:cubicBezTo>
                  <a:cubicBezTo>
                    <a:pt x="191116" y="45467"/>
                    <a:pt x="194728" y="46499"/>
                    <a:pt x="197307" y="49334"/>
                  </a:cubicBezTo>
                  <a:cubicBezTo>
                    <a:pt x="199239" y="51521"/>
                    <a:pt x="200406" y="54355"/>
                    <a:pt x="200406" y="60024"/>
                  </a:cubicBezTo>
                  <a:lnTo>
                    <a:pt x="200406" y="93774"/>
                  </a:lnTo>
                  <a:lnTo>
                    <a:pt x="217152" y="93774"/>
                  </a:lnTo>
                  <a:lnTo>
                    <a:pt x="217152" y="60671"/>
                  </a:lnTo>
                  <a:cubicBezTo>
                    <a:pt x="217152" y="51392"/>
                    <a:pt x="214830" y="44954"/>
                    <a:pt x="210845" y="40055"/>
                  </a:cubicBezTo>
                  <a:cubicBezTo>
                    <a:pt x="205821" y="33879"/>
                    <a:pt x="197582" y="30012"/>
                    <a:pt x="188934" y="30012"/>
                  </a:cubicBezTo>
                  <a:moveTo>
                    <a:pt x="231344" y="93781"/>
                  </a:moveTo>
                  <a:lnTo>
                    <a:pt x="248096" y="93781"/>
                  </a:lnTo>
                  <a:lnTo>
                    <a:pt x="248096" y="31301"/>
                  </a:lnTo>
                  <a:lnTo>
                    <a:pt x="231344" y="31301"/>
                  </a:lnTo>
                  <a:lnTo>
                    <a:pt x="231344" y="93781"/>
                  </a:lnTo>
                  <a:close/>
                </a:path>
              </a:pathLst>
            </a:custGeom>
            <a:solidFill>
              <a:schemeClr val="accent1"/>
            </a:solidFill>
            <a:ln w="61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 sz="2400" dirty="0">
                <a:solidFill>
                  <a:schemeClr val="accent1"/>
                </a:solidFill>
              </a:endParaRPr>
            </a:p>
          </p:txBody>
        </p:sp>
      </p:grpSp>
      <p:sp>
        <p:nvSpPr>
          <p:cNvPr id="5" name="Marcador de título 4">
            <a:extLst>
              <a:ext uri="{FF2B5EF4-FFF2-40B4-BE49-F238E27FC236}">
                <a16:creationId xmlns:a16="http://schemas.microsoft.com/office/drawing/2014/main" id="{4C67B2B4-379C-7A3E-FA61-A15A8B4738E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28671" y="242255"/>
            <a:ext cx="10515600" cy="86582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s-ES" dirty="0"/>
              <a:t>Haga clic para modificar el estilo de título del patrón</a:t>
            </a:r>
          </a:p>
        </p:txBody>
      </p:sp>
      <p:sp>
        <p:nvSpPr>
          <p:cNvPr id="6" name="Marcador de texto 5">
            <a:extLst>
              <a:ext uri="{FF2B5EF4-FFF2-40B4-BE49-F238E27FC236}">
                <a16:creationId xmlns:a16="http://schemas.microsoft.com/office/drawing/2014/main" id="{FF4B409F-F4CE-07FD-2507-1FF4FD45188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581153"/>
            <a:ext cx="10515600" cy="459528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" dirty="0"/>
              <a:t>Haga clic para modificar los estilos de texto del patrón</a:t>
            </a:r>
          </a:p>
        </p:txBody>
      </p:sp>
      <p:cxnSp>
        <p:nvCxnSpPr>
          <p:cNvPr id="11" name="Conector recto 10">
            <a:extLst>
              <a:ext uri="{FF2B5EF4-FFF2-40B4-BE49-F238E27FC236}">
                <a16:creationId xmlns:a16="http://schemas.microsoft.com/office/drawing/2014/main" id="{F1D93B5B-558E-ECD7-4484-027CB530852E}"/>
              </a:ext>
            </a:extLst>
          </p:cNvPr>
          <p:cNvCxnSpPr/>
          <p:nvPr/>
        </p:nvCxnSpPr>
        <p:spPr>
          <a:xfrm>
            <a:off x="847722" y="1114417"/>
            <a:ext cx="104775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Imagen 12">
            <a:extLst>
              <a:ext uri="{FF2B5EF4-FFF2-40B4-BE49-F238E27FC236}">
                <a16:creationId xmlns:a16="http://schemas.microsoft.com/office/drawing/2014/main" id="{DF0CE4D3-BFCC-88A7-5E6C-983B8D015D56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0" y="5598629"/>
            <a:ext cx="2079437" cy="1262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4316224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8" r:id="rId7"/>
    <p:sldLayoutId id="2147483669" r:id="rId8"/>
  </p:sldLayoutIdLst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2933" b="1" kern="1200" baseline="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4377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1867" kern="1200" baseline="0">
          <a:solidFill>
            <a:schemeClr val="accent1"/>
          </a:solidFill>
          <a:latin typeface="+mn-lt"/>
          <a:ea typeface="+mn-ea"/>
          <a:cs typeface="+mn-cs"/>
        </a:defRPr>
      </a:lvl1pPr>
      <a:lvl2pPr marL="68578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71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60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349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pos="2880">
          <p15:clr>
            <a:srgbClr val="F26B43"/>
          </p15:clr>
        </p15:guide>
        <p15:guide id="3" pos="198">
          <p15:clr>
            <a:srgbClr val="F26B43"/>
          </p15:clr>
        </p15:guide>
        <p15:guide id="4" orient="horz" pos="205">
          <p15:clr>
            <a:srgbClr val="F26B43"/>
          </p15:clr>
        </p15:guide>
        <p15:guide id="5" pos="5581">
          <p15:clr>
            <a:srgbClr val="F26B43"/>
          </p15:clr>
        </p15:guide>
        <p15:guide id="7" orient="horz" pos="797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7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18" imgW="359" imgH="355" progId="TCLayout.ActiveDocument.1">
                  <p:embed/>
                </p:oleObj>
              </mc:Choice>
              <mc:Fallback>
                <p:oleObj name="Diapositiva de think-cell" r:id="rId18" imgW="359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7" name="Grupo 6">
            <a:extLst>
              <a:ext uri="{FF2B5EF4-FFF2-40B4-BE49-F238E27FC236}">
                <a16:creationId xmlns:a16="http://schemas.microsoft.com/office/drawing/2014/main" id="{F246AD8A-13A8-AD45-A853-196B64D14D86}"/>
              </a:ext>
            </a:extLst>
          </p:cNvPr>
          <p:cNvGrpSpPr/>
          <p:nvPr userDrawn="1"/>
        </p:nvGrpSpPr>
        <p:grpSpPr>
          <a:xfrm>
            <a:off x="10869235" y="6305566"/>
            <a:ext cx="1001260" cy="310180"/>
            <a:chOff x="7785861" y="4639396"/>
            <a:chExt cx="1111660" cy="344382"/>
          </a:xfrm>
        </p:grpSpPr>
        <p:sp>
          <p:nvSpPr>
            <p:cNvPr id="8" name="Forma libre 7">
              <a:extLst>
                <a:ext uri="{FF2B5EF4-FFF2-40B4-BE49-F238E27FC236}">
                  <a16:creationId xmlns:a16="http://schemas.microsoft.com/office/drawing/2014/main" id="{3CDBEAD3-8A02-4543-B455-7EACBA27B583}"/>
                </a:ext>
              </a:extLst>
            </p:cNvPr>
            <p:cNvSpPr/>
            <p:nvPr userDrawn="1"/>
          </p:nvSpPr>
          <p:spPr>
            <a:xfrm>
              <a:off x="7785861" y="4639396"/>
              <a:ext cx="256158" cy="344382"/>
            </a:xfrm>
            <a:custGeom>
              <a:avLst/>
              <a:gdLst>
                <a:gd name="connsiteX0" fmla="*/ 107295 w 139455"/>
                <a:gd name="connsiteY0" fmla="*/ 11790 h 187485"/>
                <a:gd name="connsiteX1" fmla="*/ 107295 w 139455"/>
                <a:gd name="connsiteY1" fmla="*/ 0 h 187485"/>
                <a:gd name="connsiteX2" fmla="*/ 46294 w 139455"/>
                <a:gd name="connsiteY2" fmla="*/ 32046 h 187485"/>
                <a:gd name="connsiteX3" fmla="*/ 39296 w 139455"/>
                <a:gd name="connsiteY3" fmla="*/ 43610 h 187485"/>
                <a:gd name="connsiteX4" fmla="*/ 39296 w 139455"/>
                <a:gd name="connsiteY4" fmla="*/ 55400 h 187485"/>
                <a:gd name="connsiteX5" fmla="*/ 100310 w 139455"/>
                <a:gd name="connsiteY5" fmla="*/ 23353 h 187485"/>
                <a:gd name="connsiteX6" fmla="*/ 107295 w 139455"/>
                <a:gd name="connsiteY6" fmla="*/ 11790 h 187485"/>
                <a:gd name="connsiteX7" fmla="*/ 107466 w 139455"/>
                <a:gd name="connsiteY7" fmla="*/ 39279 h 187485"/>
                <a:gd name="connsiteX8" fmla="*/ 46459 w 139455"/>
                <a:gd name="connsiteY8" fmla="*/ 71325 h 187485"/>
                <a:gd name="connsiteX9" fmla="*/ 39466 w 139455"/>
                <a:gd name="connsiteY9" fmla="*/ 82889 h 187485"/>
                <a:gd name="connsiteX10" fmla="*/ 39466 w 139455"/>
                <a:gd name="connsiteY10" fmla="*/ 94678 h 187485"/>
                <a:gd name="connsiteX11" fmla="*/ 100475 w 139455"/>
                <a:gd name="connsiteY11" fmla="*/ 62638 h 187485"/>
                <a:gd name="connsiteX12" fmla="*/ 107466 w 139455"/>
                <a:gd name="connsiteY12" fmla="*/ 51069 h 187485"/>
                <a:gd name="connsiteX13" fmla="*/ 107466 w 139455"/>
                <a:gd name="connsiteY13" fmla="*/ 39279 h 187485"/>
                <a:gd name="connsiteX14" fmla="*/ 39466 w 139455"/>
                <a:gd name="connsiteY14" fmla="*/ 122167 h 187485"/>
                <a:gd name="connsiteX15" fmla="*/ 39466 w 139455"/>
                <a:gd name="connsiteY15" fmla="*/ 133951 h 187485"/>
                <a:gd name="connsiteX16" fmla="*/ 100475 w 139455"/>
                <a:gd name="connsiteY16" fmla="*/ 101905 h 187485"/>
                <a:gd name="connsiteX17" fmla="*/ 107466 w 139455"/>
                <a:gd name="connsiteY17" fmla="*/ 90347 h 187485"/>
                <a:gd name="connsiteX18" fmla="*/ 107466 w 139455"/>
                <a:gd name="connsiteY18" fmla="*/ 78558 h 187485"/>
                <a:gd name="connsiteX19" fmla="*/ 46459 w 139455"/>
                <a:gd name="connsiteY19" fmla="*/ 110598 h 187485"/>
                <a:gd name="connsiteX20" fmla="*/ 39466 w 139455"/>
                <a:gd name="connsiteY20" fmla="*/ 122167 h 187485"/>
                <a:gd name="connsiteX21" fmla="*/ 135911 w 139455"/>
                <a:gd name="connsiteY21" fmla="*/ 95809 h 187485"/>
                <a:gd name="connsiteX22" fmla="*/ 133008 w 139455"/>
                <a:gd name="connsiteY22" fmla="*/ 94672 h 187485"/>
                <a:gd name="connsiteX23" fmla="*/ 121920 w 139455"/>
                <a:gd name="connsiteY23" fmla="*/ 100488 h 187485"/>
                <a:gd name="connsiteX24" fmla="*/ 120729 w 139455"/>
                <a:gd name="connsiteY24" fmla="*/ 103347 h 187485"/>
                <a:gd name="connsiteX25" fmla="*/ 122428 w 139455"/>
                <a:gd name="connsiteY25" fmla="*/ 123475 h 187485"/>
                <a:gd name="connsiteX26" fmla="*/ 73087 w 139455"/>
                <a:gd name="connsiteY26" fmla="*/ 170658 h 187485"/>
                <a:gd name="connsiteX27" fmla="*/ 16725 w 139455"/>
                <a:gd name="connsiteY27" fmla="*/ 117788 h 187485"/>
                <a:gd name="connsiteX28" fmla="*/ 24499 w 139455"/>
                <a:gd name="connsiteY28" fmla="*/ 90170 h 187485"/>
                <a:gd name="connsiteX29" fmla="*/ 24602 w 139455"/>
                <a:gd name="connsiteY29" fmla="*/ 87171 h 187485"/>
                <a:gd name="connsiteX30" fmla="*/ 18094 w 139455"/>
                <a:gd name="connsiteY30" fmla="*/ 75345 h 187485"/>
                <a:gd name="connsiteX31" fmla="*/ 14640 w 139455"/>
                <a:gd name="connsiteY31" fmla="*/ 75088 h 187485"/>
                <a:gd name="connsiteX32" fmla="*/ 94 w 139455"/>
                <a:gd name="connsiteY32" fmla="*/ 121483 h 187485"/>
                <a:gd name="connsiteX33" fmla="*/ 66994 w 139455"/>
                <a:gd name="connsiteY33" fmla="*/ 187433 h 187485"/>
                <a:gd name="connsiteX34" fmla="*/ 139455 w 139455"/>
                <a:gd name="connsiteY34" fmla="*/ 117794 h 187485"/>
                <a:gd name="connsiteX35" fmla="*/ 135911 w 139455"/>
                <a:gd name="connsiteY35" fmla="*/ 95809 h 1874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</a:cxnLst>
              <a:rect l="l" t="t" r="r" b="b"/>
              <a:pathLst>
                <a:path w="139455" h="187485">
                  <a:moveTo>
                    <a:pt x="107295" y="11790"/>
                  </a:moveTo>
                  <a:lnTo>
                    <a:pt x="107295" y="0"/>
                  </a:lnTo>
                  <a:lnTo>
                    <a:pt x="46294" y="32046"/>
                  </a:lnTo>
                  <a:cubicBezTo>
                    <a:pt x="41997" y="34300"/>
                    <a:pt x="39296" y="38760"/>
                    <a:pt x="39296" y="43610"/>
                  </a:cubicBezTo>
                  <a:lnTo>
                    <a:pt x="39296" y="55400"/>
                  </a:lnTo>
                  <a:lnTo>
                    <a:pt x="100310" y="23353"/>
                  </a:lnTo>
                  <a:cubicBezTo>
                    <a:pt x="104612" y="21093"/>
                    <a:pt x="107295" y="16640"/>
                    <a:pt x="107295" y="11790"/>
                  </a:cubicBezTo>
                  <a:moveTo>
                    <a:pt x="107466" y="39279"/>
                  </a:moveTo>
                  <a:lnTo>
                    <a:pt x="46459" y="71325"/>
                  </a:lnTo>
                  <a:cubicBezTo>
                    <a:pt x="42168" y="73585"/>
                    <a:pt x="39466" y="78038"/>
                    <a:pt x="39466" y="82889"/>
                  </a:cubicBezTo>
                  <a:lnTo>
                    <a:pt x="39466" y="94678"/>
                  </a:lnTo>
                  <a:lnTo>
                    <a:pt x="100475" y="62638"/>
                  </a:lnTo>
                  <a:cubicBezTo>
                    <a:pt x="104771" y="60378"/>
                    <a:pt x="107466" y="55919"/>
                    <a:pt x="107466" y="51069"/>
                  </a:cubicBezTo>
                  <a:lnTo>
                    <a:pt x="107466" y="39279"/>
                  </a:lnTo>
                  <a:close/>
                  <a:moveTo>
                    <a:pt x="39466" y="122167"/>
                  </a:moveTo>
                  <a:lnTo>
                    <a:pt x="39466" y="133951"/>
                  </a:lnTo>
                  <a:lnTo>
                    <a:pt x="100475" y="101905"/>
                  </a:lnTo>
                  <a:cubicBezTo>
                    <a:pt x="104771" y="99651"/>
                    <a:pt x="107466" y="95198"/>
                    <a:pt x="107466" y="90347"/>
                  </a:cubicBezTo>
                  <a:lnTo>
                    <a:pt x="107466" y="78558"/>
                  </a:lnTo>
                  <a:lnTo>
                    <a:pt x="46459" y="110598"/>
                  </a:lnTo>
                  <a:cubicBezTo>
                    <a:pt x="42162" y="112864"/>
                    <a:pt x="39466" y="117317"/>
                    <a:pt x="39466" y="122167"/>
                  </a:cubicBezTo>
                  <a:moveTo>
                    <a:pt x="135911" y="95809"/>
                  </a:moveTo>
                  <a:cubicBezTo>
                    <a:pt x="135520" y="94617"/>
                    <a:pt x="134126" y="94086"/>
                    <a:pt x="133008" y="94672"/>
                  </a:cubicBezTo>
                  <a:lnTo>
                    <a:pt x="121920" y="100488"/>
                  </a:lnTo>
                  <a:cubicBezTo>
                    <a:pt x="120888" y="101038"/>
                    <a:pt x="120411" y="102223"/>
                    <a:pt x="120729" y="103347"/>
                  </a:cubicBezTo>
                  <a:cubicBezTo>
                    <a:pt x="122514" y="109651"/>
                    <a:pt x="123174" y="116438"/>
                    <a:pt x="122428" y="123475"/>
                  </a:cubicBezTo>
                  <a:cubicBezTo>
                    <a:pt x="119739" y="148942"/>
                    <a:pt x="98653" y="169082"/>
                    <a:pt x="73087" y="170658"/>
                  </a:cubicBezTo>
                  <a:cubicBezTo>
                    <a:pt x="42290" y="172564"/>
                    <a:pt x="16725" y="148154"/>
                    <a:pt x="16725" y="117788"/>
                  </a:cubicBezTo>
                  <a:cubicBezTo>
                    <a:pt x="16725" y="107665"/>
                    <a:pt x="19572" y="98203"/>
                    <a:pt x="24499" y="90170"/>
                  </a:cubicBezTo>
                  <a:cubicBezTo>
                    <a:pt x="25061" y="89248"/>
                    <a:pt x="25116" y="88112"/>
                    <a:pt x="24602" y="87171"/>
                  </a:cubicBezTo>
                  <a:lnTo>
                    <a:pt x="18094" y="75345"/>
                  </a:lnTo>
                  <a:cubicBezTo>
                    <a:pt x="17372" y="74037"/>
                    <a:pt x="15557" y="73915"/>
                    <a:pt x="14640" y="75088"/>
                  </a:cubicBezTo>
                  <a:cubicBezTo>
                    <a:pt x="4782" y="87782"/>
                    <a:pt x="-804" y="103964"/>
                    <a:pt x="94" y="121483"/>
                  </a:cubicBezTo>
                  <a:cubicBezTo>
                    <a:pt x="1953" y="157213"/>
                    <a:pt x="31228" y="186064"/>
                    <a:pt x="66994" y="187433"/>
                  </a:cubicBezTo>
                  <a:cubicBezTo>
                    <a:pt x="106751" y="188953"/>
                    <a:pt x="139455" y="157189"/>
                    <a:pt x="139455" y="117794"/>
                  </a:cubicBezTo>
                  <a:cubicBezTo>
                    <a:pt x="139455" y="110103"/>
                    <a:pt x="138209" y="102711"/>
                    <a:pt x="135911" y="95809"/>
                  </a:cubicBezTo>
                </a:path>
              </a:pathLst>
            </a:custGeom>
            <a:solidFill>
              <a:schemeClr val="accent2"/>
            </a:solidFill>
            <a:ln w="61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 sz="2400"/>
            </a:p>
          </p:txBody>
        </p:sp>
        <p:sp>
          <p:nvSpPr>
            <p:cNvPr id="9" name="Forma libre 8">
              <a:extLst>
                <a:ext uri="{FF2B5EF4-FFF2-40B4-BE49-F238E27FC236}">
                  <a16:creationId xmlns:a16="http://schemas.microsoft.com/office/drawing/2014/main" id="{A29E6964-5BF6-6C4A-AF1F-349FC1884D2A}"/>
                </a:ext>
              </a:extLst>
            </p:cNvPr>
            <p:cNvSpPr/>
            <p:nvPr userDrawn="1"/>
          </p:nvSpPr>
          <p:spPr>
            <a:xfrm>
              <a:off x="8098546" y="4754028"/>
              <a:ext cx="798975" cy="174628"/>
            </a:xfrm>
            <a:custGeom>
              <a:avLst/>
              <a:gdLst>
                <a:gd name="connsiteX0" fmla="*/ 418218 w 434970"/>
                <a:gd name="connsiteY0" fmla="*/ 7990 h 95069"/>
                <a:gd name="connsiteX1" fmla="*/ 418218 w 434970"/>
                <a:gd name="connsiteY1" fmla="*/ 93781 h 95069"/>
                <a:gd name="connsiteX2" fmla="*/ 434970 w 434970"/>
                <a:gd name="connsiteY2" fmla="*/ 93781 h 95069"/>
                <a:gd name="connsiteX3" fmla="*/ 434970 w 434970"/>
                <a:gd name="connsiteY3" fmla="*/ 3617 h 95069"/>
                <a:gd name="connsiteX4" fmla="*/ 418218 w 434970"/>
                <a:gd name="connsiteY4" fmla="*/ 7990 h 95069"/>
                <a:gd name="connsiteX5" fmla="*/ 279670 w 434970"/>
                <a:gd name="connsiteY5" fmla="*/ 37617 h 95069"/>
                <a:gd name="connsiteX6" fmla="*/ 279670 w 434970"/>
                <a:gd name="connsiteY6" fmla="*/ 31307 h 95069"/>
                <a:gd name="connsiteX7" fmla="*/ 263565 w 434970"/>
                <a:gd name="connsiteY7" fmla="*/ 31307 h 95069"/>
                <a:gd name="connsiteX8" fmla="*/ 263565 w 434970"/>
                <a:gd name="connsiteY8" fmla="*/ 93787 h 95069"/>
                <a:gd name="connsiteX9" fmla="*/ 280306 w 434970"/>
                <a:gd name="connsiteY9" fmla="*/ 93787 h 95069"/>
                <a:gd name="connsiteX10" fmla="*/ 280306 w 434970"/>
                <a:gd name="connsiteY10" fmla="*/ 54490 h 95069"/>
                <a:gd name="connsiteX11" fmla="*/ 295518 w 434970"/>
                <a:gd name="connsiteY11" fmla="*/ 45473 h 95069"/>
                <a:gd name="connsiteX12" fmla="*/ 301575 w 434970"/>
                <a:gd name="connsiteY12" fmla="*/ 46121 h 95069"/>
                <a:gd name="connsiteX13" fmla="*/ 303512 w 434970"/>
                <a:gd name="connsiteY13" fmla="*/ 30525 h 95069"/>
                <a:gd name="connsiteX14" fmla="*/ 297834 w 434970"/>
                <a:gd name="connsiteY14" fmla="*/ 30012 h 95069"/>
                <a:gd name="connsiteX15" fmla="*/ 279670 w 434970"/>
                <a:gd name="connsiteY15" fmla="*/ 37617 h 95069"/>
                <a:gd name="connsiteX16" fmla="*/ 353776 w 434970"/>
                <a:gd name="connsiteY16" fmla="*/ 71881 h 95069"/>
                <a:gd name="connsiteX17" fmla="*/ 338698 w 434970"/>
                <a:gd name="connsiteY17" fmla="*/ 79608 h 95069"/>
                <a:gd name="connsiteX18" fmla="*/ 322196 w 434970"/>
                <a:gd name="connsiteY18" fmla="*/ 62608 h 95069"/>
                <a:gd name="connsiteX19" fmla="*/ 338313 w 434970"/>
                <a:gd name="connsiteY19" fmla="*/ 45473 h 95069"/>
                <a:gd name="connsiteX20" fmla="*/ 353776 w 434970"/>
                <a:gd name="connsiteY20" fmla="*/ 53201 h 95069"/>
                <a:gd name="connsiteX21" fmla="*/ 353776 w 434970"/>
                <a:gd name="connsiteY21" fmla="*/ 71881 h 95069"/>
                <a:gd name="connsiteX22" fmla="*/ 354423 w 434970"/>
                <a:gd name="connsiteY22" fmla="*/ 36328 h 95069"/>
                <a:gd name="connsiteX23" fmla="*/ 336124 w 434970"/>
                <a:gd name="connsiteY23" fmla="*/ 30018 h 95069"/>
                <a:gd name="connsiteX24" fmla="*/ 305443 w 434970"/>
                <a:gd name="connsiteY24" fmla="*/ 62608 h 95069"/>
                <a:gd name="connsiteX25" fmla="*/ 313444 w 434970"/>
                <a:gd name="connsiteY25" fmla="*/ 84508 h 95069"/>
                <a:gd name="connsiteX26" fmla="*/ 337023 w 434970"/>
                <a:gd name="connsiteY26" fmla="*/ 95070 h 95069"/>
                <a:gd name="connsiteX27" fmla="*/ 354423 w 434970"/>
                <a:gd name="connsiteY27" fmla="*/ 88759 h 95069"/>
                <a:gd name="connsiteX28" fmla="*/ 354423 w 434970"/>
                <a:gd name="connsiteY28" fmla="*/ 93781 h 95069"/>
                <a:gd name="connsiteX29" fmla="*/ 370534 w 434970"/>
                <a:gd name="connsiteY29" fmla="*/ 93781 h 95069"/>
                <a:gd name="connsiteX30" fmla="*/ 370534 w 434970"/>
                <a:gd name="connsiteY30" fmla="*/ 31301 h 95069"/>
                <a:gd name="connsiteX31" fmla="*/ 354423 w 434970"/>
                <a:gd name="connsiteY31" fmla="*/ 31301 h 95069"/>
                <a:gd name="connsiteX32" fmla="*/ 354423 w 434970"/>
                <a:gd name="connsiteY32" fmla="*/ 36328 h 95069"/>
                <a:gd name="connsiteX33" fmla="*/ 385997 w 434970"/>
                <a:gd name="connsiteY33" fmla="*/ 93781 h 95069"/>
                <a:gd name="connsiteX34" fmla="*/ 402749 w 434970"/>
                <a:gd name="connsiteY34" fmla="*/ 93781 h 95069"/>
                <a:gd name="connsiteX35" fmla="*/ 402749 w 434970"/>
                <a:gd name="connsiteY35" fmla="*/ 3617 h 95069"/>
                <a:gd name="connsiteX36" fmla="*/ 385997 w 434970"/>
                <a:gd name="connsiteY36" fmla="*/ 7996 h 95069"/>
                <a:gd name="connsiteX37" fmla="*/ 385997 w 434970"/>
                <a:gd name="connsiteY37" fmla="*/ 93781 h 95069"/>
                <a:gd name="connsiteX38" fmla="*/ 239717 w 434970"/>
                <a:gd name="connsiteY38" fmla="*/ 0 h 95069"/>
                <a:gd name="connsiteX39" fmla="*/ 228765 w 434970"/>
                <a:gd name="connsiteY39" fmla="*/ 10690 h 95069"/>
                <a:gd name="connsiteX40" fmla="*/ 239717 w 434970"/>
                <a:gd name="connsiteY40" fmla="*/ 21387 h 95069"/>
                <a:gd name="connsiteX41" fmla="*/ 250676 w 434970"/>
                <a:gd name="connsiteY41" fmla="*/ 10690 h 95069"/>
                <a:gd name="connsiteX42" fmla="*/ 239717 w 434970"/>
                <a:gd name="connsiteY42" fmla="*/ 0 h 95069"/>
                <a:gd name="connsiteX43" fmla="*/ 48332 w 434970"/>
                <a:gd name="connsiteY43" fmla="*/ 71881 h 95069"/>
                <a:gd name="connsiteX44" fmla="*/ 33248 w 434970"/>
                <a:gd name="connsiteY44" fmla="*/ 79608 h 95069"/>
                <a:gd name="connsiteX45" fmla="*/ 16752 w 434970"/>
                <a:gd name="connsiteY45" fmla="*/ 62608 h 95069"/>
                <a:gd name="connsiteX46" fmla="*/ 32870 w 434970"/>
                <a:gd name="connsiteY46" fmla="*/ 45473 h 95069"/>
                <a:gd name="connsiteX47" fmla="*/ 48332 w 434970"/>
                <a:gd name="connsiteY47" fmla="*/ 53201 h 95069"/>
                <a:gd name="connsiteX48" fmla="*/ 48332 w 434970"/>
                <a:gd name="connsiteY48" fmla="*/ 71881 h 95069"/>
                <a:gd name="connsiteX49" fmla="*/ 48973 w 434970"/>
                <a:gd name="connsiteY49" fmla="*/ 36328 h 95069"/>
                <a:gd name="connsiteX50" fmla="*/ 30675 w 434970"/>
                <a:gd name="connsiteY50" fmla="*/ 30018 h 95069"/>
                <a:gd name="connsiteX51" fmla="*/ 0 w 434970"/>
                <a:gd name="connsiteY51" fmla="*/ 62608 h 95069"/>
                <a:gd name="connsiteX52" fmla="*/ 7988 w 434970"/>
                <a:gd name="connsiteY52" fmla="*/ 84508 h 95069"/>
                <a:gd name="connsiteX53" fmla="*/ 31574 w 434970"/>
                <a:gd name="connsiteY53" fmla="*/ 95070 h 95069"/>
                <a:gd name="connsiteX54" fmla="*/ 48973 w 434970"/>
                <a:gd name="connsiteY54" fmla="*/ 88759 h 95069"/>
                <a:gd name="connsiteX55" fmla="*/ 48973 w 434970"/>
                <a:gd name="connsiteY55" fmla="*/ 93781 h 95069"/>
                <a:gd name="connsiteX56" fmla="*/ 65085 w 434970"/>
                <a:gd name="connsiteY56" fmla="*/ 93781 h 95069"/>
                <a:gd name="connsiteX57" fmla="*/ 65085 w 434970"/>
                <a:gd name="connsiteY57" fmla="*/ 31301 h 95069"/>
                <a:gd name="connsiteX58" fmla="*/ 48973 w 434970"/>
                <a:gd name="connsiteY58" fmla="*/ 31301 h 95069"/>
                <a:gd name="connsiteX59" fmla="*/ 48973 w 434970"/>
                <a:gd name="connsiteY59" fmla="*/ 36328 h 95069"/>
                <a:gd name="connsiteX60" fmla="*/ 80547 w 434970"/>
                <a:gd name="connsiteY60" fmla="*/ 93781 h 95069"/>
                <a:gd name="connsiteX61" fmla="*/ 97306 w 434970"/>
                <a:gd name="connsiteY61" fmla="*/ 93781 h 95069"/>
                <a:gd name="connsiteX62" fmla="*/ 97306 w 434970"/>
                <a:gd name="connsiteY62" fmla="*/ 3617 h 95069"/>
                <a:gd name="connsiteX63" fmla="*/ 80547 w 434970"/>
                <a:gd name="connsiteY63" fmla="*/ 7996 h 95069"/>
                <a:gd name="connsiteX64" fmla="*/ 80547 w 434970"/>
                <a:gd name="connsiteY64" fmla="*/ 93781 h 95069"/>
                <a:gd name="connsiteX65" fmla="*/ 188934 w 434970"/>
                <a:gd name="connsiteY65" fmla="*/ 30012 h 95069"/>
                <a:gd name="connsiteX66" fmla="*/ 166767 w 434970"/>
                <a:gd name="connsiteY66" fmla="*/ 39810 h 95069"/>
                <a:gd name="connsiteX67" fmla="*/ 145760 w 434970"/>
                <a:gd name="connsiteY67" fmla="*/ 30012 h 95069"/>
                <a:gd name="connsiteX68" fmla="*/ 128874 w 434970"/>
                <a:gd name="connsiteY68" fmla="*/ 36328 h 95069"/>
                <a:gd name="connsiteX69" fmla="*/ 128874 w 434970"/>
                <a:gd name="connsiteY69" fmla="*/ 31307 h 95069"/>
                <a:gd name="connsiteX70" fmla="*/ 112756 w 434970"/>
                <a:gd name="connsiteY70" fmla="*/ 31307 h 95069"/>
                <a:gd name="connsiteX71" fmla="*/ 112756 w 434970"/>
                <a:gd name="connsiteY71" fmla="*/ 93787 h 95069"/>
                <a:gd name="connsiteX72" fmla="*/ 129515 w 434970"/>
                <a:gd name="connsiteY72" fmla="*/ 93787 h 95069"/>
                <a:gd name="connsiteX73" fmla="*/ 129515 w 434970"/>
                <a:gd name="connsiteY73" fmla="*/ 53201 h 95069"/>
                <a:gd name="connsiteX74" fmla="*/ 144079 w 434970"/>
                <a:gd name="connsiteY74" fmla="*/ 45473 h 95069"/>
                <a:gd name="connsiteX75" fmla="*/ 153486 w 434970"/>
                <a:gd name="connsiteY75" fmla="*/ 49340 h 95069"/>
                <a:gd name="connsiteX76" fmla="*/ 156578 w 434970"/>
                <a:gd name="connsiteY76" fmla="*/ 60030 h 95069"/>
                <a:gd name="connsiteX77" fmla="*/ 156578 w 434970"/>
                <a:gd name="connsiteY77" fmla="*/ 93781 h 95069"/>
                <a:gd name="connsiteX78" fmla="*/ 173331 w 434970"/>
                <a:gd name="connsiteY78" fmla="*/ 93781 h 95069"/>
                <a:gd name="connsiteX79" fmla="*/ 173331 w 434970"/>
                <a:gd name="connsiteY79" fmla="*/ 60678 h 95069"/>
                <a:gd name="connsiteX80" fmla="*/ 172817 w 434970"/>
                <a:gd name="connsiteY80" fmla="*/ 53714 h 95069"/>
                <a:gd name="connsiteX81" fmla="*/ 187901 w 434970"/>
                <a:gd name="connsiteY81" fmla="*/ 45467 h 95069"/>
                <a:gd name="connsiteX82" fmla="*/ 197307 w 434970"/>
                <a:gd name="connsiteY82" fmla="*/ 49334 h 95069"/>
                <a:gd name="connsiteX83" fmla="*/ 200406 w 434970"/>
                <a:gd name="connsiteY83" fmla="*/ 60024 h 95069"/>
                <a:gd name="connsiteX84" fmla="*/ 200406 w 434970"/>
                <a:gd name="connsiteY84" fmla="*/ 93774 h 95069"/>
                <a:gd name="connsiteX85" fmla="*/ 217152 w 434970"/>
                <a:gd name="connsiteY85" fmla="*/ 93774 h 95069"/>
                <a:gd name="connsiteX86" fmla="*/ 217152 w 434970"/>
                <a:gd name="connsiteY86" fmla="*/ 60671 h 95069"/>
                <a:gd name="connsiteX87" fmla="*/ 210845 w 434970"/>
                <a:gd name="connsiteY87" fmla="*/ 40055 h 95069"/>
                <a:gd name="connsiteX88" fmla="*/ 188934 w 434970"/>
                <a:gd name="connsiteY88" fmla="*/ 30012 h 95069"/>
                <a:gd name="connsiteX89" fmla="*/ 231344 w 434970"/>
                <a:gd name="connsiteY89" fmla="*/ 93781 h 95069"/>
                <a:gd name="connsiteX90" fmla="*/ 248096 w 434970"/>
                <a:gd name="connsiteY90" fmla="*/ 93781 h 95069"/>
                <a:gd name="connsiteX91" fmla="*/ 248096 w 434970"/>
                <a:gd name="connsiteY91" fmla="*/ 31301 h 95069"/>
                <a:gd name="connsiteX92" fmla="*/ 231344 w 434970"/>
                <a:gd name="connsiteY92" fmla="*/ 31301 h 95069"/>
                <a:gd name="connsiteX93" fmla="*/ 231344 w 434970"/>
                <a:gd name="connsiteY93" fmla="*/ 93781 h 950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</a:cxnLst>
              <a:rect l="l" t="t" r="r" b="b"/>
              <a:pathLst>
                <a:path w="434970" h="95069">
                  <a:moveTo>
                    <a:pt x="418218" y="7990"/>
                  </a:moveTo>
                  <a:lnTo>
                    <a:pt x="418218" y="93781"/>
                  </a:lnTo>
                  <a:lnTo>
                    <a:pt x="434970" y="93781"/>
                  </a:lnTo>
                  <a:lnTo>
                    <a:pt x="434970" y="3617"/>
                  </a:lnTo>
                  <a:lnTo>
                    <a:pt x="418218" y="7990"/>
                  </a:lnTo>
                  <a:close/>
                  <a:moveTo>
                    <a:pt x="279670" y="37617"/>
                  </a:moveTo>
                  <a:lnTo>
                    <a:pt x="279670" y="31307"/>
                  </a:lnTo>
                  <a:lnTo>
                    <a:pt x="263565" y="31307"/>
                  </a:lnTo>
                  <a:lnTo>
                    <a:pt x="263565" y="93787"/>
                  </a:lnTo>
                  <a:lnTo>
                    <a:pt x="280306" y="93787"/>
                  </a:lnTo>
                  <a:lnTo>
                    <a:pt x="280306" y="54490"/>
                  </a:lnTo>
                  <a:cubicBezTo>
                    <a:pt x="282365" y="50763"/>
                    <a:pt x="288172" y="45473"/>
                    <a:pt x="295518" y="45473"/>
                  </a:cubicBezTo>
                  <a:cubicBezTo>
                    <a:pt x="297962" y="45473"/>
                    <a:pt x="300413" y="45736"/>
                    <a:pt x="301575" y="46121"/>
                  </a:cubicBezTo>
                  <a:lnTo>
                    <a:pt x="303512" y="30525"/>
                  </a:lnTo>
                  <a:cubicBezTo>
                    <a:pt x="301697" y="30269"/>
                    <a:pt x="300285" y="30012"/>
                    <a:pt x="297834" y="30012"/>
                  </a:cubicBezTo>
                  <a:cubicBezTo>
                    <a:pt x="290237" y="30018"/>
                    <a:pt x="283404" y="32981"/>
                    <a:pt x="279670" y="37617"/>
                  </a:cubicBezTo>
                  <a:moveTo>
                    <a:pt x="353776" y="71881"/>
                  </a:moveTo>
                  <a:cubicBezTo>
                    <a:pt x="350555" y="76517"/>
                    <a:pt x="345005" y="79608"/>
                    <a:pt x="338698" y="79608"/>
                  </a:cubicBezTo>
                  <a:cubicBezTo>
                    <a:pt x="329285" y="79608"/>
                    <a:pt x="322196" y="72394"/>
                    <a:pt x="322196" y="62608"/>
                  </a:cubicBezTo>
                  <a:cubicBezTo>
                    <a:pt x="322196" y="53591"/>
                    <a:pt x="328515" y="45473"/>
                    <a:pt x="338313" y="45473"/>
                  </a:cubicBezTo>
                  <a:cubicBezTo>
                    <a:pt x="344754" y="45473"/>
                    <a:pt x="350297" y="48564"/>
                    <a:pt x="353776" y="53201"/>
                  </a:cubicBezTo>
                  <a:lnTo>
                    <a:pt x="353776" y="71881"/>
                  </a:lnTo>
                  <a:close/>
                  <a:moveTo>
                    <a:pt x="354423" y="36328"/>
                  </a:moveTo>
                  <a:cubicBezTo>
                    <a:pt x="349522" y="32333"/>
                    <a:pt x="343208" y="30018"/>
                    <a:pt x="336124" y="30018"/>
                  </a:cubicBezTo>
                  <a:cubicBezTo>
                    <a:pt x="319110" y="30018"/>
                    <a:pt x="305443" y="44184"/>
                    <a:pt x="305443" y="62608"/>
                  </a:cubicBezTo>
                  <a:cubicBezTo>
                    <a:pt x="305443" y="71117"/>
                    <a:pt x="308536" y="78839"/>
                    <a:pt x="313444" y="84508"/>
                  </a:cubicBezTo>
                  <a:cubicBezTo>
                    <a:pt x="318974" y="90952"/>
                    <a:pt x="327751" y="95070"/>
                    <a:pt x="337023" y="95070"/>
                  </a:cubicBezTo>
                  <a:cubicBezTo>
                    <a:pt x="343337" y="95070"/>
                    <a:pt x="349265" y="93139"/>
                    <a:pt x="354423" y="88759"/>
                  </a:cubicBezTo>
                  <a:lnTo>
                    <a:pt x="354423" y="93781"/>
                  </a:lnTo>
                  <a:lnTo>
                    <a:pt x="370534" y="93781"/>
                  </a:lnTo>
                  <a:lnTo>
                    <a:pt x="370534" y="31301"/>
                  </a:lnTo>
                  <a:lnTo>
                    <a:pt x="354423" y="31301"/>
                  </a:lnTo>
                  <a:lnTo>
                    <a:pt x="354423" y="36328"/>
                  </a:lnTo>
                  <a:close/>
                  <a:moveTo>
                    <a:pt x="385997" y="93781"/>
                  </a:moveTo>
                  <a:lnTo>
                    <a:pt x="402749" y="93781"/>
                  </a:lnTo>
                  <a:lnTo>
                    <a:pt x="402749" y="3617"/>
                  </a:lnTo>
                  <a:lnTo>
                    <a:pt x="385997" y="7996"/>
                  </a:lnTo>
                  <a:lnTo>
                    <a:pt x="385997" y="93781"/>
                  </a:lnTo>
                  <a:close/>
                  <a:moveTo>
                    <a:pt x="239717" y="0"/>
                  </a:moveTo>
                  <a:cubicBezTo>
                    <a:pt x="233660" y="0"/>
                    <a:pt x="228765" y="4643"/>
                    <a:pt x="228765" y="10690"/>
                  </a:cubicBezTo>
                  <a:cubicBezTo>
                    <a:pt x="228765" y="16750"/>
                    <a:pt x="233660" y="21387"/>
                    <a:pt x="239717" y="21387"/>
                  </a:cubicBezTo>
                  <a:cubicBezTo>
                    <a:pt x="245774" y="21387"/>
                    <a:pt x="250676" y="16750"/>
                    <a:pt x="250676" y="10690"/>
                  </a:cubicBezTo>
                  <a:cubicBezTo>
                    <a:pt x="250676" y="4643"/>
                    <a:pt x="245774" y="0"/>
                    <a:pt x="239717" y="0"/>
                  </a:cubicBezTo>
                  <a:moveTo>
                    <a:pt x="48332" y="71881"/>
                  </a:moveTo>
                  <a:cubicBezTo>
                    <a:pt x="45117" y="76517"/>
                    <a:pt x="39568" y="79608"/>
                    <a:pt x="33248" y="79608"/>
                  </a:cubicBezTo>
                  <a:cubicBezTo>
                    <a:pt x="23842" y="79608"/>
                    <a:pt x="16752" y="72394"/>
                    <a:pt x="16752" y="62608"/>
                  </a:cubicBezTo>
                  <a:cubicBezTo>
                    <a:pt x="16752" y="53591"/>
                    <a:pt x="23072" y="45473"/>
                    <a:pt x="32870" y="45473"/>
                  </a:cubicBezTo>
                  <a:cubicBezTo>
                    <a:pt x="39317" y="45473"/>
                    <a:pt x="44860" y="48564"/>
                    <a:pt x="48332" y="53201"/>
                  </a:cubicBezTo>
                  <a:lnTo>
                    <a:pt x="48332" y="71881"/>
                  </a:lnTo>
                  <a:close/>
                  <a:moveTo>
                    <a:pt x="48973" y="36328"/>
                  </a:moveTo>
                  <a:cubicBezTo>
                    <a:pt x="44079" y="32333"/>
                    <a:pt x="37759" y="30018"/>
                    <a:pt x="30675" y="30018"/>
                  </a:cubicBezTo>
                  <a:cubicBezTo>
                    <a:pt x="13660" y="30018"/>
                    <a:pt x="0" y="44184"/>
                    <a:pt x="0" y="62608"/>
                  </a:cubicBezTo>
                  <a:cubicBezTo>
                    <a:pt x="0" y="71117"/>
                    <a:pt x="3092" y="78839"/>
                    <a:pt x="7988" y="84508"/>
                  </a:cubicBezTo>
                  <a:cubicBezTo>
                    <a:pt x="13531" y="90952"/>
                    <a:pt x="22296" y="95070"/>
                    <a:pt x="31574" y="95070"/>
                  </a:cubicBezTo>
                  <a:cubicBezTo>
                    <a:pt x="37887" y="95070"/>
                    <a:pt x="43822" y="93139"/>
                    <a:pt x="48973" y="88759"/>
                  </a:cubicBezTo>
                  <a:lnTo>
                    <a:pt x="48973" y="93781"/>
                  </a:lnTo>
                  <a:lnTo>
                    <a:pt x="65085" y="93781"/>
                  </a:lnTo>
                  <a:lnTo>
                    <a:pt x="65085" y="31301"/>
                  </a:lnTo>
                  <a:lnTo>
                    <a:pt x="48973" y="31301"/>
                  </a:lnTo>
                  <a:lnTo>
                    <a:pt x="48973" y="36328"/>
                  </a:lnTo>
                  <a:close/>
                  <a:moveTo>
                    <a:pt x="80547" y="93781"/>
                  </a:moveTo>
                  <a:lnTo>
                    <a:pt x="97306" y="93781"/>
                  </a:lnTo>
                  <a:lnTo>
                    <a:pt x="97306" y="3617"/>
                  </a:lnTo>
                  <a:lnTo>
                    <a:pt x="80547" y="7996"/>
                  </a:lnTo>
                  <a:lnTo>
                    <a:pt x="80547" y="93781"/>
                  </a:lnTo>
                  <a:close/>
                  <a:moveTo>
                    <a:pt x="188934" y="30012"/>
                  </a:moveTo>
                  <a:cubicBezTo>
                    <a:pt x="179650" y="30012"/>
                    <a:pt x="171791" y="34526"/>
                    <a:pt x="166767" y="39810"/>
                  </a:cubicBezTo>
                  <a:cubicBezTo>
                    <a:pt x="161865" y="33879"/>
                    <a:pt x="154262" y="30012"/>
                    <a:pt x="145760" y="30012"/>
                  </a:cubicBezTo>
                  <a:cubicBezTo>
                    <a:pt x="139704" y="30012"/>
                    <a:pt x="133775" y="31949"/>
                    <a:pt x="128874" y="36328"/>
                  </a:cubicBezTo>
                  <a:lnTo>
                    <a:pt x="128874" y="31307"/>
                  </a:lnTo>
                  <a:lnTo>
                    <a:pt x="112756" y="31307"/>
                  </a:lnTo>
                  <a:lnTo>
                    <a:pt x="112756" y="93787"/>
                  </a:lnTo>
                  <a:lnTo>
                    <a:pt x="129515" y="93787"/>
                  </a:lnTo>
                  <a:lnTo>
                    <a:pt x="129515" y="53201"/>
                  </a:lnTo>
                  <a:cubicBezTo>
                    <a:pt x="131831" y="50250"/>
                    <a:pt x="136996" y="45473"/>
                    <a:pt x="144079" y="45473"/>
                  </a:cubicBezTo>
                  <a:cubicBezTo>
                    <a:pt x="147294" y="45473"/>
                    <a:pt x="150907" y="46506"/>
                    <a:pt x="153486" y="49340"/>
                  </a:cubicBezTo>
                  <a:cubicBezTo>
                    <a:pt x="155417" y="51527"/>
                    <a:pt x="156578" y="54361"/>
                    <a:pt x="156578" y="60030"/>
                  </a:cubicBezTo>
                  <a:lnTo>
                    <a:pt x="156578" y="93781"/>
                  </a:lnTo>
                  <a:lnTo>
                    <a:pt x="173331" y="93781"/>
                  </a:lnTo>
                  <a:lnTo>
                    <a:pt x="173331" y="60678"/>
                  </a:lnTo>
                  <a:cubicBezTo>
                    <a:pt x="173331" y="58100"/>
                    <a:pt x="173074" y="55772"/>
                    <a:pt x="172817" y="53714"/>
                  </a:cubicBezTo>
                  <a:cubicBezTo>
                    <a:pt x="175011" y="50501"/>
                    <a:pt x="180677" y="45467"/>
                    <a:pt x="187901" y="45467"/>
                  </a:cubicBezTo>
                  <a:cubicBezTo>
                    <a:pt x="191116" y="45467"/>
                    <a:pt x="194728" y="46499"/>
                    <a:pt x="197307" y="49334"/>
                  </a:cubicBezTo>
                  <a:cubicBezTo>
                    <a:pt x="199239" y="51521"/>
                    <a:pt x="200406" y="54355"/>
                    <a:pt x="200406" y="60024"/>
                  </a:cubicBezTo>
                  <a:lnTo>
                    <a:pt x="200406" y="93774"/>
                  </a:lnTo>
                  <a:lnTo>
                    <a:pt x="217152" y="93774"/>
                  </a:lnTo>
                  <a:lnTo>
                    <a:pt x="217152" y="60671"/>
                  </a:lnTo>
                  <a:cubicBezTo>
                    <a:pt x="217152" y="51392"/>
                    <a:pt x="214830" y="44954"/>
                    <a:pt x="210845" y="40055"/>
                  </a:cubicBezTo>
                  <a:cubicBezTo>
                    <a:pt x="205821" y="33879"/>
                    <a:pt x="197582" y="30012"/>
                    <a:pt x="188934" y="30012"/>
                  </a:cubicBezTo>
                  <a:moveTo>
                    <a:pt x="231344" y="93781"/>
                  </a:moveTo>
                  <a:lnTo>
                    <a:pt x="248096" y="93781"/>
                  </a:lnTo>
                  <a:lnTo>
                    <a:pt x="248096" y="31301"/>
                  </a:lnTo>
                  <a:lnTo>
                    <a:pt x="231344" y="31301"/>
                  </a:lnTo>
                  <a:lnTo>
                    <a:pt x="231344" y="93781"/>
                  </a:lnTo>
                  <a:close/>
                </a:path>
              </a:pathLst>
            </a:custGeom>
            <a:solidFill>
              <a:schemeClr val="accent1"/>
            </a:solidFill>
            <a:ln w="61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 sz="2400">
                <a:solidFill>
                  <a:schemeClr val="accent1"/>
                </a:solidFill>
              </a:endParaRPr>
            </a:p>
          </p:txBody>
        </p:sp>
      </p:grpSp>
      <p:sp>
        <p:nvSpPr>
          <p:cNvPr id="4" name="CuadroTexto 3">
            <a:extLst>
              <a:ext uri="{FF2B5EF4-FFF2-40B4-BE49-F238E27FC236}">
                <a16:creationId xmlns:a16="http://schemas.microsoft.com/office/drawing/2014/main" id="{A1A55D0E-FB0E-C603-FC88-2ADE93E44708}"/>
              </a:ext>
            </a:extLst>
          </p:cNvPr>
          <p:cNvSpPr txBox="1"/>
          <p:nvPr>
            <p:extLst>
              <p:ext uri="{1162E1C5-73C7-4A58-AE30-91384D911F3F}">
                <p184:classification xmlns:p184="http://schemas.microsoft.com/office/powerpoint/2018/4/main" val="hdr"/>
              </p:ext>
            </p:extLst>
          </p:nvPr>
        </p:nvSpPr>
        <p:spPr>
          <a:xfrm>
            <a:off x="11320463" y="63500"/>
            <a:ext cx="833437" cy="15240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s-ES" sz="1000">
                <a:solidFill>
                  <a:srgbClr val="000000">
                    <a:alpha val="50000"/>
                  </a:srgbClr>
                </a:solidFill>
                <a:latin typeface="Aptos" panose="020B0004020202020204" pitchFamily="34" charset="0"/>
              </a:rPr>
              <a:t>INTERNAL USE</a:t>
            </a:r>
          </a:p>
        </p:txBody>
      </p:sp>
      <p:sp>
        <p:nvSpPr>
          <p:cNvPr id="3" name="Rectángulo 2">
            <a:extLst>
              <a:ext uri="{FF2B5EF4-FFF2-40B4-BE49-F238E27FC236}">
                <a16:creationId xmlns:a16="http://schemas.microsoft.com/office/drawing/2014/main" id="{D7E4D5F3-41F7-7436-2535-8933FCDBFA8A}"/>
              </a:ext>
            </a:extLst>
          </p:cNvPr>
          <p:cNvSpPr/>
          <p:nvPr userDrawn="1"/>
        </p:nvSpPr>
        <p:spPr>
          <a:xfrm>
            <a:off x="10875704" y="0"/>
            <a:ext cx="1316296" cy="32374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</p:spTree>
    <p:extLst>
      <p:ext uri="{BB962C8B-B14F-4D97-AF65-F5344CB8AC3E}">
        <p14:creationId xmlns:p14="http://schemas.microsoft.com/office/powerpoint/2010/main" val="251801063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1" r:id="rId1"/>
    <p:sldLayoutId id="2147483672" r:id="rId2"/>
    <p:sldLayoutId id="2147483673" r:id="rId3"/>
    <p:sldLayoutId id="2147483674" r:id="rId4"/>
    <p:sldLayoutId id="2147483675" r:id="rId5"/>
    <p:sldLayoutId id="2147483676" r:id="rId6"/>
    <p:sldLayoutId id="2147483677" r:id="rId7"/>
    <p:sldLayoutId id="2147483678" r:id="rId8"/>
    <p:sldLayoutId id="2147483679" r:id="rId9"/>
    <p:sldLayoutId id="2147483680" r:id="rId10"/>
    <p:sldLayoutId id="2147483681" r:id="rId11"/>
    <p:sldLayoutId id="2147483682" r:id="rId12"/>
    <p:sldLayoutId id="2147483683" r:id="rId13"/>
    <p:sldLayoutId id="2147483684" r:id="rId14"/>
    <p:sldLayoutId id="2147483685" r:id="rId15"/>
  </p:sldLayoutIdLst>
  <p:hf hdr="0"/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94" indent="-228594" algn="l" defTabSz="914377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8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71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60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349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pos="2880">
          <p15:clr>
            <a:srgbClr val="F26B43"/>
          </p15:clr>
        </p15:guide>
        <p15:guide id="3" pos="198">
          <p15:clr>
            <a:srgbClr val="F26B43"/>
          </p15:clr>
        </p15:guide>
        <p15:guide id="4" orient="horz" pos="205">
          <p15:clr>
            <a:srgbClr val="F26B43"/>
          </p15:clr>
        </p15:guide>
        <p15:guide id="5" pos="5581">
          <p15:clr>
            <a:srgbClr val="F26B43"/>
          </p15:clr>
        </p15:guide>
        <p15:guide id="7" orient="horz" pos="797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10.png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21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25.png"/><Relationship Id="rId5" Type="http://schemas.openxmlformats.org/officeDocument/2006/relationships/image" Target="../media/image24.png"/><Relationship Id="rId4" Type="http://schemas.openxmlformats.org/officeDocument/2006/relationships/image" Target="../media/image23.png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3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29.jpeg"/><Relationship Id="rId1" Type="http://schemas.openxmlformats.org/officeDocument/2006/relationships/slideLayout" Target="../slideLayouts/slideLayout3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6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39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3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3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44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image" Target="../media/image46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5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image" Target="../media/image48.png"/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2" Type="http://schemas.openxmlformats.org/officeDocument/2006/relationships/image" Target="../media/image50.png"/><Relationship Id="rId1" Type="http://schemas.openxmlformats.org/officeDocument/2006/relationships/slideLayout" Target="../slideLayouts/slideLayout3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2.png"/><Relationship Id="rId1" Type="http://schemas.openxmlformats.org/officeDocument/2006/relationships/slideLayout" Target="../slideLayouts/slideLayout3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3.png"/><Relationship Id="rId1" Type="http://schemas.openxmlformats.org/officeDocument/2006/relationships/slideLayout" Target="../slideLayouts/slideLayout3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png"/><Relationship Id="rId2" Type="http://schemas.openxmlformats.org/officeDocument/2006/relationships/image" Target="../media/image54.png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56.pn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png"/><Relationship Id="rId2" Type="http://schemas.openxmlformats.org/officeDocument/2006/relationships/image" Target="../media/image55.png"/><Relationship Id="rId1" Type="http://schemas.openxmlformats.org/officeDocument/2006/relationships/slideLayout" Target="../slideLayouts/slideLayout10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10.png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1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Relationship Id="rId4" Type="http://schemas.openxmlformats.org/officeDocument/2006/relationships/hyperlink" Target="https://www.drugs.com/health-guide/peripheral-arterial-disease.html" TargetMode="Externa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8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5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18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64385" name="Object 115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5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864385" name="Object 115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5589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2"/>
            </p:custDataLst>
          </p:nvPr>
        </p:nvSpPr>
        <p:spPr>
          <a:xfrm>
            <a:off x="1524001" y="1"/>
            <a:ext cx="158751" cy="15875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anchor="ctr" anchorCtr="0">
            <a:noAutofit/>
          </a:bodyPr>
          <a:lstStyle/>
          <a:p>
            <a:pPr marL="0" marR="0" lvl="0" indent="0" algn="ctr" defTabSz="914377" rtl="0" eaLnBrk="1" fontAlgn="base" latinLnBrk="0" hangingPunct="1">
              <a:lnSpc>
                <a:spcPts val="3551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56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grpSp>
        <p:nvGrpSpPr>
          <p:cNvPr id="2" name="Grupo 1">
            <a:extLst>
              <a:ext uri="{FF2B5EF4-FFF2-40B4-BE49-F238E27FC236}">
                <a16:creationId xmlns:a16="http://schemas.microsoft.com/office/drawing/2014/main" id="{F1D89778-814F-6748-39FE-0B46F6AC63EF}"/>
              </a:ext>
            </a:extLst>
          </p:cNvPr>
          <p:cNvGrpSpPr/>
          <p:nvPr/>
        </p:nvGrpSpPr>
        <p:grpSpPr>
          <a:xfrm>
            <a:off x="-8330" y="0"/>
            <a:ext cx="12192000" cy="6858000"/>
            <a:chOff x="3329" y="0"/>
            <a:chExt cx="9144000" cy="5143500"/>
          </a:xfrm>
        </p:grpSpPr>
        <p:pic>
          <p:nvPicPr>
            <p:cNvPr id="7" name="Imagen 6" descr="Imagen que contiene persona, hombre, azul, sostener&#10;&#10;Descripción generada automáticamente">
              <a:extLst>
                <a:ext uri="{FF2B5EF4-FFF2-40B4-BE49-F238E27FC236}">
                  <a16:creationId xmlns:a16="http://schemas.microsoft.com/office/drawing/2014/main" id="{DF3B798E-59EB-6440-80A2-29FAB5E48A46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3329" y="0"/>
              <a:ext cx="9144000" cy="5143500"/>
            </a:xfrm>
            <a:prstGeom prst="rect">
              <a:avLst/>
            </a:prstGeom>
          </p:spPr>
        </p:pic>
        <p:grpSp>
          <p:nvGrpSpPr>
            <p:cNvPr id="5" name="Grupo 4">
              <a:extLst>
                <a:ext uri="{FF2B5EF4-FFF2-40B4-BE49-F238E27FC236}">
                  <a16:creationId xmlns:a16="http://schemas.microsoft.com/office/drawing/2014/main" id="{DC3F117F-13C1-1D46-A3AE-DF7EDB740843}"/>
                </a:ext>
              </a:extLst>
            </p:cNvPr>
            <p:cNvGrpSpPr/>
            <p:nvPr/>
          </p:nvGrpSpPr>
          <p:grpSpPr>
            <a:xfrm>
              <a:off x="483338" y="574159"/>
              <a:ext cx="1334830" cy="413518"/>
              <a:chOff x="7785861" y="4639396"/>
              <a:chExt cx="1111660" cy="344382"/>
            </a:xfrm>
          </p:grpSpPr>
          <p:sp>
            <p:nvSpPr>
              <p:cNvPr id="11" name="Forma libre 10">
                <a:extLst>
                  <a:ext uri="{FF2B5EF4-FFF2-40B4-BE49-F238E27FC236}">
                    <a16:creationId xmlns:a16="http://schemas.microsoft.com/office/drawing/2014/main" id="{B3B8A3B0-748C-6945-8023-DD6FEFF09BFB}"/>
                  </a:ext>
                </a:extLst>
              </p:cNvPr>
              <p:cNvSpPr/>
              <p:nvPr/>
            </p:nvSpPr>
            <p:spPr>
              <a:xfrm>
                <a:off x="7785861" y="4639396"/>
                <a:ext cx="256158" cy="344382"/>
              </a:xfrm>
              <a:custGeom>
                <a:avLst/>
                <a:gdLst>
                  <a:gd name="connsiteX0" fmla="*/ 107295 w 139455"/>
                  <a:gd name="connsiteY0" fmla="*/ 11790 h 187485"/>
                  <a:gd name="connsiteX1" fmla="*/ 107295 w 139455"/>
                  <a:gd name="connsiteY1" fmla="*/ 0 h 187485"/>
                  <a:gd name="connsiteX2" fmla="*/ 46294 w 139455"/>
                  <a:gd name="connsiteY2" fmla="*/ 32046 h 187485"/>
                  <a:gd name="connsiteX3" fmla="*/ 39296 w 139455"/>
                  <a:gd name="connsiteY3" fmla="*/ 43610 h 187485"/>
                  <a:gd name="connsiteX4" fmla="*/ 39296 w 139455"/>
                  <a:gd name="connsiteY4" fmla="*/ 55400 h 187485"/>
                  <a:gd name="connsiteX5" fmla="*/ 100310 w 139455"/>
                  <a:gd name="connsiteY5" fmla="*/ 23353 h 187485"/>
                  <a:gd name="connsiteX6" fmla="*/ 107295 w 139455"/>
                  <a:gd name="connsiteY6" fmla="*/ 11790 h 187485"/>
                  <a:gd name="connsiteX7" fmla="*/ 107466 w 139455"/>
                  <a:gd name="connsiteY7" fmla="*/ 39279 h 187485"/>
                  <a:gd name="connsiteX8" fmla="*/ 46459 w 139455"/>
                  <a:gd name="connsiteY8" fmla="*/ 71325 h 187485"/>
                  <a:gd name="connsiteX9" fmla="*/ 39466 w 139455"/>
                  <a:gd name="connsiteY9" fmla="*/ 82889 h 187485"/>
                  <a:gd name="connsiteX10" fmla="*/ 39466 w 139455"/>
                  <a:gd name="connsiteY10" fmla="*/ 94678 h 187485"/>
                  <a:gd name="connsiteX11" fmla="*/ 100475 w 139455"/>
                  <a:gd name="connsiteY11" fmla="*/ 62638 h 187485"/>
                  <a:gd name="connsiteX12" fmla="*/ 107466 w 139455"/>
                  <a:gd name="connsiteY12" fmla="*/ 51069 h 187485"/>
                  <a:gd name="connsiteX13" fmla="*/ 107466 w 139455"/>
                  <a:gd name="connsiteY13" fmla="*/ 39279 h 187485"/>
                  <a:gd name="connsiteX14" fmla="*/ 39466 w 139455"/>
                  <a:gd name="connsiteY14" fmla="*/ 122167 h 187485"/>
                  <a:gd name="connsiteX15" fmla="*/ 39466 w 139455"/>
                  <a:gd name="connsiteY15" fmla="*/ 133951 h 187485"/>
                  <a:gd name="connsiteX16" fmla="*/ 100475 w 139455"/>
                  <a:gd name="connsiteY16" fmla="*/ 101905 h 187485"/>
                  <a:gd name="connsiteX17" fmla="*/ 107466 w 139455"/>
                  <a:gd name="connsiteY17" fmla="*/ 90347 h 187485"/>
                  <a:gd name="connsiteX18" fmla="*/ 107466 w 139455"/>
                  <a:gd name="connsiteY18" fmla="*/ 78558 h 187485"/>
                  <a:gd name="connsiteX19" fmla="*/ 46459 w 139455"/>
                  <a:gd name="connsiteY19" fmla="*/ 110598 h 187485"/>
                  <a:gd name="connsiteX20" fmla="*/ 39466 w 139455"/>
                  <a:gd name="connsiteY20" fmla="*/ 122167 h 187485"/>
                  <a:gd name="connsiteX21" fmla="*/ 135911 w 139455"/>
                  <a:gd name="connsiteY21" fmla="*/ 95809 h 187485"/>
                  <a:gd name="connsiteX22" fmla="*/ 133008 w 139455"/>
                  <a:gd name="connsiteY22" fmla="*/ 94672 h 187485"/>
                  <a:gd name="connsiteX23" fmla="*/ 121920 w 139455"/>
                  <a:gd name="connsiteY23" fmla="*/ 100488 h 187485"/>
                  <a:gd name="connsiteX24" fmla="*/ 120729 w 139455"/>
                  <a:gd name="connsiteY24" fmla="*/ 103347 h 187485"/>
                  <a:gd name="connsiteX25" fmla="*/ 122428 w 139455"/>
                  <a:gd name="connsiteY25" fmla="*/ 123475 h 187485"/>
                  <a:gd name="connsiteX26" fmla="*/ 73087 w 139455"/>
                  <a:gd name="connsiteY26" fmla="*/ 170658 h 187485"/>
                  <a:gd name="connsiteX27" fmla="*/ 16725 w 139455"/>
                  <a:gd name="connsiteY27" fmla="*/ 117788 h 187485"/>
                  <a:gd name="connsiteX28" fmla="*/ 24499 w 139455"/>
                  <a:gd name="connsiteY28" fmla="*/ 90170 h 187485"/>
                  <a:gd name="connsiteX29" fmla="*/ 24602 w 139455"/>
                  <a:gd name="connsiteY29" fmla="*/ 87171 h 187485"/>
                  <a:gd name="connsiteX30" fmla="*/ 18094 w 139455"/>
                  <a:gd name="connsiteY30" fmla="*/ 75345 h 187485"/>
                  <a:gd name="connsiteX31" fmla="*/ 14640 w 139455"/>
                  <a:gd name="connsiteY31" fmla="*/ 75088 h 187485"/>
                  <a:gd name="connsiteX32" fmla="*/ 94 w 139455"/>
                  <a:gd name="connsiteY32" fmla="*/ 121483 h 187485"/>
                  <a:gd name="connsiteX33" fmla="*/ 66994 w 139455"/>
                  <a:gd name="connsiteY33" fmla="*/ 187433 h 187485"/>
                  <a:gd name="connsiteX34" fmla="*/ 139455 w 139455"/>
                  <a:gd name="connsiteY34" fmla="*/ 117794 h 187485"/>
                  <a:gd name="connsiteX35" fmla="*/ 135911 w 139455"/>
                  <a:gd name="connsiteY35" fmla="*/ 95809 h 1874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</a:cxnLst>
                <a:rect l="l" t="t" r="r" b="b"/>
                <a:pathLst>
                  <a:path w="139455" h="187485">
                    <a:moveTo>
                      <a:pt x="107295" y="11790"/>
                    </a:moveTo>
                    <a:lnTo>
                      <a:pt x="107295" y="0"/>
                    </a:lnTo>
                    <a:lnTo>
                      <a:pt x="46294" y="32046"/>
                    </a:lnTo>
                    <a:cubicBezTo>
                      <a:pt x="41997" y="34300"/>
                      <a:pt x="39296" y="38760"/>
                      <a:pt x="39296" y="43610"/>
                    </a:cubicBezTo>
                    <a:lnTo>
                      <a:pt x="39296" y="55400"/>
                    </a:lnTo>
                    <a:lnTo>
                      <a:pt x="100310" y="23353"/>
                    </a:lnTo>
                    <a:cubicBezTo>
                      <a:pt x="104612" y="21093"/>
                      <a:pt x="107295" y="16640"/>
                      <a:pt x="107295" y="11790"/>
                    </a:cubicBezTo>
                    <a:moveTo>
                      <a:pt x="107466" y="39279"/>
                    </a:moveTo>
                    <a:lnTo>
                      <a:pt x="46459" y="71325"/>
                    </a:lnTo>
                    <a:cubicBezTo>
                      <a:pt x="42168" y="73585"/>
                      <a:pt x="39466" y="78038"/>
                      <a:pt x="39466" y="82889"/>
                    </a:cubicBezTo>
                    <a:lnTo>
                      <a:pt x="39466" y="94678"/>
                    </a:lnTo>
                    <a:lnTo>
                      <a:pt x="100475" y="62638"/>
                    </a:lnTo>
                    <a:cubicBezTo>
                      <a:pt x="104771" y="60378"/>
                      <a:pt x="107466" y="55919"/>
                      <a:pt x="107466" y="51069"/>
                    </a:cubicBezTo>
                    <a:lnTo>
                      <a:pt x="107466" y="39279"/>
                    </a:lnTo>
                    <a:close/>
                    <a:moveTo>
                      <a:pt x="39466" y="122167"/>
                    </a:moveTo>
                    <a:lnTo>
                      <a:pt x="39466" y="133951"/>
                    </a:lnTo>
                    <a:lnTo>
                      <a:pt x="100475" y="101905"/>
                    </a:lnTo>
                    <a:cubicBezTo>
                      <a:pt x="104771" y="99651"/>
                      <a:pt x="107466" y="95198"/>
                      <a:pt x="107466" y="90347"/>
                    </a:cubicBezTo>
                    <a:lnTo>
                      <a:pt x="107466" y="78558"/>
                    </a:lnTo>
                    <a:lnTo>
                      <a:pt x="46459" y="110598"/>
                    </a:lnTo>
                    <a:cubicBezTo>
                      <a:pt x="42162" y="112864"/>
                      <a:pt x="39466" y="117317"/>
                      <a:pt x="39466" y="122167"/>
                    </a:cubicBezTo>
                    <a:moveTo>
                      <a:pt x="135911" y="95809"/>
                    </a:moveTo>
                    <a:cubicBezTo>
                      <a:pt x="135520" y="94617"/>
                      <a:pt x="134126" y="94086"/>
                      <a:pt x="133008" y="94672"/>
                    </a:cubicBezTo>
                    <a:lnTo>
                      <a:pt x="121920" y="100488"/>
                    </a:lnTo>
                    <a:cubicBezTo>
                      <a:pt x="120888" y="101038"/>
                      <a:pt x="120411" y="102223"/>
                      <a:pt x="120729" y="103347"/>
                    </a:cubicBezTo>
                    <a:cubicBezTo>
                      <a:pt x="122514" y="109651"/>
                      <a:pt x="123174" y="116438"/>
                      <a:pt x="122428" y="123475"/>
                    </a:cubicBezTo>
                    <a:cubicBezTo>
                      <a:pt x="119739" y="148942"/>
                      <a:pt x="98653" y="169082"/>
                      <a:pt x="73087" y="170658"/>
                    </a:cubicBezTo>
                    <a:cubicBezTo>
                      <a:pt x="42290" y="172564"/>
                      <a:pt x="16725" y="148154"/>
                      <a:pt x="16725" y="117788"/>
                    </a:cubicBezTo>
                    <a:cubicBezTo>
                      <a:pt x="16725" y="107665"/>
                      <a:pt x="19572" y="98203"/>
                      <a:pt x="24499" y="90170"/>
                    </a:cubicBezTo>
                    <a:cubicBezTo>
                      <a:pt x="25061" y="89248"/>
                      <a:pt x="25116" y="88112"/>
                      <a:pt x="24602" y="87171"/>
                    </a:cubicBezTo>
                    <a:lnTo>
                      <a:pt x="18094" y="75345"/>
                    </a:lnTo>
                    <a:cubicBezTo>
                      <a:pt x="17372" y="74037"/>
                      <a:pt x="15557" y="73915"/>
                      <a:pt x="14640" y="75088"/>
                    </a:cubicBezTo>
                    <a:cubicBezTo>
                      <a:pt x="4782" y="87782"/>
                      <a:pt x="-804" y="103964"/>
                      <a:pt x="94" y="121483"/>
                    </a:cubicBezTo>
                    <a:cubicBezTo>
                      <a:pt x="1953" y="157213"/>
                      <a:pt x="31228" y="186064"/>
                      <a:pt x="66994" y="187433"/>
                    </a:cubicBezTo>
                    <a:cubicBezTo>
                      <a:pt x="106751" y="188953"/>
                      <a:pt x="139455" y="157189"/>
                      <a:pt x="139455" y="117794"/>
                    </a:cubicBezTo>
                    <a:cubicBezTo>
                      <a:pt x="139455" y="110103"/>
                      <a:pt x="138209" y="102711"/>
                      <a:pt x="135911" y="95809"/>
                    </a:cubicBezTo>
                  </a:path>
                </a:pathLst>
              </a:custGeom>
              <a:solidFill>
                <a:schemeClr val="accent2"/>
              </a:solidFill>
              <a:ln w="611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_tradnl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6F6F6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2" name="Forma libre 11">
                <a:extLst>
                  <a:ext uri="{FF2B5EF4-FFF2-40B4-BE49-F238E27FC236}">
                    <a16:creationId xmlns:a16="http://schemas.microsoft.com/office/drawing/2014/main" id="{AC3471E4-D1D9-AC49-A5BE-D738E8B0ADBB}"/>
                  </a:ext>
                </a:extLst>
              </p:cNvPr>
              <p:cNvSpPr/>
              <p:nvPr/>
            </p:nvSpPr>
            <p:spPr>
              <a:xfrm>
                <a:off x="8098546" y="4754028"/>
                <a:ext cx="798975" cy="174628"/>
              </a:xfrm>
              <a:custGeom>
                <a:avLst/>
                <a:gdLst>
                  <a:gd name="connsiteX0" fmla="*/ 418218 w 434970"/>
                  <a:gd name="connsiteY0" fmla="*/ 7990 h 95069"/>
                  <a:gd name="connsiteX1" fmla="*/ 418218 w 434970"/>
                  <a:gd name="connsiteY1" fmla="*/ 93781 h 95069"/>
                  <a:gd name="connsiteX2" fmla="*/ 434970 w 434970"/>
                  <a:gd name="connsiteY2" fmla="*/ 93781 h 95069"/>
                  <a:gd name="connsiteX3" fmla="*/ 434970 w 434970"/>
                  <a:gd name="connsiteY3" fmla="*/ 3617 h 95069"/>
                  <a:gd name="connsiteX4" fmla="*/ 418218 w 434970"/>
                  <a:gd name="connsiteY4" fmla="*/ 7990 h 95069"/>
                  <a:gd name="connsiteX5" fmla="*/ 279670 w 434970"/>
                  <a:gd name="connsiteY5" fmla="*/ 37617 h 95069"/>
                  <a:gd name="connsiteX6" fmla="*/ 279670 w 434970"/>
                  <a:gd name="connsiteY6" fmla="*/ 31307 h 95069"/>
                  <a:gd name="connsiteX7" fmla="*/ 263565 w 434970"/>
                  <a:gd name="connsiteY7" fmla="*/ 31307 h 95069"/>
                  <a:gd name="connsiteX8" fmla="*/ 263565 w 434970"/>
                  <a:gd name="connsiteY8" fmla="*/ 93787 h 95069"/>
                  <a:gd name="connsiteX9" fmla="*/ 280306 w 434970"/>
                  <a:gd name="connsiteY9" fmla="*/ 93787 h 95069"/>
                  <a:gd name="connsiteX10" fmla="*/ 280306 w 434970"/>
                  <a:gd name="connsiteY10" fmla="*/ 54490 h 95069"/>
                  <a:gd name="connsiteX11" fmla="*/ 295518 w 434970"/>
                  <a:gd name="connsiteY11" fmla="*/ 45473 h 95069"/>
                  <a:gd name="connsiteX12" fmla="*/ 301575 w 434970"/>
                  <a:gd name="connsiteY12" fmla="*/ 46121 h 95069"/>
                  <a:gd name="connsiteX13" fmla="*/ 303512 w 434970"/>
                  <a:gd name="connsiteY13" fmla="*/ 30525 h 95069"/>
                  <a:gd name="connsiteX14" fmla="*/ 297834 w 434970"/>
                  <a:gd name="connsiteY14" fmla="*/ 30012 h 95069"/>
                  <a:gd name="connsiteX15" fmla="*/ 279670 w 434970"/>
                  <a:gd name="connsiteY15" fmla="*/ 37617 h 95069"/>
                  <a:gd name="connsiteX16" fmla="*/ 353776 w 434970"/>
                  <a:gd name="connsiteY16" fmla="*/ 71881 h 95069"/>
                  <a:gd name="connsiteX17" fmla="*/ 338698 w 434970"/>
                  <a:gd name="connsiteY17" fmla="*/ 79608 h 95069"/>
                  <a:gd name="connsiteX18" fmla="*/ 322196 w 434970"/>
                  <a:gd name="connsiteY18" fmla="*/ 62608 h 95069"/>
                  <a:gd name="connsiteX19" fmla="*/ 338313 w 434970"/>
                  <a:gd name="connsiteY19" fmla="*/ 45473 h 95069"/>
                  <a:gd name="connsiteX20" fmla="*/ 353776 w 434970"/>
                  <a:gd name="connsiteY20" fmla="*/ 53201 h 95069"/>
                  <a:gd name="connsiteX21" fmla="*/ 353776 w 434970"/>
                  <a:gd name="connsiteY21" fmla="*/ 71881 h 95069"/>
                  <a:gd name="connsiteX22" fmla="*/ 354423 w 434970"/>
                  <a:gd name="connsiteY22" fmla="*/ 36328 h 95069"/>
                  <a:gd name="connsiteX23" fmla="*/ 336124 w 434970"/>
                  <a:gd name="connsiteY23" fmla="*/ 30018 h 95069"/>
                  <a:gd name="connsiteX24" fmla="*/ 305443 w 434970"/>
                  <a:gd name="connsiteY24" fmla="*/ 62608 h 95069"/>
                  <a:gd name="connsiteX25" fmla="*/ 313444 w 434970"/>
                  <a:gd name="connsiteY25" fmla="*/ 84508 h 95069"/>
                  <a:gd name="connsiteX26" fmla="*/ 337023 w 434970"/>
                  <a:gd name="connsiteY26" fmla="*/ 95070 h 95069"/>
                  <a:gd name="connsiteX27" fmla="*/ 354423 w 434970"/>
                  <a:gd name="connsiteY27" fmla="*/ 88759 h 95069"/>
                  <a:gd name="connsiteX28" fmla="*/ 354423 w 434970"/>
                  <a:gd name="connsiteY28" fmla="*/ 93781 h 95069"/>
                  <a:gd name="connsiteX29" fmla="*/ 370534 w 434970"/>
                  <a:gd name="connsiteY29" fmla="*/ 93781 h 95069"/>
                  <a:gd name="connsiteX30" fmla="*/ 370534 w 434970"/>
                  <a:gd name="connsiteY30" fmla="*/ 31301 h 95069"/>
                  <a:gd name="connsiteX31" fmla="*/ 354423 w 434970"/>
                  <a:gd name="connsiteY31" fmla="*/ 31301 h 95069"/>
                  <a:gd name="connsiteX32" fmla="*/ 354423 w 434970"/>
                  <a:gd name="connsiteY32" fmla="*/ 36328 h 95069"/>
                  <a:gd name="connsiteX33" fmla="*/ 385997 w 434970"/>
                  <a:gd name="connsiteY33" fmla="*/ 93781 h 95069"/>
                  <a:gd name="connsiteX34" fmla="*/ 402749 w 434970"/>
                  <a:gd name="connsiteY34" fmla="*/ 93781 h 95069"/>
                  <a:gd name="connsiteX35" fmla="*/ 402749 w 434970"/>
                  <a:gd name="connsiteY35" fmla="*/ 3617 h 95069"/>
                  <a:gd name="connsiteX36" fmla="*/ 385997 w 434970"/>
                  <a:gd name="connsiteY36" fmla="*/ 7996 h 95069"/>
                  <a:gd name="connsiteX37" fmla="*/ 385997 w 434970"/>
                  <a:gd name="connsiteY37" fmla="*/ 93781 h 95069"/>
                  <a:gd name="connsiteX38" fmla="*/ 239717 w 434970"/>
                  <a:gd name="connsiteY38" fmla="*/ 0 h 95069"/>
                  <a:gd name="connsiteX39" fmla="*/ 228765 w 434970"/>
                  <a:gd name="connsiteY39" fmla="*/ 10690 h 95069"/>
                  <a:gd name="connsiteX40" fmla="*/ 239717 w 434970"/>
                  <a:gd name="connsiteY40" fmla="*/ 21387 h 95069"/>
                  <a:gd name="connsiteX41" fmla="*/ 250676 w 434970"/>
                  <a:gd name="connsiteY41" fmla="*/ 10690 h 95069"/>
                  <a:gd name="connsiteX42" fmla="*/ 239717 w 434970"/>
                  <a:gd name="connsiteY42" fmla="*/ 0 h 95069"/>
                  <a:gd name="connsiteX43" fmla="*/ 48332 w 434970"/>
                  <a:gd name="connsiteY43" fmla="*/ 71881 h 95069"/>
                  <a:gd name="connsiteX44" fmla="*/ 33248 w 434970"/>
                  <a:gd name="connsiteY44" fmla="*/ 79608 h 95069"/>
                  <a:gd name="connsiteX45" fmla="*/ 16752 w 434970"/>
                  <a:gd name="connsiteY45" fmla="*/ 62608 h 95069"/>
                  <a:gd name="connsiteX46" fmla="*/ 32870 w 434970"/>
                  <a:gd name="connsiteY46" fmla="*/ 45473 h 95069"/>
                  <a:gd name="connsiteX47" fmla="*/ 48332 w 434970"/>
                  <a:gd name="connsiteY47" fmla="*/ 53201 h 95069"/>
                  <a:gd name="connsiteX48" fmla="*/ 48332 w 434970"/>
                  <a:gd name="connsiteY48" fmla="*/ 71881 h 95069"/>
                  <a:gd name="connsiteX49" fmla="*/ 48973 w 434970"/>
                  <a:gd name="connsiteY49" fmla="*/ 36328 h 95069"/>
                  <a:gd name="connsiteX50" fmla="*/ 30675 w 434970"/>
                  <a:gd name="connsiteY50" fmla="*/ 30018 h 95069"/>
                  <a:gd name="connsiteX51" fmla="*/ 0 w 434970"/>
                  <a:gd name="connsiteY51" fmla="*/ 62608 h 95069"/>
                  <a:gd name="connsiteX52" fmla="*/ 7988 w 434970"/>
                  <a:gd name="connsiteY52" fmla="*/ 84508 h 95069"/>
                  <a:gd name="connsiteX53" fmla="*/ 31574 w 434970"/>
                  <a:gd name="connsiteY53" fmla="*/ 95070 h 95069"/>
                  <a:gd name="connsiteX54" fmla="*/ 48973 w 434970"/>
                  <a:gd name="connsiteY54" fmla="*/ 88759 h 95069"/>
                  <a:gd name="connsiteX55" fmla="*/ 48973 w 434970"/>
                  <a:gd name="connsiteY55" fmla="*/ 93781 h 95069"/>
                  <a:gd name="connsiteX56" fmla="*/ 65085 w 434970"/>
                  <a:gd name="connsiteY56" fmla="*/ 93781 h 95069"/>
                  <a:gd name="connsiteX57" fmla="*/ 65085 w 434970"/>
                  <a:gd name="connsiteY57" fmla="*/ 31301 h 95069"/>
                  <a:gd name="connsiteX58" fmla="*/ 48973 w 434970"/>
                  <a:gd name="connsiteY58" fmla="*/ 31301 h 95069"/>
                  <a:gd name="connsiteX59" fmla="*/ 48973 w 434970"/>
                  <a:gd name="connsiteY59" fmla="*/ 36328 h 95069"/>
                  <a:gd name="connsiteX60" fmla="*/ 80547 w 434970"/>
                  <a:gd name="connsiteY60" fmla="*/ 93781 h 95069"/>
                  <a:gd name="connsiteX61" fmla="*/ 97306 w 434970"/>
                  <a:gd name="connsiteY61" fmla="*/ 93781 h 95069"/>
                  <a:gd name="connsiteX62" fmla="*/ 97306 w 434970"/>
                  <a:gd name="connsiteY62" fmla="*/ 3617 h 95069"/>
                  <a:gd name="connsiteX63" fmla="*/ 80547 w 434970"/>
                  <a:gd name="connsiteY63" fmla="*/ 7996 h 95069"/>
                  <a:gd name="connsiteX64" fmla="*/ 80547 w 434970"/>
                  <a:gd name="connsiteY64" fmla="*/ 93781 h 95069"/>
                  <a:gd name="connsiteX65" fmla="*/ 188934 w 434970"/>
                  <a:gd name="connsiteY65" fmla="*/ 30012 h 95069"/>
                  <a:gd name="connsiteX66" fmla="*/ 166767 w 434970"/>
                  <a:gd name="connsiteY66" fmla="*/ 39810 h 95069"/>
                  <a:gd name="connsiteX67" fmla="*/ 145760 w 434970"/>
                  <a:gd name="connsiteY67" fmla="*/ 30012 h 95069"/>
                  <a:gd name="connsiteX68" fmla="*/ 128874 w 434970"/>
                  <a:gd name="connsiteY68" fmla="*/ 36328 h 95069"/>
                  <a:gd name="connsiteX69" fmla="*/ 128874 w 434970"/>
                  <a:gd name="connsiteY69" fmla="*/ 31307 h 95069"/>
                  <a:gd name="connsiteX70" fmla="*/ 112756 w 434970"/>
                  <a:gd name="connsiteY70" fmla="*/ 31307 h 95069"/>
                  <a:gd name="connsiteX71" fmla="*/ 112756 w 434970"/>
                  <a:gd name="connsiteY71" fmla="*/ 93787 h 95069"/>
                  <a:gd name="connsiteX72" fmla="*/ 129515 w 434970"/>
                  <a:gd name="connsiteY72" fmla="*/ 93787 h 95069"/>
                  <a:gd name="connsiteX73" fmla="*/ 129515 w 434970"/>
                  <a:gd name="connsiteY73" fmla="*/ 53201 h 95069"/>
                  <a:gd name="connsiteX74" fmla="*/ 144079 w 434970"/>
                  <a:gd name="connsiteY74" fmla="*/ 45473 h 95069"/>
                  <a:gd name="connsiteX75" fmla="*/ 153486 w 434970"/>
                  <a:gd name="connsiteY75" fmla="*/ 49340 h 95069"/>
                  <a:gd name="connsiteX76" fmla="*/ 156578 w 434970"/>
                  <a:gd name="connsiteY76" fmla="*/ 60030 h 95069"/>
                  <a:gd name="connsiteX77" fmla="*/ 156578 w 434970"/>
                  <a:gd name="connsiteY77" fmla="*/ 93781 h 95069"/>
                  <a:gd name="connsiteX78" fmla="*/ 173331 w 434970"/>
                  <a:gd name="connsiteY78" fmla="*/ 93781 h 95069"/>
                  <a:gd name="connsiteX79" fmla="*/ 173331 w 434970"/>
                  <a:gd name="connsiteY79" fmla="*/ 60678 h 95069"/>
                  <a:gd name="connsiteX80" fmla="*/ 172817 w 434970"/>
                  <a:gd name="connsiteY80" fmla="*/ 53714 h 95069"/>
                  <a:gd name="connsiteX81" fmla="*/ 187901 w 434970"/>
                  <a:gd name="connsiteY81" fmla="*/ 45467 h 95069"/>
                  <a:gd name="connsiteX82" fmla="*/ 197307 w 434970"/>
                  <a:gd name="connsiteY82" fmla="*/ 49334 h 95069"/>
                  <a:gd name="connsiteX83" fmla="*/ 200406 w 434970"/>
                  <a:gd name="connsiteY83" fmla="*/ 60024 h 95069"/>
                  <a:gd name="connsiteX84" fmla="*/ 200406 w 434970"/>
                  <a:gd name="connsiteY84" fmla="*/ 93774 h 95069"/>
                  <a:gd name="connsiteX85" fmla="*/ 217152 w 434970"/>
                  <a:gd name="connsiteY85" fmla="*/ 93774 h 95069"/>
                  <a:gd name="connsiteX86" fmla="*/ 217152 w 434970"/>
                  <a:gd name="connsiteY86" fmla="*/ 60671 h 95069"/>
                  <a:gd name="connsiteX87" fmla="*/ 210845 w 434970"/>
                  <a:gd name="connsiteY87" fmla="*/ 40055 h 95069"/>
                  <a:gd name="connsiteX88" fmla="*/ 188934 w 434970"/>
                  <a:gd name="connsiteY88" fmla="*/ 30012 h 95069"/>
                  <a:gd name="connsiteX89" fmla="*/ 231344 w 434970"/>
                  <a:gd name="connsiteY89" fmla="*/ 93781 h 95069"/>
                  <a:gd name="connsiteX90" fmla="*/ 248096 w 434970"/>
                  <a:gd name="connsiteY90" fmla="*/ 93781 h 95069"/>
                  <a:gd name="connsiteX91" fmla="*/ 248096 w 434970"/>
                  <a:gd name="connsiteY91" fmla="*/ 31301 h 95069"/>
                  <a:gd name="connsiteX92" fmla="*/ 231344 w 434970"/>
                  <a:gd name="connsiteY92" fmla="*/ 31301 h 95069"/>
                  <a:gd name="connsiteX93" fmla="*/ 231344 w 434970"/>
                  <a:gd name="connsiteY93" fmla="*/ 93781 h 950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</a:cxnLst>
                <a:rect l="l" t="t" r="r" b="b"/>
                <a:pathLst>
                  <a:path w="434970" h="95069">
                    <a:moveTo>
                      <a:pt x="418218" y="7990"/>
                    </a:moveTo>
                    <a:lnTo>
                      <a:pt x="418218" y="93781"/>
                    </a:lnTo>
                    <a:lnTo>
                      <a:pt x="434970" y="93781"/>
                    </a:lnTo>
                    <a:lnTo>
                      <a:pt x="434970" y="3617"/>
                    </a:lnTo>
                    <a:lnTo>
                      <a:pt x="418218" y="7990"/>
                    </a:lnTo>
                    <a:close/>
                    <a:moveTo>
                      <a:pt x="279670" y="37617"/>
                    </a:moveTo>
                    <a:lnTo>
                      <a:pt x="279670" y="31307"/>
                    </a:lnTo>
                    <a:lnTo>
                      <a:pt x="263565" y="31307"/>
                    </a:lnTo>
                    <a:lnTo>
                      <a:pt x="263565" y="93787"/>
                    </a:lnTo>
                    <a:lnTo>
                      <a:pt x="280306" y="93787"/>
                    </a:lnTo>
                    <a:lnTo>
                      <a:pt x="280306" y="54490"/>
                    </a:lnTo>
                    <a:cubicBezTo>
                      <a:pt x="282365" y="50763"/>
                      <a:pt x="288172" y="45473"/>
                      <a:pt x="295518" y="45473"/>
                    </a:cubicBezTo>
                    <a:cubicBezTo>
                      <a:pt x="297962" y="45473"/>
                      <a:pt x="300413" y="45736"/>
                      <a:pt x="301575" y="46121"/>
                    </a:cubicBezTo>
                    <a:lnTo>
                      <a:pt x="303512" y="30525"/>
                    </a:lnTo>
                    <a:cubicBezTo>
                      <a:pt x="301697" y="30269"/>
                      <a:pt x="300285" y="30012"/>
                      <a:pt x="297834" y="30012"/>
                    </a:cubicBezTo>
                    <a:cubicBezTo>
                      <a:pt x="290237" y="30018"/>
                      <a:pt x="283404" y="32981"/>
                      <a:pt x="279670" y="37617"/>
                    </a:cubicBezTo>
                    <a:moveTo>
                      <a:pt x="353776" y="71881"/>
                    </a:moveTo>
                    <a:cubicBezTo>
                      <a:pt x="350555" y="76517"/>
                      <a:pt x="345005" y="79608"/>
                      <a:pt x="338698" y="79608"/>
                    </a:cubicBezTo>
                    <a:cubicBezTo>
                      <a:pt x="329285" y="79608"/>
                      <a:pt x="322196" y="72394"/>
                      <a:pt x="322196" y="62608"/>
                    </a:cubicBezTo>
                    <a:cubicBezTo>
                      <a:pt x="322196" y="53591"/>
                      <a:pt x="328515" y="45473"/>
                      <a:pt x="338313" y="45473"/>
                    </a:cubicBezTo>
                    <a:cubicBezTo>
                      <a:pt x="344754" y="45473"/>
                      <a:pt x="350297" y="48564"/>
                      <a:pt x="353776" y="53201"/>
                    </a:cubicBezTo>
                    <a:lnTo>
                      <a:pt x="353776" y="71881"/>
                    </a:lnTo>
                    <a:close/>
                    <a:moveTo>
                      <a:pt x="354423" y="36328"/>
                    </a:moveTo>
                    <a:cubicBezTo>
                      <a:pt x="349522" y="32333"/>
                      <a:pt x="343208" y="30018"/>
                      <a:pt x="336124" y="30018"/>
                    </a:cubicBezTo>
                    <a:cubicBezTo>
                      <a:pt x="319110" y="30018"/>
                      <a:pt x="305443" y="44184"/>
                      <a:pt x="305443" y="62608"/>
                    </a:cubicBezTo>
                    <a:cubicBezTo>
                      <a:pt x="305443" y="71117"/>
                      <a:pt x="308536" y="78839"/>
                      <a:pt x="313444" y="84508"/>
                    </a:cubicBezTo>
                    <a:cubicBezTo>
                      <a:pt x="318974" y="90952"/>
                      <a:pt x="327751" y="95070"/>
                      <a:pt x="337023" y="95070"/>
                    </a:cubicBezTo>
                    <a:cubicBezTo>
                      <a:pt x="343337" y="95070"/>
                      <a:pt x="349265" y="93139"/>
                      <a:pt x="354423" y="88759"/>
                    </a:cubicBezTo>
                    <a:lnTo>
                      <a:pt x="354423" y="93781"/>
                    </a:lnTo>
                    <a:lnTo>
                      <a:pt x="370534" y="93781"/>
                    </a:lnTo>
                    <a:lnTo>
                      <a:pt x="370534" y="31301"/>
                    </a:lnTo>
                    <a:lnTo>
                      <a:pt x="354423" y="31301"/>
                    </a:lnTo>
                    <a:lnTo>
                      <a:pt x="354423" y="36328"/>
                    </a:lnTo>
                    <a:close/>
                    <a:moveTo>
                      <a:pt x="385997" y="93781"/>
                    </a:moveTo>
                    <a:lnTo>
                      <a:pt x="402749" y="93781"/>
                    </a:lnTo>
                    <a:lnTo>
                      <a:pt x="402749" y="3617"/>
                    </a:lnTo>
                    <a:lnTo>
                      <a:pt x="385997" y="7996"/>
                    </a:lnTo>
                    <a:lnTo>
                      <a:pt x="385997" y="93781"/>
                    </a:lnTo>
                    <a:close/>
                    <a:moveTo>
                      <a:pt x="239717" y="0"/>
                    </a:moveTo>
                    <a:cubicBezTo>
                      <a:pt x="233660" y="0"/>
                      <a:pt x="228765" y="4643"/>
                      <a:pt x="228765" y="10690"/>
                    </a:cubicBezTo>
                    <a:cubicBezTo>
                      <a:pt x="228765" y="16750"/>
                      <a:pt x="233660" y="21387"/>
                      <a:pt x="239717" y="21387"/>
                    </a:cubicBezTo>
                    <a:cubicBezTo>
                      <a:pt x="245774" y="21387"/>
                      <a:pt x="250676" y="16750"/>
                      <a:pt x="250676" y="10690"/>
                    </a:cubicBezTo>
                    <a:cubicBezTo>
                      <a:pt x="250676" y="4643"/>
                      <a:pt x="245774" y="0"/>
                      <a:pt x="239717" y="0"/>
                    </a:cubicBezTo>
                    <a:moveTo>
                      <a:pt x="48332" y="71881"/>
                    </a:moveTo>
                    <a:cubicBezTo>
                      <a:pt x="45117" y="76517"/>
                      <a:pt x="39568" y="79608"/>
                      <a:pt x="33248" y="79608"/>
                    </a:cubicBezTo>
                    <a:cubicBezTo>
                      <a:pt x="23842" y="79608"/>
                      <a:pt x="16752" y="72394"/>
                      <a:pt x="16752" y="62608"/>
                    </a:cubicBezTo>
                    <a:cubicBezTo>
                      <a:pt x="16752" y="53591"/>
                      <a:pt x="23072" y="45473"/>
                      <a:pt x="32870" y="45473"/>
                    </a:cubicBezTo>
                    <a:cubicBezTo>
                      <a:pt x="39317" y="45473"/>
                      <a:pt x="44860" y="48564"/>
                      <a:pt x="48332" y="53201"/>
                    </a:cubicBezTo>
                    <a:lnTo>
                      <a:pt x="48332" y="71881"/>
                    </a:lnTo>
                    <a:close/>
                    <a:moveTo>
                      <a:pt x="48973" y="36328"/>
                    </a:moveTo>
                    <a:cubicBezTo>
                      <a:pt x="44079" y="32333"/>
                      <a:pt x="37759" y="30018"/>
                      <a:pt x="30675" y="30018"/>
                    </a:cubicBezTo>
                    <a:cubicBezTo>
                      <a:pt x="13660" y="30018"/>
                      <a:pt x="0" y="44184"/>
                      <a:pt x="0" y="62608"/>
                    </a:cubicBezTo>
                    <a:cubicBezTo>
                      <a:pt x="0" y="71117"/>
                      <a:pt x="3092" y="78839"/>
                      <a:pt x="7988" y="84508"/>
                    </a:cubicBezTo>
                    <a:cubicBezTo>
                      <a:pt x="13531" y="90952"/>
                      <a:pt x="22296" y="95070"/>
                      <a:pt x="31574" y="95070"/>
                    </a:cubicBezTo>
                    <a:cubicBezTo>
                      <a:pt x="37887" y="95070"/>
                      <a:pt x="43822" y="93139"/>
                      <a:pt x="48973" y="88759"/>
                    </a:cubicBezTo>
                    <a:lnTo>
                      <a:pt x="48973" y="93781"/>
                    </a:lnTo>
                    <a:lnTo>
                      <a:pt x="65085" y="93781"/>
                    </a:lnTo>
                    <a:lnTo>
                      <a:pt x="65085" y="31301"/>
                    </a:lnTo>
                    <a:lnTo>
                      <a:pt x="48973" y="31301"/>
                    </a:lnTo>
                    <a:lnTo>
                      <a:pt x="48973" y="36328"/>
                    </a:lnTo>
                    <a:close/>
                    <a:moveTo>
                      <a:pt x="80547" y="93781"/>
                    </a:moveTo>
                    <a:lnTo>
                      <a:pt x="97306" y="93781"/>
                    </a:lnTo>
                    <a:lnTo>
                      <a:pt x="97306" y="3617"/>
                    </a:lnTo>
                    <a:lnTo>
                      <a:pt x="80547" y="7996"/>
                    </a:lnTo>
                    <a:lnTo>
                      <a:pt x="80547" y="93781"/>
                    </a:lnTo>
                    <a:close/>
                    <a:moveTo>
                      <a:pt x="188934" y="30012"/>
                    </a:moveTo>
                    <a:cubicBezTo>
                      <a:pt x="179650" y="30012"/>
                      <a:pt x="171791" y="34526"/>
                      <a:pt x="166767" y="39810"/>
                    </a:cubicBezTo>
                    <a:cubicBezTo>
                      <a:pt x="161865" y="33879"/>
                      <a:pt x="154262" y="30012"/>
                      <a:pt x="145760" y="30012"/>
                    </a:cubicBezTo>
                    <a:cubicBezTo>
                      <a:pt x="139704" y="30012"/>
                      <a:pt x="133775" y="31949"/>
                      <a:pt x="128874" y="36328"/>
                    </a:cubicBezTo>
                    <a:lnTo>
                      <a:pt x="128874" y="31307"/>
                    </a:lnTo>
                    <a:lnTo>
                      <a:pt x="112756" y="31307"/>
                    </a:lnTo>
                    <a:lnTo>
                      <a:pt x="112756" y="93787"/>
                    </a:lnTo>
                    <a:lnTo>
                      <a:pt x="129515" y="93787"/>
                    </a:lnTo>
                    <a:lnTo>
                      <a:pt x="129515" y="53201"/>
                    </a:lnTo>
                    <a:cubicBezTo>
                      <a:pt x="131831" y="50250"/>
                      <a:pt x="136996" y="45473"/>
                      <a:pt x="144079" y="45473"/>
                    </a:cubicBezTo>
                    <a:cubicBezTo>
                      <a:pt x="147294" y="45473"/>
                      <a:pt x="150907" y="46506"/>
                      <a:pt x="153486" y="49340"/>
                    </a:cubicBezTo>
                    <a:cubicBezTo>
                      <a:pt x="155417" y="51527"/>
                      <a:pt x="156578" y="54361"/>
                      <a:pt x="156578" y="60030"/>
                    </a:cubicBezTo>
                    <a:lnTo>
                      <a:pt x="156578" y="93781"/>
                    </a:lnTo>
                    <a:lnTo>
                      <a:pt x="173331" y="93781"/>
                    </a:lnTo>
                    <a:lnTo>
                      <a:pt x="173331" y="60678"/>
                    </a:lnTo>
                    <a:cubicBezTo>
                      <a:pt x="173331" y="58100"/>
                      <a:pt x="173074" y="55772"/>
                      <a:pt x="172817" y="53714"/>
                    </a:cubicBezTo>
                    <a:cubicBezTo>
                      <a:pt x="175011" y="50501"/>
                      <a:pt x="180677" y="45467"/>
                      <a:pt x="187901" y="45467"/>
                    </a:cubicBezTo>
                    <a:cubicBezTo>
                      <a:pt x="191116" y="45467"/>
                      <a:pt x="194728" y="46499"/>
                      <a:pt x="197307" y="49334"/>
                    </a:cubicBezTo>
                    <a:cubicBezTo>
                      <a:pt x="199239" y="51521"/>
                      <a:pt x="200406" y="54355"/>
                      <a:pt x="200406" y="60024"/>
                    </a:cubicBezTo>
                    <a:lnTo>
                      <a:pt x="200406" y="93774"/>
                    </a:lnTo>
                    <a:lnTo>
                      <a:pt x="217152" y="93774"/>
                    </a:lnTo>
                    <a:lnTo>
                      <a:pt x="217152" y="60671"/>
                    </a:lnTo>
                    <a:cubicBezTo>
                      <a:pt x="217152" y="51392"/>
                      <a:pt x="214830" y="44954"/>
                      <a:pt x="210845" y="40055"/>
                    </a:cubicBezTo>
                    <a:cubicBezTo>
                      <a:pt x="205821" y="33879"/>
                      <a:pt x="197582" y="30012"/>
                      <a:pt x="188934" y="30012"/>
                    </a:cubicBezTo>
                    <a:moveTo>
                      <a:pt x="231344" y="93781"/>
                    </a:moveTo>
                    <a:lnTo>
                      <a:pt x="248096" y="93781"/>
                    </a:lnTo>
                    <a:lnTo>
                      <a:pt x="248096" y="31301"/>
                    </a:lnTo>
                    <a:lnTo>
                      <a:pt x="231344" y="31301"/>
                    </a:lnTo>
                    <a:lnTo>
                      <a:pt x="231344" y="93781"/>
                    </a:lnTo>
                    <a:close/>
                  </a:path>
                </a:pathLst>
              </a:custGeom>
              <a:solidFill>
                <a:schemeClr val="tx2"/>
              </a:solidFill>
              <a:ln w="611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_tradnl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6F6F6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sp>
          <p:nvSpPr>
            <p:cNvPr id="17" name="Redondear rectángulo de una esquina 16">
              <a:extLst>
                <a:ext uri="{FF2B5EF4-FFF2-40B4-BE49-F238E27FC236}">
                  <a16:creationId xmlns:a16="http://schemas.microsoft.com/office/drawing/2014/main" id="{2FB84212-BBB9-7249-A458-A9941132C575}"/>
                </a:ext>
              </a:extLst>
            </p:cNvPr>
            <p:cNvSpPr/>
            <p:nvPr/>
          </p:nvSpPr>
          <p:spPr>
            <a:xfrm flipV="1">
              <a:off x="213360" y="314960"/>
              <a:ext cx="8727440" cy="4551680"/>
            </a:xfrm>
            <a:prstGeom prst="round1Rect">
              <a:avLst>
                <a:gd name="adj" fmla="val 11980"/>
              </a:avLst>
            </a:prstGeom>
            <a:noFill/>
            <a:ln w="635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_tradnl" sz="2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grpSp>
          <p:nvGrpSpPr>
            <p:cNvPr id="18" name="Grupo 17">
              <a:extLst>
                <a:ext uri="{FF2B5EF4-FFF2-40B4-BE49-F238E27FC236}">
                  <a16:creationId xmlns:a16="http://schemas.microsoft.com/office/drawing/2014/main" id="{9A0F6F7D-F76C-DF4F-8B6D-3A97AD255DB5}"/>
                </a:ext>
              </a:extLst>
            </p:cNvPr>
            <p:cNvGrpSpPr/>
            <p:nvPr/>
          </p:nvGrpSpPr>
          <p:grpSpPr>
            <a:xfrm>
              <a:off x="483338" y="574159"/>
              <a:ext cx="1334830" cy="413518"/>
              <a:chOff x="7785861" y="4639396"/>
              <a:chExt cx="1111660" cy="344382"/>
            </a:xfrm>
          </p:grpSpPr>
          <p:sp>
            <p:nvSpPr>
              <p:cNvPr id="19" name="Forma libre 18">
                <a:extLst>
                  <a:ext uri="{FF2B5EF4-FFF2-40B4-BE49-F238E27FC236}">
                    <a16:creationId xmlns:a16="http://schemas.microsoft.com/office/drawing/2014/main" id="{F61FD350-7384-FC4E-A8FA-1FE760EAEEFB}"/>
                  </a:ext>
                </a:extLst>
              </p:cNvPr>
              <p:cNvSpPr/>
              <p:nvPr/>
            </p:nvSpPr>
            <p:spPr>
              <a:xfrm>
                <a:off x="7785861" y="4639396"/>
                <a:ext cx="256158" cy="344382"/>
              </a:xfrm>
              <a:custGeom>
                <a:avLst/>
                <a:gdLst>
                  <a:gd name="connsiteX0" fmla="*/ 107295 w 139455"/>
                  <a:gd name="connsiteY0" fmla="*/ 11790 h 187485"/>
                  <a:gd name="connsiteX1" fmla="*/ 107295 w 139455"/>
                  <a:gd name="connsiteY1" fmla="*/ 0 h 187485"/>
                  <a:gd name="connsiteX2" fmla="*/ 46294 w 139455"/>
                  <a:gd name="connsiteY2" fmla="*/ 32046 h 187485"/>
                  <a:gd name="connsiteX3" fmla="*/ 39296 w 139455"/>
                  <a:gd name="connsiteY3" fmla="*/ 43610 h 187485"/>
                  <a:gd name="connsiteX4" fmla="*/ 39296 w 139455"/>
                  <a:gd name="connsiteY4" fmla="*/ 55400 h 187485"/>
                  <a:gd name="connsiteX5" fmla="*/ 100310 w 139455"/>
                  <a:gd name="connsiteY5" fmla="*/ 23353 h 187485"/>
                  <a:gd name="connsiteX6" fmla="*/ 107295 w 139455"/>
                  <a:gd name="connsiteY6" fmla="*/ 11790 h 187485"/>
                  <a:gd name="connsiteX7" fmla="*/ 107466 w 139455"/>
                  <a:gd name="connsiteY7" fmla="*/ 39279 h 187485"/>
                  <a:gd name="connsiteX8" fmla="*/ 46459 w 139455"/>
                  <a:gd name="connsiteY8" fmla="*/ 71325 h 187485"/>
                  <a:gd name="connsiteX9" fmla="*/ 39466 w 139455"/>
                  <a:gd name="connsiteY9" fmla="*/ 82889 h 187485"/>
                  <a:gd name="connsiteX10" fmla="*/ 39466 w 139455"/>
                  <a:gd name="connsiteY10" fmla="*/ 94678 h 187485"/>
                  <a:gd name="connsiteX11" fmla="*/ 100475 w 139455"/>
                  <a:gd name="connsiteY11" fmla="*/ 62638 h 187485"/>
                  <a:gd name="connsiteX12" fmla="*/ 107466 w 139455"/>
                  <a:gd name="connsiteY12" fmla="*/ 51069 h 187485"/>
                  <a:gd name="connsiteX13" fmla="*/ 107466 w 139455"/>
                  <a:gd name="connsiteY13" fmla="*/ 39279 h 187485"/>
                  <a:gd name="connsiteX14" fmla="*/ 39466 w 139455"/>
                  <a:gd name="connsiteY14" fmla="*/ 122167 h 187485"/>
                  <a:gd name="connsiteX15" fmla="*/ 39466 w 139455"/>
                  <a:gd name="connsiteY15" fmla="*/ 133951 h 187485"/>
                  <a:gd name="connsiteX16" fmla="*/ 100475 w 139455"/>
                  <a:gd name="connsiteY16" fmla="*/ 101905 h 187485"/>
                  <a:gd name="connsiteX17" fmla="*/ 107466 w 139455"/>
                  <a:gd name="connsiteY17" fmla="*/ 90347 h 187485"/>
                  <a:gd name="connsiteX18" fmla="*/ 107466 w 139455"/>
                  <a:gd name="connsiteY18" fmla="*/ 78558 h 187485"/>
                  <a:gd name="connsiteX19" fmla="*/ 46459 w 139455"/>
                  <a:gd name="connsiteY19" fmla="*/ 110598 h 187485"/>
                  <a:gd name="connsiteX20" fmla="*/ 39466 w 139455"/>
                  <a:gd name="connsiteY20" fmla="*/ 122167 h 187485"/>
                  <a:gd name="connsiteX21" fmla="*/ 135911 w 139455"/>
                  <a:gd name="connsiteY21" fmla="*/ 95809 h 187485"/>
                  <a:gd name="connsiteX22" fmla="*/ 133008 w 139455"/>
                  <a:gd name="connsiteY22" fmla="*/ 94672 h 187485"/>
                  <a:gd name="connsiteX23" fmla="*/ 121920 w 139455"/>
                  <a:gd name="connsiteY23" fmla="*/ 100488 h 187485"/>
                  <a:gd name="connsiteX24" fmla="*/ 120729 w 139455"/>
                  <a:gd name="connsiteY24" fmla="*/ 103347 h 187485"/>
                  <a:gd name="connsiteX25" fmla="*/ 122428 w 139455"/>
                  <a:gd name="connsiteY25" fmla="*/ 123475 h 187485"/>
                  <a:gd name="connsiteX26" fmla="*/ 73087 w 139455"/>
                  <a:gd name="connsiteY26" fmla="*/ 170658 h 187485"/>
                  <a:gd name="connsiteX27" fmla="*/ 16725 w 139455"/>
                  <a:gd name="connsiteY27" fmla="*/ 117788 h 187485"/>
                  <a:gd name="connsiteX28" fmla="*/ 24499 w 139455"/>
                  <a:gd name="connsiteY28" fmla="*/ 90170 h 187485"/>
                  <a:gd name="connsiteX29" fmla="*/ 24602 w 139455"/>
                  <a:gd name="connsiteY29" fmla="*/ 87171 h 187485"/>
                  <a:gd name="connsiteX30" fmla="*/ 18094 w 139455"/>
                  <a:gd name="connsiteY30" fmla="*/ 75345 h 187485"/>
                  <a:gd name="connsiteX31" fmla="*/ 14640 w 139455"/>
                  <a:gd name="connsiteY31" fmla="*/ 75088 h 187485"/>
                  <a:gd name="connsiteX32" fmla="*/ 94 w 139455"/>
                  <a:gd name="connsiteY32" fmla="*/ 121483 h 187485"/>
                  <a:gd name="connsiteX33" fmla="*/ 66994 w 139455"/>
                  <a:gd name="connsiteY33" fmla="*/ 187433 h 187485"/>
                  <a:gd name="connsiteX34" fmla="*/ 139455 w 139455"/>
                  <a:gd name="connsiteY34" fmla="*/ 117794 h 187485"/>
                  <a:gd name="connsiteX35" fmla="*/ 135911 w 139455"/>
                  <a:gd name="connsiteY35" fmla="*/ 95809 h 1874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</a:cxnLst>
                <a:rect l="l" t="t" r="r" b="b"/>
                <a:pathLst>
                  <a:path w="139455" h="187485">
                    <a:moveTo>
                      <a:pt x="107295" y="11790"/>
                    </a:moveTo>
                    <a:lnTo>
                      <a:pt x="107295" y="0"/>
                    </a:lnTo>
                    <a:lnTo>
                      <a:pt x="46294" y="32046"/>
                    </a:lnTo>
                    <a:cubicBezTo>
                      <a:pt x="41997" y="34300"/>
                      <a:pt x="39296" y="38760"/>
                      <a:pt x="39296" y="43610"/>
                    </a:cubicBezTo>
                    <a:lnTo>
                      <a:pt x="39296" y="55400"/>
                    </a:lnTo>
                    <a:lnTo>
                      <a:pt x="100310" y="23353"/>
                    </a:lnTo>
                    <a:cubicBezTo>
                      <a:pt x="104612" y="21093"/>
                      <a:pt x="107295" y="16640"/>
                      <a:pt x="107295" y="11790"/>
                    </a:cubicBezTo>
                    <a:moveTo>
                      <a:pt x="107466" y="39279"/>
                    </a:moveTo>
                    <a:lnTo>
                      <a:pt x="46459" y="71325"/>
                    </a:lnTo>
                    <a:cubicBezTo>
                      <a:pt x="42168" y="73585"/>
                      <a:pt x="39466" y="78038"/>
                      <a:pt x="39466" y="82889"/>
                    </a:cubicBezTo>
                    <a:lnTo>
                      <a:pt x="39466" y="94678"/>
                    </a:lnTo>
                    <a:lnTo>
                      <a:pt x="100475" y="62638"/>
                    </a:lnTo>
                    <a:cubicBezTo>
                      <a:pt x="104771" y="60378"/>
                      <a:pt x="107466" y="55919"/>
                      <a:pt x="107466" y="51069"/>
                    </a:cubicBezTo>
                    <a:lnTo>
                      <a:pt x="107466" y="39279"/>
                    </a:lnTo>
                    <a:close/>
                    <a:moveTo>
                      <a:pt x="39466" y="122167"/>
                    </a:moveTo>
                    <a:lnTo>
                      <a:pt x="39466" y="133951"/>
                    </a:lnTo>
                    <a:lnTo>
                      <a:pt x="100475" y="101905"/>
                    </a:lnTo>
                    <a:cubicBezTo>
                      <a:pt x="104771" y="99651"/>
                      <a:pt x="107466" y="95198"/>
                      <a:pt x="107466" y="90347"/>
                    </a:cubicBezTo>
                    <a:lnTo>
                      <a:pt x="107466" y="78558"/>
                    </a:lnTo>
                    <a:lnTo>
                      <a:pt x="46459" y="110598"/>
                    </a:lnTo>
                    <a:cubicBezTo>
                      <a:pt x="42162" y="112864"/>
                      <a:pt x="39466" y="117317"/>
                      <a:pt x="39466" y="122167"/>
                    </a:cubicBezTo>
                    <a:moveTo>
                      <a:pt x="135911" y="95809"/>
                    </a:moveTo>
                    <a:cubicBezTo>
                      <a:pt x="135520" y="94617"/>
                      <a:pt x="134126" y="94086"/>
                      <a:pt x="133008" y="94672"/>
                    </a:cubicBezTo>
                    <a:lnTo>
                      <a:pt x="121920" y="100488"/>
                    </a:lnTo>
                    <a:cubicBezTo>
                      <a:pt x="120888" y="101038"/>
                      <a:pt x="120411" y="102223"/>
                      <a:pt x="120729" y="103347"/>
                    </a:cubicBezTo>
                    <a:cubicBezTo>
                      <a:pt x="122514" y="109651"/>
                      <a:pt x="123174" y="116438"/>
                      <a:pt x="122428" y="123475"/>
                    </a:cubicBezTo>
                    <a:cubicBezTo>
                      <a:pt x="119739" y="148942"/>
                      <a:pt x="98653" y="169082"/>
                      <a:pt x="73087" y="170658"/>
                    </a:cubicBezTo>
                    <a:cubicBezTo>
                      <a:pt x="42290" y="172564"/>
                      <a:pt x="16725" y="148154"/>
                      <a:pt x="16725" y="117788"/>
                    </a:cubicBezTo>
                    <a:cubicBezTo>
                      <a:pt x="16725" y="107665"/>
                      <a:pt x="19572" y="98203"/>
                      <a:pt x="24499" y="90170"/>
                    </a:cubicBezTo>
                    <a:cubicBezTo>
                      <a:pt x="25061" y="89248"/>
                      <a:pt x="25116" y="88112"/>
                      <a:pt x="24602" y="87171"/>
                    </a:cubicBezTo>
                    <a:lnTo>
                      <a:pt x="18094" y="75345"/>
                    </a:lnTo>
                    <a:cubicBezTo>
                      <a:pt x="17372" y="74037"/>
                      <a:pt x="15557" y="73915"/>
                      <a:pt x="14640" y="75088"/>
                    </a:cubicBezTo>
                    <a:cubicBezTo>
                      <a:pt x="4782" y="87782"/>
                      <a:pt x="-804" y="103964"/>
                      <a:pt x="94" y="121483"/>
                    </a:cubicBezTo>
                    <a:cubicBezTo>
                      <a:pt x="1953" y="157213"/>
                      <a:pt x="31228" y="186064"/>
                      <a:pt x="66994" y="187433"/>
                    </a:cubicBezTo>
                    <a:cubicBezTo>
                      <a:pt x="106751" y="188953"/>
                      <a:pt x="139455" y="157189"/>
                      <a:pt x="139455" y="117794"/>
                    </a:cubicBezTo>
                    <a:cubicBezTo>
                      <a:pt x="139455" y="110103"/>
                      <a:pt x="138209" y="102711"/>
                      <a:pt x="135911" y="95809"/>
                    </a:cubicBezTo>
                  </a:path>
                </a:pathLst>
              </a:custGeom>
              <a:solidFill>
                <a:schemeClr val="accent2"/>
              </a:solidFill>
              <a:ln w="611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_tradnl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6F6F6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0" name="Forma libre 19">
                <a:extLst>
                  <a:ext uri="{FF2B5EF4-FFF2-40B4-BE49-F238E27FC236}">
                    <a16:creationId xmlns:a16="http://schemas.microsoft.com/office/drawing/2014/main" id="{4C866C15-9DA1-4244-A58E-93E1550697A8}"/>
                  </a:ext>
                </a:extLst>
              </p:cNvPr>
              <p:cNvSpPr/>
              <p:nvPr/>
            </p:nvSpPr>
            <p:spPr>
              <a:xfrm>
                <a:off x="8098546" y="4754028"/>
                <a:ext cx="798975" cy="174628"/>
              </a:xfrm>
              <a:custGeom>
                <a:avLst/>
                <a:gdLst>
                  <a:gd name="connsiteX0" fmla="*/ 418218 w 434970"/>
                  <a:gd name="connsiteY0" fmla="*/ 7990 h 95069"/>
                  <a:gd name="connsiteX1" fmla="*/ 418218 w 434970"/>
                  <a:gd name="connsiteY1" fmla="*/ 93781 h 95069"/>
                  <a:gd name="connsiteX2" fmla="*/ 434970 w 434970"/>
                  <a:gd name="connsiteY2" fmla="*/ 93781 h 95069"/>
                  <a:gd name="connsiteX3" fmla="*/ 434970 w 434970"/>
                  <a:gd name="connsiteY3" fmla="*/ 3617 h 95069"/>
                  <a:gd name="connsiteX4" fmla="*/ 418218 w 434970"/>
                  <a:gd name="connsiteY4" fmla="*/ 7990 h 95069"/>
                  <a:gd name="connsiteX5" fmla="*/ 279670 w 434970"/>
                  <a:gd name="connsiteY5" fmla="*/ 37617 h 95069"/>
                  <a:gd name="connsiteX6" fmla="*/ 279670 w 434970"/>
                  <a:gd name="connsiteY6" fmla="*/ 31307 h 95069"/>
                  <a:gd name="connsiteX7" fmla="*/ 263565 w 434970"/>
                  <a:gd name="connsiteY7" fmla="*/ 31307 h 95069"/>
                  <a:gd name="connsiteX8" fmla="*/ 263565 w 434970"/>
                  <a:gd name="connsiteY8" fmla="*/ 93787 h 95069"/>
                  <a:gd name="connsiteX9" fmla="*/ 280306 w 434970"/>
                  <a:gd name="connsiteY9" fmla="*/ 93787 h 95069"/>
                  <a:gd name="connsiteX10" fmla="*/ 280306 w 434970"/>
                  <a:gd name="connsiteY10" fmla="*/ 54490 h 95069"/>
                  <a:gd name="connsiteX11" fmla="*/ 295518 w 434970"/>
                  <a:gd name="connsiteY11" fmla="*/ 45473 h 95069"/>
                  <a:gd name="connsiteX12" fmla="*/ 301575 w 434970"/>
                  <a:gd name="connsiteY12" fmla="*/ 46121 h 95069"/>
                  <a:gd name="connsiteX13" fmla="*/ 303512 w 434970"/>
                  <a:gd name="connsiteY13" fmla="*/ 30525 h 95069"/>
                  <a:gd name="connsiteX14" fmla="*/ 297834 w 434970"/>
                  <a:gd name="connsiteY14" fmla="*/ 30012 h 95069"/>
                  <a:gd name="connsiteX15" fmla="*/ 279670 w 434970"/>
                  <a:gd name="connsiteY15" fmla="*/ 37617 h 95069"/>
                  <a:gd name="connsiteX16" fmla="*/ 353776 w 434970"/>
                  <a:gd name="connsiteY16" fmla="*/ 71881 h 95069"/>
                  <a:gd name="connsiteX17" fmla="*/ 338698 w 434970"/>
                  <a:gd name="connsiteY17" fmla="*/ 79608 h 95069"/>
                  <a:gd name="connsiteX18" fmla="*/ 322196 w 434970"/>
                  <a:gd name="connsiteY18" fmla="*/ 62608 h 95069"/>
                  <a:gd name="connsiteX19" fmla="*/ 338313 w 434970"/>
                  <a:gd name="connsiteY19" fmla="*/ 45473 h 95069"/>
                  <a:gd name="connsiteX20" fmla="*/ 353776 w 434970"/>
                  <a:gd name="connsiteY20" fmla="*/ 53201 h 95069"/>
                  <a:gd name="connsiteX21" fmla="*/ 353776 w 434970"/>
                  <a:gd name="connsiteY21" fmla="*/ 71881 h 95069"/>
                  <a:gd name="connsiteX22" fmla="*/ 354423 w 434970"/>
                  <a:gd name="connsiteY22" fmla="*/ 36328 h 95069"/>
                  <a:gd name="connsiteX23" fmla="*/ 336124 w 434970"/>
                  <a:gd name="connsiteY23" fmla="*/ 30018 h 95069"/>
                  <a:gd name="connsiteX24" fmla="*/ 305443 w 434970"/>
                  <a:gd name="connsiteY24" fmla="*/ 62608 h 95069"/>
                  <a:gd name="connsiteX25" fmla="*/ 313444 w 434970"/>
                  <a:gd name="connsiteY25" fmla="*/ 84508 h 95069"/>
                  <a:gd name="connsiteX26" fmla="*/ 337023 w 434970"/>
                  <a:gd name="connsiteY26" fmla="*/ 95070 h 95069"/>
                  <a:gd name="connsiteX27" fmla="*/ 354423 w 434970"/>
                  <a:gd name="connsiteY27" fmla="*/ 88759 h 95069"/>
                  <a:gd name="connsiteX28" fmla="*/ 354423 w 434970"/>
                  <a:gd name="connsiteY28" fmla="*/ 93781 h 95069"/>
                  <a:gd name="connsiteX29" fmla="*/ 370534 w 434970"/>
                  <a:gd name="connsiteY29" fmla="*/ 93781 h 95069"/>
                  <a:gd name="connsiteX30" fmla="*/ 370534 w 434970"/>
                  <a:gd name="connsiteY30" fmla="*/ 31301 h 95069"/>
                  <a:gd name="connsiteX31" fmla="*/ 354423 w 434970"/>
                  <a:gd name="connsiteY31" fmla="*/ 31301 h 95069"/>
                  <a:gd name="connsiteX32" fmla="*/ 354423 w 434970"/>
                  <a:gd name="connsiteY32" fmla="*/ 36328 h 95069"/>
                  <a:gd name="connsiteX33" fmla="*/ 385997 w 434970"/>
                  <a:gd name="connsiteY33" fmla="*/ 93781 h 95069"/>
                  <a:gd name="connsiteX34" fmla="*/ 402749 w 434970"/>
                  <a:gd name="connsiteY34" fmla="*/ 93781 h 95069"/>
                  <a:gd name="connsiteX35" fmla="*/ 402749 w 434970"/>
                  <a:gd name="connsiteY35" fmla="*/ 3617 h 95069"/>
                  <a:gd name="connsiteX36" fmla="*/ 385997 w 434970"/>
                  <a:gd name="connsiteY36" fmla="*/ 7996 h 95069"/>
                  <a:gd name="connsiteX37" fmla="*/ 385997 w 434970"/>
                  <a:gd name="connsiteY37" fmla="*/ 93781 h 95069"/>
                  <a:gd name="connsiteX38" fmla="*/ 239717 w 434970"/>
                  <a:gd name="connsiteY38" fmla="*/ 0 h 95069"/>
                  <a:gd name="connsiteX39" fmla="*/ 228765 w 434970"/>
                  <a:gd name="connsiteY39" fmla="*/ 10690 h 95069"/>
                  <a:gd name="connsiteX40" fmla="*/ 239717 w 434970"/>
                  <a:gd name="connsiteY40" fmla="*/ 21387 h 95069"/>
                  <a:gd name="connsiteX41" fmla="*/ 250676 w 434970"/>
                  <a:gd name="connsiteY41" fmla="*/ 10690 h 95069"/>
                  <a:gd name="connsiteX42" fmla="*/ 239717 w 434970"/>
                  <a:gd name="connsiteY42" fmla="*/ 0 h 95069"/>
                  <a:gd name="connsiteX43" fmla="*/ 48332 w 434970"/>
                  <a:gd name="connsiteY43" fmla="*/ 71881 h 95069"/>
                  <a:gd name="connsiteX44" fmla="*/ 33248 w 434970"/>
                  <a:gd name="connsiteY44" fmla="*/ 79608 h 95069"/>
                  <a:gd name="connsiteX45" fmla="*/ 16752 w 434970"/>
                  <a:gd name="connsiteY45" fmla="*/ 62608 h 95069"/>
                  <a:gd name="connsiteX46" fmla="*/ 32870 w 434970"/>
                  <a:gd name="connsiteY46" fmla="*/ 45473 h 95069"/>
                  <a:gd name="connsiteX47" fmla="*/ 48332 w 434970"/>
                  <a:gd name="connsiteY47" fmla="*/ 53201 h 95069"/>
                  <a:gd name="connsiteX48" fmla="*/ 48332 w 434970"/>
                  <a:gd name="connsiteY48" fmla="*/ 71881 h 95069"/>
                  <a:gd name="connsiteX49" fmla="*/ 48973 w 434970"/>
                  <a:gd name="connsiteY49" fmla="*/ 36328 h 95069"/>
                  <a:gd name="connsiteX50" fmla="*/ 30675 w 434970"/>
                  <a:gd name="connsiteY50" fmla="*/ 30018 h 95069"/>
                  <a:gd name="connsiteX51" fmla="*/ 0 w 434970"/>
                  <a:gd name="connsiteY51" fmla="*/ 62608 h 95069"/>
                  <a:gd name="connsiteX52" fmla="*/ 7988 w 434970"/>
                  <a:gd name="connsiteY52" fmla="*/ 84508 h 95069"/>
                  <a:gd name="connsiteX53" fmla="*/ 31574 w 434970"/>
                  <a:gd name="connsiteY53" fmla="*/ 95070 h 95069"/>
                  <a:gd name="connsiteX54" fmla="*/ 48973 w 434970"/>
                  <a:gd name="connsiteY54" fmla="*/ 88759 h 95069"/>
                  <a:gd name="connsiteX55" fmla="*/ 48973 w 434970"/>
                  <a:gd name="connsiteY55" fmla="*/ 93781 h 95069"/>
                  <a:gd name="connsiteX56" fmla="*/ 65085 w 434970"/>
                  <a:gd name="connsiteY56" fmla="*/ 93781 h 95069"/>
                  <a:gd name="connsiteX57" fmla="*/ 65085 w 434970"/>
                  <a:gd name="connsiteY57" fmla="*/ 31301 h 95069"/>
                  <a:gd name="connsiteX58" fmla="*/ 48973 w 434970"/>
                  <a:gd name="connsiteY58" fmla="*/ 31301 h 95069"/>
                  <a:gd name="connsiteX59" fmla="*/ 48973 w 434970"/>
                  <a:gd name="connsiteY59" fmla="*/ 36328 h 95069"/>
                  <a:gd name="connsiteX60" fmla="*/ 80547 w 434970"/>
                  <a:gd name="connsiteY60" fmla="*/ 93781 h 95069"/>
                  <a:gd name="connsiteX61" fmla="*/ 97306 w 434970"/>
                  <a:gd name="connsiteY61" fmla="*/ 93781 h 95069"/>
                  <a:gd name="connsiteX62" fmla="*/ 97306 w 434970"/>
                  <a:gd name="connsiteY62" fmla="*/ 3617 h 95069"/>
                  <a:gd name="connsiteX63" fmla="*/ 80547 w 434970"/>
                  <a:gd name="connsiteY63" fmla="*/ 7996 h 95069"/>
                  <a:gd name="connsiteX64" fmla="*/ 80547 w 434970"/>
                  <a:gd name="connsiteY64" fmla="*/ 93781 h 95069"/>
                  <a:gd name="connsiteX65" fmla="*/ 188934 w 434970"/>
                  <a:gd name="connsiteY65" fmla="*/ 30012 h 95069"/>
                  <a:gd name="connsiteX66" fmla="*/ 166767 w 434970"/>
                  <a:gd name="connsiteY66" fmla="*/ 39810 h 95069"/>
                  <a:gd name="connsiteX67" fmla="*/ 145760 w 434970"/>
                  <a:gd name="connsiteY67" fmla="*/ 30012 h 95069"/>
                  <a:gd name="connsiteX68" fmla="*/ 128874 w 434970"/>
                  <a:gd name="connsiteY68" fmla="*/ 36328 h 95069"/>
                  <a:gd name="connsiteX69" fmla="*/ 128874 w 434970"/>
                  <a:gd name="connsiteY69" fmla="*/ 31307 h 95069"/>
                  <a:gd name="connsiteX70" fmla="*/ 112756 w 434970"/>
                  <a:gd name="connsiteY70" fmla="*/ 31307 h 95069"/>
                  <a:gd name="connsiteX71" fmla="*/ 112756 w 434970"/>
                  <a:gd name="connsiteY71" fmla="*/ 93787 h 95069"/>
                  <a:gd name="connsiteX72" fmla="*/ 129515 w 434970"/>
                  <a:gd name="connsiteY72" fmla="*/ 93787 h 95069"/>
                  <a:gd name="connsiteX73" fmla="*/ 129515 w 434970"/>
                  <a:gd name="connsiteY73" fmla="*/ 53201 h 95069"/>
                  <a:gd name="connsiteX74" fmla="*/ 144079 w 434970"/>
                  <a:gd name="connsiteY74" fmla="*/ 45473 h 95069"/>
                  <a:gd name="connsiteX75" fmla="*/ 153486 w 434970"/>
                  <a:gd name="connsiteY75" fmla="*/ 49340 h 95069"/>
                  <a:gd name="connsiteX76" fmla="*/ 156578 w 434970"/>
                  <a:gd name="connsiteY76" fmla="*/ 60030 h 95069"/>
                  <a:gd name="connsiteX77" fmla="*/ 156578 w 434970"/>
                  <a:gd name="connsiteY77" fmla="*/ 93781 h 95069"/>
                  <a:gd name="connsiteX78" fmla="*/ 173331 w 434970"/>
                  <a:gd name="connsiteY78" fmla="*/ 93781 h 95069"/>
                  <a:gd name="connsiteX79" fmla="*/ 173331 w 434970"/>
                  <a:gd name="connsiteY79" fmla="*/ 60678 h 95069"/>
                  <a:gd name="connsiteX80" fmla="*/ 172817 w 434970"/>
                  <a:gd name="connsiteY80" fmla="*/ 53714 h 95069"/>
                  <a:gd name="connsiteX81" fmla="*/ 187901 w 434970"/>
                  <a:gd name="connsiteY81" fmla="*/ 45467 h 95069"/>
                  <a:gd name="connsiteX82" fmla="*/ 197307 w 434970"/>
                  <a:gd name="connsiteY82" fmla="*/ 49334 h 95069"/>
                  <a:gd name="connsiteX83" fmla="*/ 200406 w 434970"/>
                  <a:gd name="connsiteY83" fmla="*/ 60024 h 95069"/>
                  <a:gd name="connsiteX84" fmla="*/ 200406 w 434970"/>
                  <a:gd name="connsiteY84" fmla="*/ 93774 h 95069"/>
                  <a:gd name="connsiteX85" fmla="*/ 217152 w 434970"/>
                  <a:gd name="connsiteY85" fmla="*/ 93774 h 95069"/>
                  <a:gd name="connsiteX86" fmla="*/ 217152 w 434970"/>
                  <a:gd name="connsiteY86" fmla="*/ 60671 h 95069"/>
                  <a:gd name="connsiteX87" fmla="*/ 210845 w 434970"/>
                  <a:gd name="connsiteY87" fmla="*/ 40055 h 95069"/>
                  <a:gd name="connsiteX88" fmla="*/ 188934 w 434970"/>
                  <a:gd name="connsiteY88" fmla="*/ 30012 h 95069"/>
                  <a:gd name="connsiteX89" fmla="*/ 231344 w 434970"/>
                  <a:gd name="connsiteY89" fmla="*/ 93781 h 95069"/>
                  <a:gd name="connsiteX90" fmla="*/ 248096 w 434970"/>
                  <a:gd name="connsiteY90" fmla="*/ 93781 h 95069"/>
                  <a:gd name="connsiteX91" fmla="*/ 248096 w 434970"/>
                  <a:gd name="connsiteY91" fmla="*/ 31301 h 95069"/>
                  <a:gd name="connsiteX92" fmla="*/ 231344 w 434970"/>
                  <a:gd name="connsiteY92" fmla="*/ 31301 h 95069"/>
                  <a:gd name="connsiteX93" fmla="*/ 231344 w 434970"/>
                  <a:gd name="connsiteY93" fmla="*/ 93781 h 950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</a:cxnLst>
                <a:rect l="l" t="t" r="r" b="b"/>
                <a:pathLst>
                  <a:path w="434970" h="95069">
                    <a:moveTo>
                      <a:pt x="418218" y="7990"/>
                    </a:moveTo>
                    <a:lnTo>
                      <a:pt x="418218" y="93781"/>
                    </a:lnTo>
                    <a:lnTo>
                      <a:pt x="434970" y="93781"/>
                    </a:lnTo>
                    <a:lnTo>
                      <a:pt x="434970" y="3617"/>
                    </a:lnTo>
                    <a:lnTo>
                      <a:pt x="418218" y="7990"/>
                    </a:lnTo>
                    <a:close/>
                    <a:moveTo>
                      <a:pt x="279670" y="37617"/>
                    </a:moveTo>
                    <a:lnTo>
                      <a:pt x="279670" y="31307"/>
                    </a:lnTo>
                    <a:lnTo>
                      <a:pt x="263565" y="31307"/>
                    </a:lnTo>
                    <a:lnTo>
                      <a:pt x="263565" y="93787"/>
                    </a:lnTo>
                    <a:lnTo>
                      <a:pt x="280306" y="93787"/>
                    </a:lnTo>
                    <a:lnTo>
                      <a:pt x="280306" y="54490"/>
                    </a:lnTo>
                    <a:cubicBezTo>
                      <a:pt x="282365" y="50763"/>
                      <a:pt x="288172" y="45473"/>
                      <a:pt x="295518" y="45473"/>
                    </a:cubicBezTo>
                    <a:cubicBezTo>
                      <a:pt x="297962" y="45473"/>
                      <a:pt x="300413" y="45736"/>
                      <a:pt x="301575" y="46121"/>
                    </a:cubicBezTo>
                    <a:lnTo>
                      <a:pt x="303512" y="30525"/>
                    </a:lnTo>
                    <a:cubicBezTo>
                      <a:pt x="301697" y="30269"/>
                      <a:pt x="300285" y="30012"/>
                      <a:pt x="297834" y="30012"/>
                    </a:cubicBezTo>
                    <a:cubicBezTo>
                      <a:pt x="290237" y="30018"/>
                      <a:pt x="283404" y="32981"/>
                      <a:pt x="279670" y="37617"/>
                    </a:cubicBezTo>
                    <a:moveTo>
                      <a:pt x="353776" y="71881"/>
                    </a:moveTo>
                    <a:cubicBezTo>
                      <a:pt x="350555" y="76517"/>
                      <a:pt x="345005" y="79608"/>
                      <a:pt x="338698" y="79608"/>
                    </a:cubicBezTo>
                    <a:cubicBezTo>
                      <a:pt x="329285" y="79608"/>
                      <a:pt x="322196" y="72394"/>
                      <a:pt x="322196" y="62608"/>
                    </a:cubicBezTo>
                    <a:cubicBezTo>
                      <a:pt x="322196" y="53591"/>
                      <a:pt x="328515" y="45473"/>
                      <a:pt x="338313" y="45473"/>
                    </a:cubicBezTo>
                    <a:cubicBezTo>
                      <a:pt x="344754" y="45473"/>
                      <a:pt x="350297" y="48564"/>
                      <a:pt x="353776" y="53201"/>
                    </a:cubicBezTo>
                    <a:lnTo>
                      <a:pt x="353776" y="71881"/>
                    </a:lnTo>
                    <a:close/>
                    <a:moveTo>
                      <a:pt x="354423" y="36328"/>
                    </a:moveTo>
                    <a:cubicBezTo>
                      <a:pt x="349522" y="32333"/>
                      <a:pt x="343208" y="30018"/>
                      <a:pt x="336124" y="30018"/>
                    </a:cubicBezTo>
                    <a:cubicBezTo>
                      <a:pt x="319110" y="30018"/>
                      <a:pt x="305443" y="44184"/>
                      <a:pt x="305443" y="62608"/>
                    </a:cubicBezTo>
                    <a:cubicBezTo>
                      <a:pt x="305443" y="71117"/>
                      <a:pt x="308536" y="78839"/>
                      <a:pt x="313444" y="84508"/>
                    </a:cubicBezTo>
                    <a:cubicBezTo>
                      <a:pt x="318974" y="90952"/>
                      <a:pt x="327751" y="95070"/>
                      <a:pt x="337023" y="95070"/>
                    </a:cubicBezTo>
                    <a:cubicBezTo>
                      <a:pt x="343337" y="95070"/>
                      <a:pt x="349265" y="93139"/>
                      <a:pt x="354423" y="88759"/>
                    </a:cubicBezTo>
                    <a:lnTo>
                      <a:pt x="354423" y="93781"/>
                    </a:lnTo>
                    <a:lnTo>
                      <a:pt x="370534" y="93781"/>
                    </a:lnTo>
                    <a:lnTo>
                      <a:pt x="370534" y="31301"/>
                    </a:lnTo>
                    <a:lnTo>
                      <a:pt x="354423" y="31301"/>
                    </a:lnTo>
                    <a:lnTo>
                      <a:pt x="354423" y="36328"/>
                    </a:lnTo>
                    <a:close/>
                    <a:moveTo>
                      <a:pt x="385997" y="93781"/>
                    </a:moveTo>
                    <a:lnTo>
                      <a:pt x="402749" y="93781"/>
                    </a:lnTo>
                    <a:lnTo>
                      <a:pt x="402749" y="3617"/>
                    </a:lnTo>
                    <a:lnTo>
                      <a:pt x="385997" y="7996"/>
                    </a:lnTo>
                    <a:lnTo>
                      <a:pt x="385997" y="93781"/>
                    </a:lnTo>
                    <a:close/>
                    <a:moveTo>
                      <a:pt x="239717" y="0"/>
                    </a:moveTo>
                    <a:cubicBezTo>
                      <a:pt x="233660" y="0"/>
                      <a:pt x="228765" y="4643"/>
                      <a:pt x="228765" y="10690"/>
                    </a:cubicBezTo>
                    <a:cubicBezTo>
                      <a:pt x="228765" y="16750"/>
                      <a:pt x="233660" y="21387"/>
                      <a:pt x="239717" y="21387"/>
                    </a:cubicBezTo>
                    <a:cubicBezTo>
                      <a:pt x="245774" y="21387"/>
                      <a:pt x="250676" y="16750"/>
                      <a:pt x="250676" y="10690"/>
                    </a:cubicBezTo>
                    <a:cubicBezTo>
                      <a:pt x="250676" y="4643"/>
                      <a:pt x="245774" y="0"/>
                      <a:pt x="239717" y="0"/>
                    </a:cubicBezTo>
                    <a:moveTo>
                      <a:pt x="48332" y="71881"/>
                    </a:moveTo>
                    <a:cubicBezTo>
                      <a:pt x="45117" y="76517"/>
                      <a:pt x="39568" y="79608"/>
                      <a:pt x="33248" y="79608"/>
                    </a:cubicBezTo>
                    <a:cubicBezTo>
                      <a:pt x="23842" y="79608"/>
                      <a:pt x="16752" y="72394"/>
                      <a:pt x="16752" y="62608"/>
                    </a:cubicBezTo>
                    <a:cubicBezTo>
                      <a:pt x="16752" y="53591"/>
                      <a:pt x="23072" y="45473"/>
                      <a:pt x="32870" y="45473"/>
                    </a:cubicBezTo>
                    <a:cubicBezTo>
                      <a:pt x="39317" y="45473"/>
                      <a:pt x="44860" y="48564"/>
                      <a:pt x="48332" y="53201"/>
                    </a:cubicBezTo>
                    <a:lnTo>
                      <a:pt x="48332" y="71881"/>
                    </a:lnTo>
                    <a:close/>
                    <a:moveTo>
                      <a:pt x="48973" y="36328"/>
                    </a:moveTo>
                    <a:cubicBezTo>
                      <a:pt x="44079" y="32333"/>
                      <a:pt x="37759" y="30018"/>
                      <a:pt x="30675" y="30018"/>
                    </a:cubicBezTo>
                    <a:cubicBezTo>
                      <a:pt x="13660" y="30018"/>
                      <a:pt x="0" y="44184"/>
                      <a:pt x="0" y="62608"/>
                    </a:cubicBezTo>
                    <a:cubicBezTo>
                      <a:pt x="0" y="71117"/>
                      <a:pt x="3092" y="78839"/>
                      <a:pt x="7988" y="84508"/>
                    </a:cubicBezTo>
                    <a:cubicBezTo>
                      <a:pt x="13531" y="90952"/>
                      <a:pt x="22296" y="95070"/>
                      <a:pt x="31574" y="95070"/>
                    </a:cubicBezTo>
                    <a:cubicBezTo>
                      <a:pt x="37887" y="95070"/>
                      <a:pt x="43822" y="93139"/>
                      <a:pt x="48973" y="88759"/>
                    </a:cubicBezTo>
                    <a:lnTo>
                      <a:pt x="48973" y="93781"/>
                    </a:lnTo>
                    <a:lnTo>
                      <a:pt x="65085" y="93781"/>
                    </a:lnTo>
                    <a:lnTo>
                      <a:pt x="65085" y="31301"/>
                    </a:lnTo>
                    <a:lnTo>
                      <a:pt x="48973" y="31301"/>
                    </a:lnTo>
                    <a:lnTo>
                      <a:pt x="48973" y="36328"/>
                    </a:lnTo>
                    <a:close/>
                    <a:moveTo>
                      <a:pt x="80547" y="93781"/>
                    </a:moveTo>
                    <a:lnTo>
                      <a:pt x="97306" y="93781"/>
                    </a:lnTo>
                    <a:lnTo>
                      <a:pt x="97306" y="3617"/>
                    </a:lnTo>
                    <a:lnTo>
                      <a:pt x="80547" y="7996"/>
                    </a:lnTo>
                    <a:lnTo>
                      <a:pt x="80547" y="93781"/>
                    </a:lnTo>
                    <a:close/>
                    <a:moveTo>
                      <a:pt x="188934" y="30012"/>
                    </a:moveTo>
                    <a:cubicBezTo>
                      <a:pt x="179650" y="30012"/>
                      <a:pt x="171791" y="34526"/>
                      <a:pt x="166767" y="39810"/>
                    </a:cubicBezTo>
                    <a:cubicBezTo>
                      <a:pt x="161865" y="33879"/>
                      <a:pt x="154262" y="30012"/>
                      <a:pt x="145760" y="30012"/>
                    </a:cubicBezTo>
                    <a:cubicBezTo>
                      <a:pt x="139704" y="30012"/>
                      <a:pt x="133775" y="31949"/>
                      <a:pt x="128874" y="36328"/>
                    </a:cubicBezTo>
                    <a:lnTo>
                      <a:pt x="128874" y="31307"/>
                    </a:lnTo>
                    <a:lnTo>
                      <a:pt x="112756" y="31307"/>
                    </a:lnTo>
                    <a:lnTo>
                      <a:pt x="112756" y="93787"/>
                    </a:lnTo>
                    <a:lnTo>
                      <a:pt x="129515" y="93787"/>
                    </a:lnTo>
                    <a:lnTo>
                      <a:pt x="129515" y="53201"/>
                    </a:lnTo>
                    <a:cubicBezTo>
                      <a:pt x="131831" y="50250"/>
                      <a:pt x="136996" y="45473"/>
                      <a:pt x="144079" y="45473"/>
                    </a:cubicBezTo>
                    <a:cubicBezTo>
                      <a:pt x="147294" y="45473"/>
                      <a:pt x="150907" y="46506"/>
                      <a:pt x="153486" y="49340"/>
                    </a:cubicBezTo>
                    <a:cubicBezTo>
                      <a:pt x="155417" y="51527"/>
                      <a:pt x="156578" y="54361"/>
                      <a:pt x="156578" y="60030"/>
                    </a:cubicBezTo>
                    <a:lnTo>
                      <a:pt x="156578" y="93781"/>
                    </a:lnTo>
                    <a:lnTo>
                      <a:pt x="173331" y="93781"/>
                    </a:lnTo>
                    <a:lnTo>
                      <a:pt x="173331" y="60678"/>
                    </a:lnTo>
                    <a:cubicBezTo>
                      <a:pt x="173331" y="58100"/>
                      <a:pt x="173074" y="55772"/>
                      <a:pt x="172817" y="53714"/>
                    </a:cubicBezTo>
                    <a:cubicBezTo>
                      <a:pt x="175011" y="50501"/>
                      <a:pt x="180677" y="45467"/>
                      <a:pt x="187901" y="45467"/>
                    </a:cubicBezTo>
                    <a:cubicBezTo>
                      <a:pt x="191116" y="45467"/>
                      <a:pt x="194728" y="46499"/>
                      <a:pt x="197307" y="49334"/>
                    </a:cubicBezTo>
                    <a:cubicBezTo>
                      <a:pt x="199239" y="51521"/>
                      <a:pt x="200406" y="54355"/>
                      <a:pt x="200406" y="60024"/>
                    </a:cubicBezTo>
                    <a:lnTo>
                      <a:pt x="200406" y="93774"/>
                    </a:lnTo>
                    <a:lnTo>
                      <a:pt x="217152" y="93774"/>
                    </a:lnTo>
                    <a:lnTo>
                      <a:pt x="217152" y="60671"/>
                    </a:lnTo>
                    <a:cubicBezTo>
                      <a:pt x="217152" y="51392"/>
                      <a:pt x="214830" y="44954"/>
                      <a:pt x="210845" y="40055"/>
                    </a:cubicBezTo>
                    <a:cubicBezTo>
                      <a:pt x="205821" y="33879"/>
                      <a:pt x="197582" y="30012"/>
                      <a:pt x="188934" y="30012"/>
                    </a:cubicBezTo>
                    <a:moveTo>
                      <a:pt x="231344" y="93781"/>
                    </a:moveTo>
                    <a:lnTo>
                      <a:pt x="248096" y="93781"/>
                    </a:lnTo>
                    <a:lnTo>
                      <a:pt x="248096" y="31301"/>
                    </a:lnTo>
                    <a:lnTo>
                      <a:pt x="231344" y="31301"/>
                    </a:lnTo>
                    <a:lnTo>
                      <a:pt x="231344" y="93781"/>
                    </a:lnTo>
                    <a:close/>
                  </a:path>
                </a:pathLst>
              </a:custGeom>
              <a:solidFill>
                <a:schemeClr val="tx2"/>
              </a:solidFill>
              <a:ln w="611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_tradnl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6F6F6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</p:grpSp>
      <p:sp>
        <p:nvSpPr>
          <p:cNvPr id="4" name="CuadroTexto 3">
            <a:extLst>
              <a:ext uri="{FF2B5EF4-FFF2-40B4-BE49-F238E27FC236}">
                <a16:creationId xmlns:a16="http://schemas.microsoft.com/office/drawing/2014/main" id="{D71BBBED-C082-9129-962D-7BE8E334FE01}"/>
              </a:ext>
            </a:extLst>
          </p:cNvPr>
          <p:cNvSpPr txBox="1"/>
          <p:nvPr/>
        </p:nvSpPr>
        <p:spPr>
          <a:xfrm>
            <a:off x="1050122" y="1996698"/>
            <a:ext cx="7205472" cy="261629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4267" b="1" i="0" u="none" strike="noStrike" kern="1200" cap="none" spc="0" normalizeH="0" baseline="0" noProof="0" dirty="0">
                <a:ln>
                  <a:noFill/>
                </a:ln>
                <a:solidFill>
                  <a:srgbClr val="00F0B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nfermedad Arterial Periférica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4267" b="1" i="0" u="none" strike="noStrike" kern="1200" cap="none" spc="0" normalizeH="0" baseline="0" noProof="0" dirty="0">
              <a:ln>
                <a:noFill/>
              </a:ln>
              <a:solidFill>
                <a:srgbClr val="00F0B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ES" sz="3600" b="1" dirty="0">
                <a:solidFill>
                  <a:srgbClr val="00F0BE"/>
                </a:solidFill>
                <a:latin typeface="Arial"/>
              </a:rPr>
              <a:t>RCV y Manejo</a:t>
            </a:r>
            <a:endParaRPr kumimoji="0" lang="es-ES" sz="3600" b="1" i="0" u="none" strike="noStrike" kern="1200" cap="none" spc="0" normalizeH="0" baseline="0" noProof="0" dirty="0">
              <a:ln>
                <a:noFill/>
              </a:ln>
              <a:solidFill>
                <a:srgbClr val="00F0B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" name="CuadroTexto 5">
            <a:extLst>
              <a:ext uri="{FF2B5EF4-FFF2-40B4-BE49-F238E27FC236}">
                <a16:creationId xmlns:a16="http://schemas.microsoft.com/office/drawing/2014/main" id="{3BA3C499-A028-28D6-BC47-33C1F54C7CAB}"/>
              </a:ext>
            </a:extLst>
          </p:cNvPr>
          <p:cNvSpPr txBox="1"/>
          <p:nvPr/>
        </p:nvSpPr>
        <p:spPr>
          <a:xfrm>
            <a:off x="458014" y="5936115"/>
            <a:ext cx="5432612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ES" sz="1600" dirty="0">
                <a:solidFill>
                  <a:srgbClr val="00F0BE">
                    <a:lumMod val="60000"/>
                    <a:lumOff val="40000"/>
                  </a:srgbClr>
                </a:solidFill>
                <a:latin typeface="Arial"/>
              </a:rPr>
              <a:t>Fecha de elaboración </a:t>
            </a:r>
            <a:r>
              <a:rPr kumimoji="0" lang="es-ES" sz="1600" b="0" i="0" u="none" strike="noStrike" kern="1200" cap="none" spc="0" normalizeH="0" baseline="0" noProof="0" dirty="0">
                <a:ln>
                  <a:noFill/>
                </a:ln>
                <a:solidFill>
                  <a:srgbClr val="00F0BE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ptiembre 2025</a:t>
            </a: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ES" sz="1600" dirty="0">
                <a:solidFill>
                  <a:srgbClr val="00F0BE">
                    <a:lumMod val="60000"/>
                    <a:lumOff val="40000"/>
                  </a:srgbClr>
                </a:solidFill>
                <a:latin typeface="Arial"/>
              </a:rPr>
              <a:t>Dr./Dra.____________________</a:t>
            </a:r>
            <a:endParaRPr kumimoji="0" lang="es-ES" sz="1600" b="0" i="0" u="none" strike="noStrike" kern="1200" cap="none" spc="0" normalizeH="0" baseline="0" noProof="0" dirty="0">
              <a:ln>
                <a:noFill/>
              </a:ln>
              <a:solidFill>
                <a:srgbClr val="00F0BE">
                  <a:lumMod val="60000"/>
                  <a:lumOff val="40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" name="CuadroTexto 8">
            <a:extLst>
              <a:ext uri="{FF2B5EF4-FFF2-40B4-BE49-F238E27FC236}">
                <a16:creationId xmlns:a16="http://schemas.microsoft.com/office/drawing/2014/main" id="{823CAA23-1701-4393-FDAA-1F0FB9197091}"/>
              </a:ext>
            </a:extLst>
          </p:cNvPr>
          <p:cNvSpPr txBox="1"/>
          <p:nvPr/>
        </p:nvSpPr>
        <p:spPr>
          <a:xfrm>
            <a:off x="4448556" y="6519538"/>
            <a:ext cx="2510028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s-ES" sz="1400" dirty="0">
                <a:solidFill>
                  <a:schemeClr val="bg1">
                    <a:lumMod val="75000"/>
                  </a:schemeClr>
                </a:solidFill>
              </a:rPr>
              <a:t>MA-ES-NOP-2500037</a:t>
            </a:r>
          </a:p>
        </p:txBody>
      </p:sp>
    </p:spTree>
    <p:extLst>
      <p:ext uri="{BB962C8B-B14F-4D97-AF65-F5344CB8AC3E}">
        <p14:creationId xmlns:p14="http://schemas.microsoft.com/office/powerpoint/2010/main" val="25822274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0C52D662-17E0-93EB-72C3-525DAAC07DE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4955" y="205380"/>
            <a:ext cx="11402089" cy="760793"/>
          </a:xfrm>
        </p:spPr>
        <p:txBody>
          <a:bodyPr lIns="0" tIns="0" rIns="0" bIns="0" anchor="ctr">
            <a:normAutofit fontScale="90000"/>
          </a:bodyPr>
          <a:lstStyle/>
          <a:p>
            <a:pPr algn="ctr" defTabSz="914377">
              <a:lnSpc>
                <a:spcPct val="90000"/>
              </a:lnSpc>
            </a:pPr>
            <a:r>
              <a:rPr lang="es-ES_tradnl" sz="2800" dirty="0"/>
              <a:t>Cribado de los pacientes con enfermedad arterial periférica </a:t>
            </a:r>
            <a:r>
              <a:rPr lang="es-ES_tradnl" sz="2800" dirty="0" err="1"/>
              <a:t>asíntomatica</a:t>
            </a:r>
            <a:endParaRPr lang="es-ES" sz="2800" dirty="0"/>
          </a:p>
        </p:txBody>
      </p:sp>
      <p:pic>
        <p:nvPicPr>
          <p:cNvPr id="4" name="Imagen 3">
            <a:extLst>
              <a:ext uri="{FF2B5EF4-FFF2-40B4-BE49-F238E27FC236}">
                <a16:creationId xmlns:a16="http://schemas.microsoft.com/office/drawing/2014/main" id="{78AB39CE-A447-56B8-329C-63D24A5E0E91}"/>
              </a:ext>
            </a:extLst>
          </p:cNvPr>
          <p:cNvPicPr>
            <a:picLocks noChangeAspect="1"/>
          </p:cNvPicPr>
          <p:nvPr/>
        </p:nvPicPr>
        <p:blipFill>
          <a:blip r:embed="rId2">
            <a:clrChange>
              <a:clrFrom>
                <a:srgbClr val="EBEBEB"/>
              </a:clrFrom>
              <a:clrTo>
                <a:srgbClr val="EBEBEB">
                  <a:alpha val="0"/>
                </a:srgbClr>
              </a:clrTo>
            </a:clrChang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colorTemperature colorTemp="47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625600" y="2459369"/>
            <a:ext cx="8940800" cy="3456931"/>
          </a:xfrm>
          <a:prstGeom prst="rect">
            <a:avLst/>
          </a:prstGeom>
        </p:spPr>
      </p:pic>
      <p:sp>
        <p:nvSpPr>
          <p:cNvPr id="6" name="CuadroTexto 5">
            <a:extLst>
              <a:ext uri="{FF2B5EF4-FFF2-40B4-BE49-F238E27FC236}">
                <a16:creationId xmlns:a16="http://schemas.microsoft.com/office/drawing/2014/main" id="{6149819B-2302-6EDC-1377-EAC42084CFA0}"/>
              </a:ext>
            </a:extLst>
          </p:cNvPr>
          <p:cNvSpPr txBox="1"/>
          <p:nvPr/>
        </p:nvSpPr>
        <p:spPr>
          <a:xfrm>
            <a:off x="3048000" y="6067489"/>
            <a:ext cx="6096000" cy="338554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>
            <a:defPPr>
              <a:defRPr lang="es-ES"/>
            </a:defPPr>
            <a:lvl1pPr algn="ctr">
              <a:defRPr sz="700" b="1" i="1">
                <a:solidFill>
                  <a:schemeClr val="accent1"/>
                </a:solidFill>
                <a:effectLst/>
              </a:defRPr>
            </a:lvl1pPr>
          </a:lstStyle>
          <a:p>
            <a:r>
              <a:rPr lang="es-ES" dirty="0"/>
              <a:t>1. </a:t>
            </a:r>
            <a:r>
              <a:rPr lang="es-ES" b="0" dirty="0"/>
              <a:t>Barrios V, et al. Manejo integral de los factores de riesgo en enfermedad arterial periférica. Consenso de expertos. Revista Clínica Española 222 (2022) 82-90. doi:10.1016/j.rce.2020.11.006</a:t>
            </a:r>
          </a:p>
        </p:txBody>
      </p:sp>
      <p:sp>
        <p:nvSpPr>
          <p:cNvPr id="3" name="CuadroTexto 2">
            <a:extLst>
              <a:ext uri="{FF2B5EF4-FFF2-40B4-BE49-F238E27FC236}">
                <a16:creationId xmlns:a16="http://schemas.microsoft.com/office/drawing/2014/main" id="{4CAE7094-F5FF-B3A0-9DAC-706399F0987D}"/>
              </a:ext>
            </a:extLst>
          </p:cNvPr>
          <p:cNvSpPr txBox="1"/>
          <p:nvPr/>
        </p:nvSpPr>
        <p:spPr>
          <a:xfrm>
            <a:off x="1560576" y="1407227"/>
            <a:ext cx="4255008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s-ES" sz="1400" dirty="0">
                <a:solidFill>
                  <a:schemeClr val="accent1"/>
                </a:solidFill>
              </a:rPr>
              <a:t>En personas asintomáticos, se recomienda hacer un cribado cuando el paciente presenta otros factores de riesgo como</a:t>
            </a:r>
            <a:r>
              <a:rPr lang="es-ES" sz="1400" baseline="30000" dirty="0">
                <a:solidFill>
                  <a:schemeClr val="accent1"/>
                </a:solidFill>
              </a:rPr>
              <a:t>1</a:t>
            </a:r>
            <a:r>
              <a:rPr lang="es-ES" sz="1400" dirty="0">
                <a:solidFill>
                  <a:schemeClr val="accent1"/>
                </a:solidFill>
              </a:rPr>
              <a:t>:</a:t>
            </a:r>
          </a:p>
        </p:txBody>
      </p:sp>
      <p:sp>
        <p:nvSpPr>
          <p:cNvPr id="5" name="CuadroTexto 4">
            <a:extLst>
              <a:ext uri="{FF2B5EF4-FFF2-40B4-BE49-F238E27FC236}">
                <a16:creationId xmlns:a16="http://schemas.microsoft.com/office/drawing/2014/main" id="{800DD966-1CDA-EF84-9DC8-876F7B5897C3}"/>
              </a:ext>
            </a:extLst>
          </p:cNvPr>
          <p:cNvSpPr txBox="1"/>
          <p:nvPr/>
        </p:nvSpPr>
        <p:spPr>
          <a:xfrm>
            <a:off x="6376418" y="1383947"/>
            <a:ext cx="4038600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s-ES" sz="1400" dirty="0">
                <a:solidFill>
                  <a:schemeClr val="accent1"/>
                </a:solidFill>
              </a:rPr>
              <a:t>Tener diabetes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s-ES" sz="1400" dirty="0">
                <a:solidFill>
                  <a:schemeClr val="accent1"/>
                </a:solidFill>
              </a:rPr>
              <a:t>Tener &gt;50 años y fumador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s-ES" sz="1400" dirty="0">
                <a:solidFill>
                  <a:schemeClr val="accent1"/>
                </a:solidFill>
              </a:rPr>
              <a:t>Tener &gt;50 años y otros factores de riesgo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s-ES" sz="1400" dirty="0">
                <a:solidFill>
                  <a:schemeClr val="accent1"/>
                </a:solidFill>
              </a:rPr>
              <a:t>Tener edad avanzada </a:t>
            </a:r>
          </a:p>
        </p:txBody>
      </p:sp>
      <p:sp>
        <p:nvSpPr>
          <p:cNvPr id="7" name="CuadroTexto 6">
            <a:extLst>
              <a:ext uri="{FF2B5EF4-FFF2-40B4-BE49-F238E27FC236}">
                <a16:creationId xmlns:a16="http://schemas.microsoft.com/office/drawing/2014/main" id="{8B103FF9-3976-DFED-F78C-3BD6CFEDED62}"/>
              </a:ext>
            </a:extLst>
          </p:cNvPr>
          <p:cNvSpPr txBox="1"/>
          <p:nvPr/>
        </p:nvSpPr>
        <p:spPr>
          <a:xfrm rot="16200000">
            <a:off x="10611613" y="3657467"/>
            <a:ext cx="2510028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s-ES" sz="1400" dirty="0">
                <a:solidFill>
                  <a:schemeClr val="bg1">
                    <a:lumMod val="95000"/>
                  </a:schemeClr>
                </a:solidFill>
              </a:rPr>
              <a:t>MA-ES-NOP-2500037</a:t>
            </a:r>
          </a:p>
        </p:txBody>
      </p:sp>
    </p:spTree>
    <p:extLst>
      <p:ext uri="{BB962C8B-B14F-4D97-AF65-F5344CB8AC3E}">
        <p14:creationId xmlns:p14="http://schemas.microsoft.com/office/powerpoint/2010/main" val="204949522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E064A50-6F69-7C95-54CB-FDA23A754E3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6 CuadroTexto">
            <a:extLst>
              <a:ext uri="{FF2B5EF4-FFF2-40B4-BE49-F238E27FC236}">
                <a16:creationId xmlns:a16="http://schemas.microsoft.com/office/drawing/2014/main" id="{CBA3CF48-A0DC-490D-4699-BFD320F3AD07}"/>
              </a:ext>
            </a:extLst>
          </p:cNvPr>
          <p:cNvSpPr txBox="1"/>
          <p:nvPr/>
        </p:nvSpPr>
        <p:spPr>
          <a:xfrm>
            <a:off x="6556313" y="3562763"/>
            <a:ext cx="165618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_tradn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9" name="Título 3">
            <a:extLst>
              <a:ext uri="{FF2B5EF4-FFF2-40B4-BE49-F238E27FC236}">
                <a16:creationId xmlns:a16="http://schemas.microsoft.com/office/drawing/2014/main" id="{6680BD2F-2A70-DCEA-669C-E2771F0CDCDD}"/>
              </a:ext>
            </a:extLst>
          </p:cNvPr>
          <p:cNvSpPr txBox="1">
            <a:spLocks/>
          </p:cNvSpPr>
          <p:nvPr/>
        </p:nvSpPr>
        <p:spPr>
          <a:xfrm>
            <a:off x="237744" y="313642"/>
            <a:ext cx="11704320" cy="646331"/>
          </a:xfrm>
          <a:prstGeom prst="rect">
            <a:avLst/>
          </a:prstGeom>
        </p:spPr>
        <p:txBody>
          <a:bodyPr lIns="0" tIns="0" rIns="0" bIns="0" anchor="ctr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067" kern="1200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s-ES_tradnl" sz="2600" b="1" dirty="0"/>
              <a:t>Manejo holístico y multidisciplinario de la enfermedad arterial periférica</a:t>
            </a:r>
            <a:endParaRPr lang="es-ES" sz="2600" b="1" dirty="0"/>
          </a:p>
        </p:txBody>
      </p:sp>
      <p:sp>
        <p:nvSpPr>
          <p:cNvPr id="20" name="CuadroTexto 19">
            <a:extLst>
              <a:ext uri="{FF2B5EF4-FFF2-40B4-BE49-F238E27FC236}">
                <a16:creationId xmlns:a16="http://schemas.microsoft.com/office/drawing/2014/main" id="{C26B0A81-118C-6F63-315B-0096F3E21CC1}"/>
              </a:ext>
            </a:extLst>
          </p:cNvPr>
          <p:cNvSpPr txBox="1"/>
          <p:nvPr/>
        </p:nvSpPr>
        <p:spPr>
          <a:xfrm>
            <a:off x="1155942" y="3886210"/>
            <a:ext cx="5443166" cy="1384995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r>
              <a:rPr lang="es-ES" sz="1400" dirty="0">
                <a:solidFill>
                  <a:schemeClr val="accent1"/>
                </a:solidFill>
              </a:rPr>
              <a:t>Un buen pronóstico requiere optimizar</a:t>
            </a:r>
            <a:r>
              <a:rPr lang="es-ES" sz="1400" baseline="30000" dirty="0">
                <a:solidFill>
                  <a:schemeClr val="accent1"/>
                </a:solidFill>
              </a:rPr>
              <a:t>1</a:t>
            </a:r>
            <a:r>
              <a:rPr lang="es-ES" sz="1400" dirty="0">
                <a:solidFill>
                  <a:schemeClr val="accent1"/>
                </a:solidFill>
              </a:rPr>
              <a:t>:</a:t>
            </a:r>
          </a:p>
          <a:p>
            <a:pPr marL="285750" indent="-285750">
              <a:buFontTx/>
              <a:buChar char="-"/>
            </a:pPr>
            <a:r>
              <a:rPr lang="es-ES" sz="1400" dirty="0">
                <a:solidFill>
                  <a:schemeClr val="accent1"/>
                </a:solidFill>
              </a:rPr>
              <a:t>La prevención</a:t>
            </a:r>
          </a:p>
          <a:p>
            <a:pPr marL="285750" indent="-285750">
              <a:buFontTx/>
              <a:buChar char="-"/>
            </a:pPr>
            <a:r>
              <a:rPr lang="es-ES" sz="1400" dirty="0">
                <a:solidFill>
                  <a:schemeClr val="accent1"/>
                </a:solidFill>
              </a:rPr>
              <a:t>El diagnóstico</a:t>
            </a:r>
          </a:p>
          <a:p>
            <a:pPr marL="285750" indent="-285750">
              <a:buFontTx/>
              <a:buChar char="-"/>
            </a:pPr>
            <a:r>
              <a:rPr lang="es-ES" sz="1400" dirty="0">
                <a:solidFill>
                  <a:schemeClr val="accent1"/>
                </a:solidFill>
              </a:rPr>
              <a:t>El tratamiento</a:t>
            </a:r>
          </a:p>
          <a:p>
            <a:pPr marL="285750" indent="-285750">
              <a:buFontTx/>
              <a:buChar char="-"/>
            </a:pPr>
            <a:r>
              <a:rPr lang="es-ES" sz="1400" dirty="0">
                <a:solidFill>
                  <a:schemeClr val="accent1"/>
                </a:solidFill>
              </a:rPr>
              <a:t>El seguimiento </a:t>
            </a:r>
          </a:p>
          <a:p>
            <a:pPr marL="285750" indent="-285750">
              <a:buFontTx/>
              <a:buChar char="-"/>
            </a:pPr>
            <a:r>
              <a:rPr lang="es-ES" sz="1400" dirty="0">
                <a:solidFill>
                  <a:schemeClr val="accent1"/>
                </a:solidFill>
              </a:rPr>
              <a:t>Y la implicación de un equipo multidisciplinar</a:t>
            </a:r>
          </a:p>
        </p:txBody>
      </p:sp>
      <p:pic>
        <p:nvPicPr>
          <p:cNvPr id="15" name="Imagen 14">
            <a:extLst>
              <a:ext uri="{FF2B5EF4-FFF2-40B4-BE49-F238E27FC236}">
                <a16:creationId xmlns:a16="http://schemas.microsoft.com/office/drawing/2014/main" id="{133F8758-BB54-1EF7-E1BC-0719E6B0A4C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02436" y="2302470"/>
            <a:ext cx="5150178" cy="1218133"/>
          </a:xfrm>
          <a:prstGeom prst="rect">
            <a:avLst/>
          </a:prstGeom>
        </p:spPr>
      </p:pic>
      <p:pic>
        <p:nvPicPr>
          <p:cNvPr id="18" name="Imagen 17">
            <a:extLst>
              <a:ext uri="{FF2B5EF4-FFF2-40B4-BE49-F238E27FC236}">
                <a16:creationId xmlns:a16="http://schemas.microsoft.com/office/drawing/2014/main" id="{90B2C34A-DCB4-2135-52B0-F5A1F9648D1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990157" y="1168828"/>
            <a:ext cx="4258780" cy="5477467"/>
          </a:xfrm>
          <a:prstGeom prst="rect">
            <a:avLst/>
          </a:prstGeom>
        </p:spPr>
      </p:pic>
      <p:sp>
        <p:nvSpPr>
          <p:cNvPr id="10" name="CuadroTexto 9">
            <a:extLst>
              <a:ext uri="{FF2B5EF4-FFF2-40B4-BE49-F238E27FC236}">
                <a16:creationId xmlns:a16="http://schemas.microsoft.com/office/drawing/2014/main" id="{9E99B892-403A-115A-DE4C-2CAEAA66D4A9}"/>
              </a:ext>
            </a:extLst>
          </p:cNvPr>
          <p:cNvSpPr txBox="1"/>
          <p:nvPr/>
        </p:nvSpPr>
        <p:spPr>
          <a:xfrm>
            <a:off x="1315363" y="5636812"/>
            <a:ext cx="500451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s-ES"/>
            </a:defPPr>
            <a:lvl1pPr algn="ctr">
              <a:defRPr sz="700" b="0" i="1">
                <a:solidFill>
                  <a:schemeClr val="accent1"/>
                </a:solidFill>
                <a:effectLst/>
              </a:defRPr>
            </a:lvl1pPr>
          </a:lstStyle>
          <a:p>
            <a:r>
              <a:rPr lang="es-ES" dirty="0"/>
              <a:t>1. </a:t>
            </a:r>
            <a:r>
              <a:rPr lang="es-ES" dirty="0" err="1"/>
              <a:t>Mazzolai</a:t>
            </a:r>
            <a:r>
              <a:rPr lang="es-ES" dirty="0"/>
              <a:t> L, et al. 2024 ESC </a:t>
            </a:r>
            <a:r>
              <a:rPr lang="es-ES" dirty="0" err="1"/>
              <a:t>Guidelines</a:t>
            </a:r>
            <a:r>
              <a:rPr lang="es-ES" dirty="0"/>
              <a:t> </a:t>
            </a:r>
            <a:r>
              <a:rPr lang="es-ES" dirty="0" err="1"/>
              <a:t>for</a:t>
            </a:r>
            <a:r>
              <a:rPr lang="es-ES" dirty="0"/>
              <a:t> </a:t>
            </a:r>
            <a:r>
              <a:rPr lang="es-ES" dirty="0" err="1"/>
              <a:t>the</a:t>
            </a:r>
            <a:r>
              <a:rPr lang="es-ES" dirty="0"/>
              <a:t> </a:t>
            </a:r>
            <a:r>
              <a:rPr lang="es-ES" dirty="0" err="1"/>
              <a:t>management</a:t>
            </a:r>
            <a:r>
              <a:rPr lang="es-ES" dirty="0"/>
              <a:t> </a:t>
            </a:r>
            <a:r>
              <a:rPr lang="es-ES" dirty="0" err="1"/>
              <a:t>of</a:t>
            </a:r>
            <a:r>
              <a:rPr lang="es-ES" dirty="0"/>
              <a:t> </a:t>
            </a:r>
            <a:r>
              <a:rPr lang="es-ES" dirty="0" err="1"/>
              <a:t>peripheral</a:t>
            </a:r>
            <a:r>
              <a:rPr lang="es-ES" dirty="0"/>
              <a:t> arterial and </a:t>
            </a:r>
            <a:r>
              <a:rPr lang="es-ES" dirty="0" err="1"/>
              <a:t>aortic</a:t>
            </a:r>
            <a:r>
              <a:rPr lang="es-ES" dirty="0"/>
              <a:t> </a:t>
            </a:r>
            <a:r>
              <a:rPr lang="es-ES" dirty="0" err="1"/>
              <a:t>diseases</a:t>
            </a:r>
            <a:r>
              <a:rPr lang="es-ES" dirty="0"/>
              <a:t>.</a:t>
            </a:r>
          </a:p>
          <a:p>
            <a:r>
              <a:rPr lang="es-ES" dirty="0" err="1"/>
              <a:t>Eur</a:t>
            </a:r>
            <a:r>
              <a:rPr lang="es-ES" dirty="0"/>
              <a:t> Heart J. 2024 </a:t>
            </a:r>
            <a:r>
              <a:rPr lang="es-ES" dirty="0" err="1"/>
              <a:t>Sep</a:t>
            </a:r>
            <a:r>
              <a:rPr lang="es-ES" dirty="0"/>
              <a:t> 29;45(36):3538-3700. </a:t>
            </a:r>
            <a:r>
              <a:rPr lang="es-ES" dirty="0" err="1"/>
              <a:t>doi</a:t>
            </a:r>
            <a:r>
              <a:rPr lang="es-ES" dirty="0"/>
              <a:t>: 10.1093/</a:t>
            </a:r>
            <a:r>
              <a:rPr lang="es-ES" dirty="0" err="1"/>
              <a:t>eurheartj</a:t>
            </a:r>
            <a:r>
              <a:rPr lang="es-ES" dirty="0"/>
              <a:t>/ehae179.</a:t>
            </a:r>
          </a:p>
        </p:txBody>
      </p:sp>
      <p:sp>
        <p:nvSpPr>
          <p:cNvPr id="19" name="CuadroTexto 18">
            <a:extLst>
              <a:ext uri="{FF2B5EF4-FFF2-40B4-BE49-F238E27FC236}">
                <a16:creationId xmlns:a16="http://schemas.microsoft.com/office/drawing/2014/main" id="{B8937DFA-2AC7-C0B2-C0AD-A8E1B49D0F22}"/>
              </a:ext>
            </a:extLst>
          </p:cNvPr>
          <p:cNvSpPr txBox="1"/>
          <p:nvPr/>
        </p:nvSpPr>
        <p:spPr>
          <a:xfrm>
            <a:off x="2931228" y="2356063"/>
            <a:ext cx="330387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s-ES" sz="1800" baseline="30000" dirty="0">
                <a:solidFill>
                  <a:schemeClr val="accent1"/>
                </a:solidFill>
              </a:rPr>
              <a:t>1</a:t>
            </a:r>
            <a:endParaRPr lang="es-ES" dirty="0"/>
          </a:p>
        </p:txBody>
      </p:sp>
      <p:sp>
        <p:nvSpPr>
          <p:cNvPr id="21" name="CuadroTexto 20">
            <a:extLst>
              <a:ext uri="{FF2B5EF4-FFF2-40B4-BE49-F238E27FC236}">
                <a16:creationId xmlns:a16="http://schemas.microsoft.com/office/drawing/2014/main" id="{83ADB1FF-9C69-EF85-611C-3780057BD7D1}"/>
              </a:ext>
            </a:extLst>
          </p:cNvPr>
          <p:cNvSpPr txBox="1"/>
          <p:nvPr/>
        </p:nvSpPr>
        <p:spPr>
          <a:xfrm>
            <a:off x="4476290" y="3496127"/>
            <a:ext cx="2022234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s-ES"/>
            </a:defPPr>
            <a:lvl1pPr algn="ctr">
              <a:defRPr sz="700" b="0" i="1">
                <a:solidFill>
                  <a:schemeClr val="accent1"/>
                </a:solidFill>
                <a:effectLst/>
              </a:defRPr>
            </a:lvl1pPr>
          </a:lstStyle>
          <a:p>
            <a:pPr algn="r"/>
            <a:r>
              <a:rPr lang="es-ES" dirty="0" err="1"/>
              <a:t>Eur</a:t>
            </a:r>
            <a:r>
              <a:rPr lang="es-ES" dirty="0"/>
              <a:t> Heart J. 2024 </a:t>
            </a:r>
            <a:r>
              <a:rPr lang="es-ES" dirty="0" err="1"/>
              <a:t>Sep</a:t>
            </a:r>
            <a:r>
              <a:rPr lang="es-ES" dirty="0"/>
              <a:t> 29;45(36):3538-3700</a:t>
            </a:r>
          </a:p>
        </p:txBody>
      </p:sp>
      <p:sp>
        <p:nvSpPr>
          <p:cNvPr id="22" name="CuadroTexto 21">
            <a:extLst>
              <a:ext uri="{FF2B5EF4-FFF2-40B4-BE49-F238E27FC236}">
                <a16:creationId xmlns:a16="http://schemas.microsoft.com/office/drawing/2014/main" id="{8059F4B0-7395-812F-0DB7-8B45557E65CB}"/>
              </a:ext>
            </a:extLst>
          </p:cNvPr>
          <p:cNvSpPr txBox="1"/>
          <p:nvPr/>
        </p:nvSpPr>
        <p:spPr>
          <a:xfrm>
            <a:off x="8544745" y="6521297"/>
            <a:ext cx="2022234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s-ES"/>
            </a:defPPr>
            <a:lvl1pPr algn="ctr">
              <a:defRPr sz="700" b="0" i="1">
                <a:solidFill>
                  <a:schemeClr val="accent1"/>
                </a:solidFill>
                <a:effectLst/>
              </a:defRPr>
            </a:lvl1pPr>
          </a:lstStyle>
          <a:p>
            <a:pPr algn="r"/>
            <a:r>
              <a:rPr lang="es-ES" dirty="0" err="1"/>
              <a:t>Eur</a:t>
            </a:r>
            <a:r>
              <a:rPr lang="es-ES" dirty="0"/>
              <a:t> Heart J. 2024 </a:t>
            </a:r>
            <a:r>
              <a:rPr lang="es-ES" dirty="0" err="1"/>
              <a:t>Sep</a:t>
            </a:r>
            <a:r>
              <a:rPr lang="es-ES" dirty="0"/>
              <a:t> 29;45(36):3538-3700</a:t>
            </a:r>
          </a:p>
        </p:txBody>
      </p:sp>
      <p:sp>
        <p:nvSpPr>
          <p:cNvPr id="5" name="Rectángulo 4">
            <a:extLst>
              <a:ext uri="{FF2B5EF4-FFF2-40B4-BE49-F238E27FC236}">
                <a16:creationId xmlns:a16="http://schemas.microsoft.com/office/drawing/2014/main" id="{00C74567-D108-A3B0-6DCC-7F29B804FBEA}"/>
              </a:ext>
            </a:extLst>
          </p:cNvPr>
          <p:cNvSpPr/>
          <p:nvPr/>
        </p:nvSpPr>
        <p:spPr>
          <a:xfrm>
            <a:off x="3730752" y="3255264"/>
            <a:ext cx="173736" cy="201006"/>
          </a:xfrm>
          <a:prstGeom prst="rect">
            <a:avLst/>
          </a:prstGeom>
          <a:solidFill>
            <a:schemeClr val="bg2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2" name="CuadroTexto 1">
            <a:extLst>
              <a:ext uri="{FF2B5EF4-FFF2-40B4-BE49-F238E27FC236}">
                <a16:creationId xmlns:a16="http://schemas.microsoft.com/office/drawing/2014/main" id="{089BC4C0-79BF-832D-3596-762A208A3748}"/>
              </a:ext>
            </a:extLst>
          </p:cNvPr>
          <p:cNvSpPr txBox="1"/>
          <p:nvPr/>
        </p:nvSpPr>
        <p:spPr>
          <a:xfrm>
            <a:off x="1155942" y="1461462"/>
            <a:ext cx="5443166" cy="523220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just"/>
            <a:r>
              <a:rPr lang="es-ES" sz="1400" dirty="0">
                <a:solidFill>
                  <a:schemeClr val="accent1"/>
                </a:solidFill>
              </a:rPr>
              <a:t>Las guías para el manejo de la EAP recomiendan un enfoque integral que aborda la totalidad de la circulación arterial</a:t>
            </a:r>
            <a:r>
              <a:rPr lang="es-ES" sz="1400" baseline="30000" dirty="0">
                <a:solidFill>
                  <a:schemeClr val="accent1"/>
                </a:solidFill>
              </a:rPr>
              <a:t>1</a:t>
            </a:r>
            <a:r>
              <a:rPr lang="es-ES" sz="1400" dirty="0">
                <a:solidFill>
                  <a:schemeClr val="accent1"/>
                </a:solidFill>
              </a:rPr>
              <a:t>. </a:t>
            </a:r>
          </a:p>
        </p:txBody>
      </p:sp>
      <p:sp>
        <p:nvSpPr>
          <p:cNvPr id="3" name="CuadroTexto 2">
            <a:extLst>
              <a:ext uri="{FF2B5EF4-FFF2-40B4-BE49-F238E27FC236}">
                <a16:creationId xmlns:a16="http://schemas.microsoft.com/office/drawing/2014/main" id="{96589D1A-5764-54C5-B5F2-2868FD5879C4}"/>
              </a:ext>
            </a:extLst>
          </p:cNvPr>
          <p:cNvSpPr txBox="1"/>
          <p:nvPr/>
        </p:nvSpPr>
        <p:spPr>
          <a:xfrm rot="16200000">
            <a:off x="10611613" y="3657467"/>
            <a:ext cx="2510028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s-ES" sz="1400" dirty="0">
                <a:solidFill>
                  <a:schemeClr val="bg1">
                    <a:lumMod val="95000"/>
                  </a:schemeClr>
                </a:solidFill>
              </a:rPr>
              <a:t>MA-ES-NOP-2500037</a:t>
            </a:r>
          </a:p>
        </p:txBody>
      </p:sp>
    </p:spTree>
    <p:extLst>
      <p:ext uri="{BB962C8B-B14F-4D97-AF65-F5344CB8AC3E}">
        <p14:creationId xmlns:p14="http://schemas.microsoft.com/office/powerpoint/2010/main" val="60651532"/>
      </p:ext>
    </p:extLst>
  </p:cSld>
  <p:clrMapOvr>
    <a:masterClrMapping/>
  </p:clrMapOvr>
  <p:transition spd="med">
    <p:fade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1E8D50D-8A0D-CFFD-AEAF-4F26388C1E0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ítulo 3">
            <a:extLst>
              <a:ext uri="{FF2B5EF4-FFF2-40B4-BE49-F238E27FC236}">
                <a16:creationId xmlns:a16="http://schemas.microsoft.com/office/drawing/2014/main" id="{F73107BA-21D9-CA79-9635-E30F185A0C12}"/>
              </a:ext>
            </a:extLst>
          </p:cNvPr>
          <p:cNvSpPr txBox="1">
            <a:spLocks/>
          </p:cNvSpPr>
          <p:nvPr/>
        </p:nvSpPr>
        <p:spPr>
          <a:xfrm>
            <a:off x="859536" y="231506"/>
            <a:ext cx="10451591" cy="842533"/>
          </a:xfrm>
          <a:prstGeom prst="rect">
            <a:avLst/>
          </a:prstGeom>
        </p:spPr>
        <p:txBody>
          <a:bodyPr lIns="0" tIns="0" rIns="0" bIns="0" anchor="ctr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067" kern="1200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s-ES" sz="2800" b="1" dirty="0"/>
              <a:t>Tratamiento médico de la enfermedad arterial periférica</a:t>
            </a:r>
          </a:p>
        </p:txBody>
      </p:sp>
      <p:pic>
        <p:nvPicPr>
          <p:cNvPr id="1026" name="Picture 2" descr="Pastillas - Iconos gratis de médico">
            <a:extLst>
              <a:ext uri="{FF2B5EF4-FFF2-40B4-BE49-F238E27FC236}">
                <a16:creationId xmlns:a16="http://schemas.microsoft.com/office/drawing/2014/main" id="{5B6397EB-F1D5-6E66-D66E-A51F3FEEE3A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83921" y="2520204"/>
            <a:ext cx="339122" cy="3391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calentamiento arriba aptitud icono símbolo. rutina de ejercicio y yoga logo  23220178 PNG">
            <a:extLst>
              <a:ext uri="{FF2B5EF4-FFF2-40B4-BE49-F238E27FC236}">
                <a16:creationId xmlns:a16="http://schemas.microsoft.com/office/drawing/2014/main" id="{97CCA1AE-35E5-0A98-FFD0-F5699ADB105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25401" y="2884245"/>
            <a:ext cx="365747" cy="3657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0" name="Picture 6" descr="Logotipo de estilo de vida saludable - Iconos gratis de logo">
            <a:extLst>
              <a:ext uri="{FF2B5EF4-FFF2-40B4-BE49-F238E27FC236}">
                <a16:creationId xmlns:a16="http://schemas.microsoft.com/office/drawing/2014/main" id="{83E5CB33-4B8E-A6DF-27C5-092C8AC10FB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53482" y="3173528"/>
            <a:ext cx="365747" cy="3657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Imagen 10">
            <a:extLst>
              <a:ext uri="{FF2B5EF4-FFF2-40B4-BE49-F238E27FC236}">
                <a16:creationId xmlns:a16="http://schemas.microsoft.com/office/drawing/2014/main" id="{F09EE6CB-97B9-57F1-4CAB-35DCD889729D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237118" y="1168578"/>
            <a:ext cx="5220110" cy="5547169"/>
          </a:xfrm>
          <a:prstGeom prst="rect">
            <a:avLst/>
          </a:prstGeom>
        </p:spPr>
      </p:pic>
      <p:sp>
        <p:nvSpPr>
          <p:cNvPr id="5" name="CuadroTexto 4">
            <a:extLst>
              <a:ext uri="{FF2B5EF4-FFF2-40B4-BE49-F238E27FC236}">
                <a16:creationId xmlns:a16="http://schemas.microsoft.com/office/drawing/2014/main" id="{763F8C37-FB97-5ED8-5A6B-CDFE72C688CA}"/>
              </a:ext>
            </a:extLst>
          </p:cNvPr>
          <p:cNvSpPr txBox="1"/>
          <p:nvPr/>
        </p:nvSpPr>
        <p:spPr>
          <a:xfrm>
            <a:off x="1384050" y="5426218"/>
            <a:ext cx="4044124" cy="30777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>
            <a:defPPr>
              <a:defRPr lang="es-ES"/>
            </a:defPPr>
            <a:lvl1pPr algn="ctr">
              <a:defRPr sz="700" b="0" i="1">
                <a:solidFill>
                  <a:schemeClr val="accent1"/>
                </a:solidFill>
                <a:effectLst/>
              </a:defRPr>
            </a:lvl1pPr>
          </a:lstStyle>
          <a:p>
            <a:r>
              <a:rPr lang="es-ES" dirty="0"/>
              <a:t>1. </a:t>
            </a:r>
            <a:r>
              <a:rPr lang="es-ES" dirty="0" err="1"/>
              <a:t>Mazzolai</a:t>
            </a:r>
            <a:r>
              <a:rPr lang="es-ES" dirty="0"/>
              <a:t> L, et al. 2024 ESC </a:t>
            </a:r>
            <a:r>
              <a:rPr lang="es-ES" dirty="0" err="1"/>
              <a:t>Guidelines</a:t>
            </a:r>
            <a:r>
              <a:rPr lang="es-ES" dirty="0"/>
              <a:t> </a:t>
            </a:r>
            <a:r>
              <a:rPr lang="es-ES" dirty="0" err="1"/>
              <a:t>for</a:t>
            </a:r>
            <a:r>
              <a:rPr lang="es-ES" dirty="0"/>
              <a:t> </a:t>
            </a:r>
            <a:r>
              <a:rPr lang="es-ES" dirty="0" err="1"/>
              <a:t>the</a:t>
            </a:r>
            <a:r>
              <a:rPr lang="es-ES" dirty="0"/>
              <a:t> </a:t>
            </a:r>
            <a:r>
              <a:rPr lang="es-ES" dirty="0" err="1"/>
              <a:t>management</a:t>
            </a:r>
            <a:r>
              <a:rPr lang="es-ES" dirty="0"/>
              <a:t> </a:t>
            </a:r>
            <a:r>
              <a:rPr lang="es-ES" dirty="0" err="1"/>
              <a:t>of</a:t>
            </a:r>
            <a:r>
              <a:rPr lang="es-ES" dirty="0"/>
              <a:t> </a:t>
            </a:r>
            <a:r>
              <a:rPr lang="es-ES" dirty="0" err="1"/>
              <a:t>peripheral</a:t>
            </a:r>
            <a:r>
              <a:rPr lang="es-ES" dirty="0"/>
              <a:t> arterial and </a:t>
            </a:r>
            <a:r>
              <a:rPr lang="es-ES" dirty="0" err="1"/>
              <a:t>aortic</a:t>
            </a:r>
            <a:r>
              <a:rPr lang="es-ES" dirty="0"/>
              <a:t> </a:t>
            </a:r>
            <a:r>
              <a:rPr lang="es-ES" dirty="0" err="1"/>
              <a:t>diseases</a:t>
            </a:r>
            <a:r>
              <a:rPr lang="es-ES" dirty="0"/>
              <a:t>. </a:t>
            </a:r>
            <a:r>
              <a:rPr lang="es-ES" dirty="0" err="1"/>
              <a:t>Eur</a:t>
            </a:r>
            <a:r>
              <a:rPr lang="es-ES" dirty="0"/>
              <a:t> Heart J. 2024 </a:t>
            </a:r>
            <a:r>
              <a:rPr lang="es-ES" dirty="0" err="1"/>
              <a:t>Sep</a:t>
            </a:r>
            <a:r>
              <a:rPr lang="es-ES" dirty="0"/>
              <a:t> 29;45(36):3538-3700. </a:t>
            </a:r>
            <a:r>
              <a:rPr lang="es-ES" dirty="0" err="1"/>
              <a:t>doi</a:t>
            </a:r>
            <a:r>
              <a:rPr lang="es-ES" dirty="0"/>
              <a:t>: 10.1093/</a:t>
            </a:r>
            <a:r>
              <a:rPr lang="es-ES" dirty="0" err="1"/>
              <a:t>eurheartj</a:t>
            </a:r>
            <a:r>
              <a:rPr lang="es-ES" dirty="0"/>
              <a:t>/ehae179.</a:t>
            </a:r>
          </a:p>
        </p:txBody>
      </p:sp>
      <p:sp>
        <p:nvSpPr>
          <p:cNvPr id="14" name="CuadroTexto 13">
            <a:extLst>
              <a:ext uri="{FF2B5EF4-FFF2-40B4-BE49-F238E27FC236}">
                <a16:creationId xmlns:a16="http://schemas.microsoft.com/office/drawing/2014/main" id="{146CFF87-5490-3885-A5C7-D7C5F9C5F8B4}"/>
              </a:ext>
            </a:extLst>
          </p:cNvPr>
          <p:cNvSpPr txBox="1"/>
          <p:nvPr/>
        </p:nvSpPr>
        <p:spPr>
          <a:xfrm>
            <a:off x="7710778" y="6593937"/>
            <a:ext cx="2272790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s-ES"/>
            </a:defPPr>
            <a:lvl1pPr algn="ctr">
              <a:defRPr sz="700" b="0" i="1">
                <a:solidFill>
                  <a:schemeClr val="accent1"/>
                </a:solidFill>
                <a:effectLst/>
              </a:defRPr>
            </a:lvl1pPr>
          </a:lstStyle>
          <a:p>
            <a:r>
              <a:rPr lang="es-ES" dirty="0" err="1"/>
              <a:t>Eur</a:t>
            </a:r>
            <a:r>
              <a:rPr lang="es-ES" dirty="0"/>
              <a:t> Heart J. 2024 </a:t>
            </a:r>
            <a:r>
              <a:rPr lang="es-ES" dirty="0" err="1"/>
              <a:t>Sep</a:t>
            </a:r>
            <a:r>
              <a:rPr lang="es-ES" dirty="0"/>
              <a:t> 29;45(36):3538-3700</a:t>
            </a:r>
          </a:p>
        </p:txBody>
      </p:sp>
      <p:sp>
        <p:nvSpPr>
          <p:cNvPr id="8" name="CuadroTexto 7">
            <a:extLst>
              <a:ext uri="{FF2B5EF4-FFF2-40B4-BE49-F238E27FC236}">
                <a16:creationId xmlns:a16="http://schemas.microsoft.com/office/drawing/2014/main" id="{D5F97049-8548-CBBA-72FC-733DE5E26C2D}"/>
              </a:ext>
            </a:extLst>
          </p:cNvPr>
          <p:cNvSpPr txBox="1"/>
          <p:nvPr/>
        </p:nvSpPr>
        <p:spPr>
          <a:xfrm>
            <a:off x="1422553" y="1871061"/>
            <a:ext cx="4310736" cy="1668214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>
            <a:defPPr>
              <a:defRPr lang="es-ES"/>
            </a:defPPr>
            <a:lvl1pPr algn="just">
              <a:defRPr sz="1400">
                <a:solidFill>
                  <a:schemeClr val="accent1"/>
                </a:solidFill>
              </a:defRPr>
            </a:lvl1pPr>
          </a:lstStyle>
          <a:p>
            <a:r>
              <a:rPr lang="es-ES" dirty="0"/>
              <a:t>El tratamiento óptimo de la EAP debe estar basado en 3 pilares</a:t>
            </a:r>
            <a:r>
              <a:rPr lang="es-ES" baseline="30000" dirty="0"/>
              <a:t>1</a:t>
            </a:r>
            <a:r>
              <a:rPr lang="es-ES" dirty="0"/>
              <a:t>:</a:t>
            </a:r>
          </a:p>
          <a:p>
            <a:endParaRPr lang="es-ES" dirty="0"/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s-ES" dirty="0"/>
              <a:t>Tratamiento farmacológico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s-ES" dirty="0"/>
              <a:t>Entrenamiento físico supervisado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s-ES" dirty="0"/>
              <a:t>Modificación del estilo de vida</a:t>
            </a:r>
          </a:p>
        </p:txBody>
      </p:sp>
      <p:sp>
        <p:nvSpPr>
          <p:cNvPr id="10" name="CuadroTexto 9">
            <a:extLst>
              <a:ext uri="{FF2B5EF4-FFF2-40B4-BE49-F238E27FC236}">
                <a16:creationId xmlns:a16="http://schemas.microsoft.com/office/drawing/2014/main" id="{C47B0CC4-7A65-3EE4-8F35-13CDE8297F15}"/>
              </a:ext>
            </a:extLst>
          </p:cNvPr>
          <p:cNvSpPr txBox="1"/>
          <p:nvPr/>
        </p:nvSpPr>
        <p:spPr>
          <a:xfrm>
            <a:off x="1435504" y="3897971"/>
            <a:ext cx="4310736" cy="1169551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>
            <a:defPPr>
              <a:defRPr lang="es-ES"/>
            </a:defPPr>
            <a:lvl1pPr algn="just">
              <a:defRPr sz="1400">
                <a:solidFill>
                  <a:schemeClr val="accent1"/>
                </a:solidFill>
              </a:defRPr>
            </a:lvl1pPr>
          </a:lstStyle>
          <a:p>
            <a:r>
              <a:rPr lang="es-ES" dirty="0"/>
              <a:t>Una intervención quirúrgica de revascularización no está recomendada para la EAP asintomática, y en EAP sintomática la revascularización se puede valorar tras un periodo de tratamiento médico óptimo y ejercicio</a:t>
            </a:r>
            <a:r>
              <a:rPr lang="es-ES" baseline="30000" dirty="0"/>
              <a:t>1</a:t>
            </a:r>
            <a:r>
              <a:rPr lang="es-ES" dirty="0"/>
              <a:t>.</a:t>
            </a:r>
          </a:p>
        </p:txBody>
      </p:sp>
      <p:sp>
        <p:nvSpPr>
          <p:cNvPr id="2" name="CuadroTexto 1">
            <a:extLst>
              <a:ext uri="{FF2B5EF4-FFF2-40B4-BE49-F238E27FC236}">
                <a16:creationId xmlns:a16="http://schemas.microsoft.com/office/drawing/2014/main" id="{4BFA673B-228A-5975-A881-A038EC1DD870}"/>
              </a:ext>
            </a:extLst>
          </p:cNvPr>
          <p:cNvSpPr txBox="1"/>
          <p:nvPr/>
        </p:nvSpPr>
        <p:spPr>
          <a:xfrm rot="16200000">
            <a:off x="10611613" y="3657467"/>
            <a:ext cx="2510028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s-ES" sz="1400" dirty="0">
                <a:solidFill>
                  <a:schemeClr val="bg1">
                    <a:lumMod val="95000"/>
                  </a:schemeClr>
                </a:solidFill>
              </a:rPr>
              <a:t>MA-ES-NOP-2500037</a:t>
            </a:r>
          </a:p>
        </p:txBody>
      </p:sp>
    </p:spTree>
    <p:extLst>
      <p:ext uri="{BB962C8B-B14F-4D97-AF65-F5344CB8AC3E}">
        <p14:creationId xmlns:p14="http://schemas.microsoft.com/office/powerpoint/2010/main" val="2954094883"/>
      </p:ext>
    </p:extLst>
  </p:cSld>
  <p:clrMapOvr>
    <a:masterClrMapping/>
  </p:clrMapOvr>
  <p:transition spd="med">
    <p:fade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3">
            <a:extLst>
              <a:ext uri="{FF2B5EF4-FFF2-40B4-BE49-F238E27FC236}">
                <a16:creationId xmlns:a16="http://schemas.microsoft.com/office/drawing/2014/main" id="{254498F9-6790-7591-F45B-3F04278BA499}"/>
              </a:ext>
            </a:extLst>
          </p:cNvPr>
          <p:cNvSpPr txBox="1">
            <a:spLocks/>
          </p:cNvSpPr>
          <p:nvPr/>
        </p:nvSpPr>
        <p:spPr>
          <a:xfrm>
            <a:off x="603504" y="156981"/>
            <a:ext cx="11180064" cy="842533"/>
          </a:xfrm>
          <a:prstGeom prst="rect">
            <a:avLst/>
          </a:prstGeom>
        </p:spPr>
        <p:txBody>
          <a:bodyPr lIns="0" tIns="0" rIns="0" bIns="0" anchor="ctr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067" kern="1200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ES" sz="2400" b="1" dirty="0"/>
              <a:t>Tratamiento farmacológico de pacientes EAP</a:t>
            </a:r>
          </a:p>
        </p:txBody>
      </p:sp>
      <p:pic>
        <p:nvPicPr>
          <p:cNvPr id="26" name="Imagen 25">
            <a:extLst>
              <a:ext uri="{FF2B5EF4-FFF2-40B4-BE49-F238E27FC236}">
                <a16:creationId xmlns:a16="http://schemas.microsoft.com/office/drawing/2014/main" id="{6E408F7A-96D7-1A9C-0508-B3B05EE53639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b="8255"/>
          <a:stretch/>
        </p:blipFill>
        <p:spPr>
          <a:xfrm>
            <a:off x="6497216" y="1526675"/>
            <a:ext cx="4196491" cy="4687117"/>
          </a:xfrm>
          <a:prstGeom prst="rect">
            <a:avLst/>
          </a:prstGeom>
        </p:spPr>
      </p:pic>
      <p:sp>
        <p:nvSpPr>
          <p:cNvPr id="20" name="CuadroTexto 19">
            <a:extLst>
              <a:ext uri="{FF2B5EF4-FFF2-40B4-BE49-F238E27FC236}">
                <a16:creationId xmlns:a16="http://schemas.microsoft.com/office/drawing/2014/main" id="{62DBFEC9-0058-CD1D-A400-99F31DCC6B0E}"/>
              </a:ext>
            </a:extLst>
          </p:cNvPr>
          <p:cNvSpPr txBox="1"/>
          <p:nvPr/>
        </p:nvSpPr>
        <p:spPr>
          <a:xfrm>
            <a:off x="6754086" y="6253426"/>
            <a:ext cx="3852862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s-ES"/>
            </a:defPPr>
            <a:lvl1pPr algn="ctr">
              <a:defRPr sz="700" b="0" i="1">
                <a:solidFill>
                  <a:schemeClr val="accent1"/>
                </a:solidFill>
                <a:effectLst/>
              </a:defRPr>
            </a:lvl1pPr>
          </a:lstStyle>
          <a:p>
            <a:pPr algn="r"/>
            <a:r>
              <a:rPr lang="es-ES" dirty="0" err="1"/>
              <a:t>Eur</a:t>
            </a:r>
            <a:r>
              <a:rPr lang="es-ES" dirty="0"/>
              <a:t> Heart J. 2024 </a:t>
            </a:r>
            <a:r>
              <a:rPr lang="es-ES" dirty="0" err="1"/>
              <a:t>Sep</a:t>
            </a:r>
            <a:r>
              <a:rPr lang="es-ES" dirty="0"/>
              <a:t> 29;45(36):3538-3700</a:t>
            </a:r>
          </a:p>
        </p:txBody>
      </p:sp>
      <p:sp>
        <p:nvSpPr>
          <p:cNvPr id="3" name="CuadroTexto 2">
            <a:extLst>
              <a:ext uri="{FF2B5EF4-FFF2-40B4-BE49-F238E27FC236}">
                <a16:creationId xmlns:a16="http://schemas.microsoft.com/office/drawing/2014/main" id="{837271EC-747F-07C1-2B7D-644858E205D1}"/>
              </a:ext>
            </a:extLst>
          </p:cNvPr>
          <p:cNvSpPr txBox="1"/>
          <p:nvPr/>
        </p:nvSpPr>
        <p:spPr>
          <a:xfrm>
            <a:off x="1384050" y="2229362"/>
            <a:ext cx="4310736" cy="523220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>
            <a:defPPr>
              <a:defRPr lang="es-ES"/>
            </a:defPPr>
            <a:lvl1pPr algn="just">
              <a:defRPr sz="1400">
                <a:solidFill>
                  <a:schemeClr val="accent1"/>
                </a:solidFill>
              </a:defRPr>
            </a:lvl1pPr>
          </a:lstStyle>
          <a:p>
            <a:r>
              <a:rPr lang="es-ES" dirty="0"/>
              <a:t>Se recomienda el uso de estatinas en todos los pacientes con enfermedad arterial periférica</a:t>
            </a:r>
            <a:r>
              <a:rPr lang="es-ES" baseline="30000" dirty="0"/>
              <a:t>1</a:t>
            </a:r>
            <a:r>
              <a:rPr lang="es-ES" dirty="0"/>
              <a:t>.</a:t>
            </a:r>
          </a:p>
        </p:txBody>
      </p:sp>
      <p:sp>
        <p:nvSpPr>
          <p:cNvPr id="4" name="CuadroTexto 3">
            <a:extLst>
              <a:ext uri="{FF2B5EF4-FFF2-40B4-BE49-F238E27FC236}">
                <a16:creationId xmlns:a16="http://schemas.microsoft.com/office/drawing/2014/main" id="{77096A4D-698A-4846-8A93-A9C6FEBCEE6A}"/>
              </a:ext>
            </a:extLst>
          </p:cNvPr>
          <p:cNvSpPr txBox="1"/>
          <p:nvPr/>
        </p:nvSpPr>
        <p:spPr>
          <a:xfrm>
            <a:off x="1384050" y="5426218"/>
            <a:ext cx="4044124" cy="30777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>
            <a:defPPr>
              <a:defRPr lang="es-ES"/>
            </a:defPPr>
            <a:lvl1pPr algn="ctr">
              <a:defRPr sz="700" b="0" i="1">
                <a:solidFill>
                  <a:schemeClr val="accent1"/>
                </a:solidFill>
                <a:effectLst/>
              </a:defRPr>
            </a:lvl1pPr>
          </a:lstStyle>
          <a:p>
            <a:r>
              <a:rPr lang="es-ES" dirty="0"/>
              <a:t>1. </a:t>
            </a:r>
            <a:r>
              <a:rPr lang="es-ES" dirty="0" err="1"/>
              <a:t>Mazzolai</a:t>
            </a:r>
            <a:r>
              <a:rPr lang="es-ES" dirty="0"/>
              <a:t> L, et al. 2024 ESC </a:t>
            </a:r>
            <a:r>
              <a:rPr lang="es-ES" dirty="0" err="1"/>
              <a:t>Guidelines</a:t>
            </a:r>
            <a:r>
              <a:rPr lang="es-ES" dirty="0"/>
              <a:t> </a:t>
            </a:r>
            <a:r>
              <a:rPr lang="es-ES" dirty="0" err="1"/>
              <a:t>for</a:t>
            </a:r>
            <a:r>
              <a:rPr lang="es-ES" dirty="0"/>
              <a:t> </a:t>
            </a:r>
            <a:r>
              <a:rPr lang="es-ES" dirty="0" err="1"/>
              <a:t>the</a:t>
            </a:r>
            <a:r>
              <a:rPr lang="es-ES" dirty="0"/>
              <a:t> </a:t>
            </a:r>
            <a:r>
              <a:rPr lang="es-ES" dirty="0" err="1"/>
              <a:t>management</a:t>
            </a:r>
            <a:r>
              <a:rPr lang="es-ES" dirty="0"/>
              <a:t> </a:t>
            </a:r>
            <a:r>
              <a:rPr lang="es-ES" dirty="0" err="1"/>
              <a:t>of</a:t>
            </a:r>
            <a:r>
              <a:rPr lang="es-ES" dirty="0"/>
              <a:t> </a:t>
            </a:r>
            <a:r>
              <a:rPr lang="es-ES" dirty="0" err="1"/>
              <a:t>peripheral</a:t>
            </a:r>
            <a:r>
              <a:rPr lang="es-ES" dirty="0"/>
              <a:t> arterial and </a:t>
            </a:r>
            <a:r>
              <a:rPr lang="es-ES" dirty="0" err="1"/>
              <a:t>aortic</a:t>
            </a:r>
            <a:r>
              <a:rPr lang="es-ES" dirty="0"/>
              <a:t> </a:t>
            </a:r>
            <a:r>
              <a:rPr lang="es-ES" dirty="0" err="1"/>
              <a:t>diseases</a:t>
            </a:r>
            <a:r>
              <a:rPr lang="es-ES" dirty="0"/>
              <a:t>. </a:t>
            </a:r>
            <a:r>
              <a:rPr lang="es-ES" dirty="0" err="1"/>
              <a:t>Eur</a:t>
            </a:r>
            <a:r>
              <a:rPr lang="es-ES" dirty="0"/>
              <a:t> Heart J. 2024 </a:t>
            </a:r>
            <a:r>
              <a:rPr lang="es-ES" dirty="0" err="1"/>
              <a:t>Sep</a:t>
            </a:r>
            <a:r>
              <a:rPr lang="es-ES" dirty="0"/>
              <a:t> 29;45(36):3538-3700. </a:t>
            </a:r>
            <a:r>
              <a:rPr lang="es-ES" dirty="0" err="1"/>
              <a:t>doi</a:t>
            </a:r>
            <a:r>
              <a:rPr lang="es-ES" dirty="0"/>
              <a:t>: 10.1093/</a:t>
            </a:r>
            <a:r>
              <a:rPr lang="es-ES" dirty="0" err="1"/>
              <a:t>eurheartj</a:t>
            </a:r>
            <a:r>
              <a:rPr lang="es-ES" dirty="0"/>
              <a:t>/ehae179.</a:t>
            </a:r>
          </a:p>
        </p:txBody>
      </p:sp>
      <p:sp>
        <p:nvSpPr>
          <p:cNvPr id="5" name="CuadroTexto 4">
            <a:extLst>
              <a:ext uri="{FF2B5EF4-FFF2-40B4-BE49-F238E27FC236}">
                <a16:creationId xmlns:a16="http://schemas.microsoft.com/office/drawing/2014/main" id="{9734347E-F8D6-4A0F-99E5-98E9A3FF9BB6}"/>
              </a:ext>
            </a:extLst>
          </p:cNvPr>
          <p:cNvSpPr txBox="1"/>
          <p:nvPr/>
        </p:nvSpPr>
        <p:spPr>
          <a:xfrm>
            <a:off x="1384050" y="3131570"/>
            <a:ext cx="4310736" cy="738664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>
            <a:defPPr>
              <a:defRPr lang="es-ES"/>
            </a:defPPr>
            <a:lvl1pPr algn="just">
              <a:defRPr sz="1400">
                <a:solidFill>
                  <a:schemeClr val="accent1"/>
                </a:solidFill>
              </a:defRPr>
            </a:lvl1pPr>
          </a:lstStyle>
          <a:p>
            <a:r>
              <a:rPr lang="es-ES" dirty="0"/>
              <a:t>El objetivo terapéutico de LDL-c en pacientes EAP es &lt;55mg/</a:t>
            </a:r>
            <a:r>
              <a:rPr lang="es-ES" dirty="0" err="1"/>
              <a:t>dL</a:t>
            </a:r>
            <a:r>
              <a:rPr lang="es-ES" dirty="0"/>
              <a:t> y una reducción &gt;50% del valor basal</a:t>
            </a:r>
            <a:r>
              <a:rPr lang="es-ES" baseline="30000" dirty="0"/>
              <a:t>1</a:t>
            </a:r>
            <a:r>
              <a:rPr lang="es-ES" dirty="0"/>
              <a:t>.</a:t>
            </a:r>
          </a:p>
        </p:txBody>
      </p:sp>
      <p:sp>
        <p:nvSpPr>
          <p:cNvPr id="6" name="CuadroTexto 5">
            <a:extLst>
              <a:ext uri="{FF2B5EF4-FFF2-40B4-BE49-F238E27FC236}">
                <a16:creationId xmlns:a16="http://schemas.microsoft.com/office/drawing/2014/main" id="{E8A369E1-D76E-E739-4A60-FEBA3AE2AB65}"/>
              </a:ext>
            </a:extLst>
          </p:cNvPr>
          <p:cNvSpPr txBox="1"/>
          <p:nvPr/>
        </p:nvSpPr>
        <p:spPr>
          <a:xfrm>
            <a:off x="1384050" y="4249222"/>
            <a:ext cx="4310736" cy="523220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>
            <a:defPPr>
              <a:defRPr lang="es-ES"/>
            </a:defPPr>
            <a:lvl1pPr algn="just">
              <a:defRPr sz="1400">
                <a:solidFill>
                  <a:schemeClr val="accent1"/>
                </a:solidFill>
              </a:defRPr>
            </a:lvl1pPr>
          </a:lstStyle>
          <a:p>
            <a:r>
              <a:rPr lang="es-ES" dirty="0"/>
              <a:t>Si no se alcanza el objetivo terapéutico con estatina en monoterapia, se recomienda añadir ezetemiba</a:t>
            </a:r>
            <a:r>
              <a:rPr lang="es-ES" baseline="30000" dirty="0"/>
              <a:t>1</a:t>
            </a:r>
            <a:r>
              <a:rPr lang="es-ES" dirty="0"/>
              <a:t>.</a:t>
            </a:r>
          </a:p>
        </p:txBody>
      </p:sp>
      <p:sp>
        <p:nvSpPr>
          <p:cNvPr id="7" name="Rectángulo 6">
            <a:extLst>
              <a:ext uri="{FF2B5EF4-FFF2-40B4-BE49-F238E27FC236}">
                <a16:creationId xmlns:a16="http://schemas.microsoft.com/office/drawing/2014/main" id="{2A8FD923-084B-D012-8792-926104B21140}"/>
              </a:ext>
            </a:extLst>
          </p:cNvPr>
          <p:cNvSpPr/>
          <p:nvPr/>
        </p:nvSpPr>
        <p:spPr>
          <a:xfrm>
            <a:off x="603504" y="850392"/>
            <a:ext cx="11164824" cy="423910"/>
          </a:xfrm>
          <a:prstGeom prst="rect">
            <a:avLst/>
          </a:prstGeom>
          <a:solidFill>
            <a:schemeClr val="accent4"/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s-ES_tradnl" sz="2400" b="1" dirty="0"/>
              <a:t>Terapia con hipolipemiantes</a:t>
            </a:r>
            <a:endParaRPr lang="es-ES" sz="2400" b="1" dirty="0"/>
          </a:p>
        </p:txBody>
      </p:sp>
      <p:sp>
        <p:nvSpPr>
          <p:cNvPr id="8" name="CuadroTexto 7">
            <a:extLst>
              <a:ext uri="{FF2B5EF4-FFF2-40B4-BE49-F238E27FC236}">
                <a16:creationId xmlns:a16="http://schemas.microsoft.com/office/drawing/2014/main" id="{4F148EB6-94BE-EF3E-9210-FD7AB603725B}"/>
              </a:ext>
            </a:extLst>
          </p:cNvPr>
          <p:cNvSpPr txBox="1"/>
          <p:nvPr/>
        </p:nvSpPr>
        <p:spPr>
          <a:xfrm rot="16200000">
            <a:off x="10611613" y="3657467"/>
            <a:ext cx="2510028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s-ES" sz="1400" dirty="0">
                <a:solidFill>
                  <a:schemeClr val="bg1">
                    <a:lumMod val="95000"/>
                  </a:schemeClr>
                </a:solidFill>
              </a:rPr>
              <a:t>MA-ES-NOP-2500037</a:t>
            </a:r>
          </a:p>
        </p:txBody>
      </p:sp>
    </p:spTree>
    <p:extLst>
      <p:ext uri="{BB962C8B-B14F-4D97-AF65-F5344CB8AC3E}">
        <p14:creationId xmlns:p14="http://schemas.microsoft.com/office/powerpoint/2010/main" val="2429192299"/>
      </p:ext>
    </p:extLst>
  </p:cSld>
  <p:clrMapOvr>
    <a:masterClrMapping/>
  </p:clrMapOvr>
  <p:transition spd="med">
    <p:fade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n 2">
            <a:extLst>
              <a:ext uri="{FF2B5EF4-FFF2-40B4-BE49-F238E27FC236}">
                <a16:creationId xmlns:a16="http://schemas.microsoft.com/office/drawing/2014/main" id="{7E899032-BDAA-99AF-137B-372C0398290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883948" y="1528165"/>
            <a:ext cx="3714941" cy="3448227"/>
          </a:xfrm>
          <a:prstGeom prst="rect">
            <a:avLst/>
          </a:prstGeom>
        </p:spPr>
      </p:pic>
      <p:pic>
        <p:nvPicPr>
          <p:cNvPr id="5" name="Imagen 4">
            <a:extLst>
              <a:ext uri="{FF2B5EF4-FFF2-40B4-BE49-F238E27FC236}">
                <a16:creationId xmlns:a16="http://schemas.microsoft.com/office/drawing/2014/main" id="{E2553830-5CC0-E83F-8D49-01DE4192D53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647091" y="1450956"/>
            <a:ext cx="3606985" cy="3448227"/>
          </a:xfrm>
          <a:prstGeom prst="rect">
            <a:avLst/>
          </a:prstGeom>
        </p:spPr>
      </p:pic>
      <p:sp>
        <p:nvSpPr>
          <p:cNvPr id="7" name="CuadroTexto 6">
            <a:extLst>
              <a:ext uri="{FF2B5EF4-FFF2-40B4-BE49-F238E27FC236}">
                <a16:creationId xmlns:a16="http://schemas.microsoft.com/office/drawing/2014/main" id="{CAB9FEBF-2DDD-F1A8-3839-7421123CAEB3}"/>
              </a:ext>
            </a:extLst>
          </p:cNvPr>
          <p:cNvSpPr txBox="1"/>
          <p:nvPr/>
        </p:nvSpPr>
        <p:spPr>
          <a:xfrm>
            <a:off x="2623947" y="6465278"/>
            <a:ext cx="7139178" cy="338554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>
            <a:defPPr>
              <a:defRPr lang="es-ES"/>
            </a:defPPr>
            <a:lvl1pPr algn="ctr">
              <a:defRPr sz="700" b="1" i="1">
                <a:solidFill>
                  <a:schemeClr val="accent1"/>
                </a:solidFill>
                <a:effectLst/>
              </a:defRPr>
            </a:lvl1pPr>
          </a:lstStyle>
          <a:p>
            <a:r>
              <a:rPr lang="es-ES" dirty="0"/>
              <a:t>1. </a:t>
            </a:r>
            <a:r>
              <a:rPr lang="es-ES" b="0" dirty="0"/>
              <a:t>Harris DE, et al. </a:t>
            </a:r>
            <a:r>
              <a:rPr lang="en-US" b="0" dirty="0"/>
              <a:t>Trends in atherosclerotic cardiovascular disease and lipid management: a population-level observational cohort study in Wales. European Journal of Preventive Cardiology (2024) 00, 1–12 https://doi.org/10.1093/eurjpc/zwae233</a:t>
            </a:r>
            <a:endParaRPr lang="es-ES" b="0" dirty="0"/>
          </a:p>
        </p:txBody>
      </p:sp>
      <p:sp>
        <p:nvSpPr>
          <p:cNvPr id="10" name="CuadroTexto 9">
            <a:extLst>
              <a:ext uri="{FF2B5EF4-FFF2-40B4-BE49-F238E27FC236}">
                <a16:creationId xmlns:a16="http://schemas.microsoft.com/office/drawing/2014/main" id="{3BA0D89F-A2B4-C3CF-8573-0D55F6F36854}"/>
              </a:ext>
            </a:extLst>
          </p:cNvPr>
          <p:cNvSpPr txBox="1"/>
          <p:nvPr/>
        </p:nvSpPr>
        <p:spPr>
          <a:xfrm>
            <a:off x="1883948" y="5323597"/>
            <a:ext cx="4126708" cy="954107"/>
          </a:xfrm>
          <a:prstGeom prst="rect">
            <a:avLst/>
          </a:prstGeom>
          <a:solidFill>
            <a:schemeClr val="bg1"/>
          </a:solidFill>
          <a:ln w="19050">
            <a:noFill/>
          </a:ln>
        </p:spPr>
        <p:txBody>
          <a:bodyPr wrap="square" rtlCol="0">
            <a:spAutoFit/>
          </a:bodyPr>
          <a:lstStyle>
            <a:defPPr>
              <a:defRPr lang="es-ES"/>
            </a:defPPr>
            <a:lvl1pPr algn="just">
              <a:defRPr sz="1400">
                <a:solidFill>
                  <a:schemeClr val="accent1"/>
                </a:solidFill>
              </a:defRPr>
            </a:lvl1pPr>
          </a:lstStyle>
          <a:p>
            <a:r>
              <a:rPr lang="es-ES" dirty="0"/>
              <a:t>Los pacientes con enfermedad arterial periférica están peor manejados y controlados con tratamientos hipolipemiantes que los pacientes con otras enfermedades ateroscleróticas</a:t>
            </a:r>
            <a:r>
              <a:rPr lang="es-ES" baseline="30000" dirty="0"/>
              <a:t>1</a:t>
            </a:r>
            <a:r>
              <a:rPr lang="es-ES" dirty="0"/>
              <a:t>.</a:t>
            </a:r>
          </a:p>
        </p:txBody>
      </p:sp>
      <p:sp>
        <p:nvSpPr>
          <p:cNvPr id="11" name="CuadroTexto 10">
            <a:extLst>
              <a:ext uri="{FF2B5EF4-FFF2-40B4-BE49-F238E27FC236}">
                <a16:creationId xmlns:a16="http://schemas.microsoft.com/office/drawing/2014/main" id="{9199A9DD-1401-F90D-CC0A-00A7F2B422C2}"/>
              </a:ext>
            </a:extLst>
          </p:cNvPr>
          <p:cNvSpPr txBox="1"/>
          <p:nvPr/>
        </p:nvSpPr>
        <p:spPr>
          <a:xfrm>
            <a:off x="6387229" y="5323597"/>
            <a:ext cx="4126708" cy="738664"/>
          </a:xfrm>
          <a:prstGeom prst="rect">
            <a:avLst/>
          </a:prstGeom>
          <a:solidFill>
            <a:schemeClr val="bg1"/>
          </a:solidFill>
          <a:ln w="19050">
            <a:noFill/>
          </a:ln>
        </p:spPr>
        <p:txBody>
          <a:bodyPr wrap="square" rtlCol="0">
            <a:spAutoFit/>
          </a:bodyPr>
          <a:lstStyle>
            <a:defPPr>
              <a:defRPr lang="es-ES"/>
            </a:defPPr>
            <a:lvl1pPr algn="just">
              <a:defRPr sz="1400">
                <a:solidFill>
                  <a:schemeClr val="accent1"/>
                </a:solidFill>
              </a:defRPr>
            </a:lvl1pPr>
          </a:lstStyle>
          <a:p>
            <a:r>
              <a:rPr lang="es-ES" dirty="0"/>
              <a:t>Hasta el 52% de pacientes con EAP no reciben tratamiento hipolipemiante y una proporción significativa tienen el LDL-c mal controlado</a:t>
            </a:r>
            <a:r>
              <a:rPr lang="es-ES" baseline="30000" dirty="0"/>
              <a:t>1</a:t>
            </a:r>
            <a:r>
              <a:rPr lang="es-ES" dirty="0"/>
              <a:t>. </a:t>
            </a:r>
          </a:p>
        </p:txBody>
      </p:sp>
      <p:sp>
        <p:nvSpPr>
          <p:cNvPr id="13" name="CuadroTexto 12">
            <a:extLst>
              <a:ext uri="{FF2B5EF4-FFF2-40B4-BE49-F238E27FC236}">
                <a16:creationId xmlns:a16="http://schemas.microsoft.com/office/drawing/2014/main" id="{374B8601-CBC2-508B-3AD8-50A2D8023DC7}"/>
              </a:ext>
            </a:extLst>
          </p:cNvPr>
          <p:cNvSpPr txBox="1"/>
          <p:nvPr/>
        </p:nvSpPr>
        <p:spPr>
          <a:xfrm>
            <a:off x="2380106" y="4976392"/>
            <a:ext cx="2722626" cy="20005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700" b="0" dirty="0">
                <a:solidFill>
                  <a:schemeClr val="tx1">
                    <a:lumMod val="50000"/>
                  </a:schemeClr>
                </a:solidFill>
              </a:rPr>
              <a:t>European Journal of Preventive Cardiology (2024) 00, 1–12 </a:t>
            </a:r>
            <a:endParaRPr lang="es-ES" sz="700" dirty="0">
              <a:solidFill>
                <a:schemeClr val="tx1">
                  <a:lumMod val="50000"/>
                </a:schemeClr>
              </a:solidFill>
            </a:endParaRPr>
          </a:p>
        </p:txBody>
      </p:sp>
      <p:sp>
        <p:nvSpPr>
          <p:cNvPr id="14" name="CuadroTexto 13">
            <a:extLst>
              <a:ext uri="{FF2B5EF4-FFF2-40B4-BE49-F238E27FC236}">
                <a16:creationId xmlns:a16="http://schemas.microsoft.com/office/drawing/2014/main" id="{6AA56169-5409-459F-4664-70FA4E9A33B3}"/>
              </a:ext>
            </a:extLst>
          </p:cNvPr>
          <p:cNvSpPr txBox="1"/>
          <p:nvPr/>
        </p:nvSpPr>
        <p:spPr>
          <a:xfrm>
            <a:off x="7089270" y="4878922"/>
            <a:ext cx="2722626" cy="20005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700" b="0" dirty="0">
                <a:solidFill>
                  <a:schemeClr val="tx1">
                    <a:lumMod val="50000"/>
                  </a:schemeClr>
                </a:solidFill>
              </a:rPr>
              <a:t>European Journal of Preventive Cardiology (2024) 00, 1–12 </a:t>
            </a:r>
            <a:endParaRPr lang="es-ES" sz="700" dirty="0">
              <a:solidFill>
                <a:schemeClr val="tx1">
                  <a:lumMod val="50000"/>
                </a:schemeClr>
              </a:solidFill>
            </a:endParaRPr>
          </a:p>
        </p:txBody>
      </p:sp>
      <p:sp>
        <p:nvSpPr>
          <p:cNvPr id="4" name="Título 3">
            <a:extLst>
              <a:ext uri="{FF2B5EF4-FFF2-40B4-BE49-F238E27FC236}">
                <a16:creationId xmlns:a16="http://schemas.microsoft.com/office/drawing/2014/main" id="{8D98741D-6BCA-048D-09F7-F3DE5D80068B}"/>
              </a:ext>
            </a:extLst>
          </p:cNvPr>
          <p:cNvSpPr txBox="1">
            <a:spLocks/>
          </p:cNvSpPr>
          <p:nvPr/>
        </p:nvSpPr>
        <p:spPr>
          <a:xfrm>
            <a:off x="603504" y="156981"/>
            <a:ext cx="11180064" cy="842533"/>
          </a:xfrm>
          <a:prstGeom prst="rect">
            <a:avLst/>
          </a:prstGeom>
        </p:spPr>
        <p:txBody>
          <a:bodyPr lIns="0" tIns="0" rIns="0" bIns="0" anchor="ctr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067" kern="1200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ES" sz="2400" b="1" dirty="0"/>
              <a:t>Tratamiento farmacológico de pacientes EAP</a:t>
            </a:r>
          </a:p>
        </p:txBody>
      </p:sp>
      <p:sp>
        <p:nvSpPr>
          <p:cNvPr id="6" name="Rectángulo 5">
            <a:extLst>
              <a:ext uri="{FF2B5EF4-FFF2-40B4-BE49-F238E27FC236}">
                <a16:creationId xmlns:a16="http://schemas.microsoft.com/office/drawing/2014/main" id="{F4863317-4D27-7BC4-ECFE-CEC90280EC70}"/>
              </a:ext>
            </a:extLst>
          </p:cNvPr>
          <p:cNvSpPr/>
          <p:nvPr/>
        </p:nvSpPr>
        <p:spPr>
          <a:xfrm>
            <a:off x="603504" y="850392"/>
            <a:ext cx="11164824" cy="423910"/>
          </a:xfrm>
          <a:prstGeom prst="rect">
            <a:avLst/>
          </a:prstGeom>
          <a:solidFill>
            <a:schemeClr val="accent4"/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s-ES_tradnl" sz="2400" b="1" dirty="0"/>
              <a:t>Terapia con hipolipemiantes</a:t>
            </a:r>
            <a:endParaRPr lang="es-ES" sz="2400" b="1" dirty="0"/>
          </a:p>
        </p:txBody>
      </p:sp>
      <p:sp>
        <p:nvSpPr>
          <p:cNvPr id="2" name="CuadroTexto 1">
            <a:extLst>
              <a:ext uri="{FF2B5EF4-FFF2-40B4-BE49-F238E27FC236}">
                <a16:creationId xmlns:a16="http://schemas.microsoft.com/office/drawing/2014/main" id="{40B2AE38-DACE-D9D0-C5A1-482655C40342}"/>
              </a:ext>
            </a:extLst>
          </p:cNvPr>
          <p:cNvSpPr txBox="1"/>
          <p:nvPr/>
        </p:nvSpPr>
        <p:spPr>
          <a:xfrm rot="16200000">
            <a:off x="10611613" y="3657467"/>
            <a:ext cx="2510028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s-ES" sz="1400" dirty="0">
                <a:solidFill>
                  <a:schemeClr val="bg1">
                    <a:lumMod val="95000"/>
                  </a:schemeClr>
                </a:solidFill>
              </a:rPr>
              <a:t>MA-ES-NOP-2500037</a:t>
            </a:r>
          </a:p>
        </p:txBody>
      </p:sp>
    </p:spTree>
    <p:extLst>
      <p:ext uri="{BB962C8B-B14F-4D97-AF65-F5344CB8AC3E}">
        <p14:creationId xmlns:p14="http://schemas.microsoft.com/office/powerpoint/2010/main" val="1450115909"/>
      </p:ext>
    </p:extLst>
  </p:cSld>
  <p:clrMapOvr>
    <a:masterClrMapping/>
  </p:clrMapOvr>
  <p:transition spd="med">
    <p:fade/>
  </p:transition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uadroTexto 4">
            <a:extLst>
              <a:ext uri="{FF2B5EF4-FFF2-40B4-BE49-F238E27FC236}">
                <a16:creationId xmlns:a16="http://schemas.microsoft.com/office/drawing/2014/main" id="{DBC745C4-1BDB-4657-F1E6-774FF3C6183A}"/>
              </a:ext>
            </a:extLst>
          </p:cNvPr>
          <p:cNvSpPr txBox="1"/>
          <p:nvPr/>
        </p:nvSpPr>
        <p:spPr>
          <a:xfrm>
            <a:off x="6193536" y="6049766"/>
            <a:ext cx="5026212" cy="323165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s-ES"/>
            </a:defPPr>
            <a:lvl1pPr algn="ctr">
              <a:defRPr sz="700" i="1">
                <a:solidFill>
                  <a:schemeClr val="accent1"/>
                </a:solidFill>
              </a:defRPr>
            </a:lvl1pPr>
          </a:lstStyle>
          <a:p>
            <a:r>
              <a:rPr lang="en-US" b="1" dirty="0"/>
              <a:t>1</a:t>
            </a:r>
            <a:r>
              <a:rPr lang="en-US" dirty="0"/>
              <a:t>. Hess CN, et al. Randomized Trial of a Vascular Care Team vs Education for Patients With Peripheral Artery Disease. J Am Coll </a:t>
            </a:r>
            <a:r>
              <a:rPr lang="en-US" dirty="0" err="1"/>
              <a:t>Cardiol</a:t>
            </a:r>
            <a:r>
              <a:rPr lang="en-US" dirty="0"/>
              <a:t>. 2024 Jun 25;83(25):2658-2670. </a:t>
            </a:r>
            <a:r>
              <a:rPr lang="en-US" dirty="0" err="1"/>
              <a:t>doi</a:t>
            </a:r>
            <a:r>
              <a:rPr lang="en-US" dirty="0"/>
              <a:t>: 10.1016/j.jacc.2024.04.034.</a:t>
            </a:r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11CD5F33-3F9A-9267-4A27-ED4CA09D2C7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37696" y="1460882"/>
            <a:ext cx="4486164" cy="50168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Imagen 6">
            <a:extLst>
              <a:ext uri="{FF2B5EF4-FFF2-40B4-BE49-F238E27FC236}">
                <a16:creationId xmlns:a16="http://schemas.microsoft.com/office/drawing/2014/main" id="{C55817AA-DFD8-860E-0E6A-ED9526ACB87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760536" y="1812451"/>
            <a:ext cx="3875386" cy="2399835"/>
          </a:xfrm>
          <a:prstGeom prst="rect">
            <a:avLst/>
          </a:prstGeom>
        </p:spPr>
      </p:pic>
      <p:sp>
        <p:nvSpPr>
          <p:cNvPr id="9" name="CuadroTexto 8">
            <a:extLst>
              <a:ext uri="{FF2B5EF4-FFF2-40B4-BE49-F238E27FC236}">
                <a16:creationId xmlns:a16="http://schemas.microsoft.com/office/drawing/2014/main" id="{574BEC96-5023-472E-6FD3-7FABB99371F3}"/>
              </a:ext>
            </a:extLst>
          </p:cNvPr>
          <p:cNvSpPr txBox="1"/>
          <p:nvPr/>
        </p:nvSpPr>
        <p:spPr>
          <a:xfrm>
            <a:off x="6633895" y="1460882"/>
            <a:ext cx="4128669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200" b="1" i="0" dirty="0" err="1">
                <a:solidFill>
                  <a:srgbClr val="1F1F1F"/>
                </a:solidFill>
                <a:effectLst/>
                <a:latin typeface="ElsevierGulliver"/>
              </a:rPr>
              <a:t>Proporci</a:t>
            </a:r>
            <a:r>
              <a:rPr lang="en-US" sz="1200" b="1" dirty="0" err="1">
                <a:solidFill>
                  <a:srgbClr val="1F1F1F"/>
                </a:solidFill>
                <a:latin typeface="ElsevierGulliver"/>
              </a:rPr>
              <a:t>ó</a:t>
            </a:r>
            <a:r>
              <a:rPr lang="en-US" sz="1200" b="1" i="0" dirty="0" err="1">
                <a:solidFill>
                  <a:srgbClr val="1F1F1F"/>
                </a:solidFill>
                <a:effectLst/>
                <a:latin typeface="ElsevierGulliver"/>
              </a:rPr>
              <a:t>n</a:t>
            </a:r>
            <a:r>
              <a:rPr lang="en-US" sz="1200" b="1" i="0" dirty="0">
                <a:solidFill>
                  <a:srgbClr val="1F1F1F"/>
                </a:solidFill>
                <a:effectLst/>
                <a:latin typeface="ElsevierGulliver"/>
              </a:rPr>
              <a:t> </a:t>
            </a:r>
            <a:r>
              <a:rPr lang="en-US" sz="1200" b="1" dirty="0">
                <a:solidFill>
                  <a:srgbClr val="1F1F1F"/>
                </a:solidFill>
                <a:latin typeface="ElsevierGulliver"/>
              </a:rPr>
              <a:t>de</a:t>
            </a:r>
            <a:r>
              <a:rPr lang="en-US" sz="1200" b="1" i="0" dirty="0">
                <a:solidFill>
                  <a:srgbClr val="1F1F1F"/>
                </a:solidFill>
                <a:effectLst/>
                <a:latin typeface="ElsevierGulliver"/>
              </a:rPr>
              <a:t> </a:t>
            </a:r>
            <a:r>
              <a:rPr lang="en-US" sz="1200" b="1" dirty="0" err="1">
                <a:solidFill>
                  <a:srgbClr val="1F1F1F"/>
                </a:solidFill>
                <a:latin typeface="ElsevierGulliver"/>
              </a:rPr>
              <a:t>p</a:t>
            </a:r>
            <a:r>
              <a:rPr lang="en-US" sz="1200" b="1" i="0" dirty="0" err="1">
                <a:solidFill>
                  <a:srgbClr val="1F1F1F"/>
                </a:solidFill>
                <a:effectLst/>
                <a:latin typeface="ElsevierGulliver"/>
              </a:rPr>
              <a:t>atientes</a:t>
            </a:r>
            <a:r>
              <a:rPr lang="en-US" sz="1200" b="1" i="0" dirty="0">
                <a:solidFill>
                  <a:srgbClr val="1F1F1F"/>
                </a:solidFill>
                <a:effectLst/>
                <a:latin typeface="ElsevierGulliver"/>
              </a:rPr>
              <a:t> con LDL-c </a:t>
            </a:r>
            <a:r>
              <a:rPr lang="en-US" sz="1200" b="1" i="0" dirty="0" err="1">
                <a:solidFill>
                  <a:srgbClr val="1F1F1F"/>
                </a:solidFill>
                <a:effectLst/>
                <a:latin typeface="ElsevierGulliver"/>
              </a:rPr>
              <a:t>en</a:t>
            </a:r>
            <a:r>
              <a:rPr lang="en-US" sz="1200" b="1" i="0" dirty="0">
                <a:solidFill>
                  <a:srgbClr val="1F1F1F"/>
                </a:solidFill>
                <a:effectLst/>
                <a:latin typeface="ElsevierGulliver"/>
              </a:rPr>
              <a:t> </a:t>
            </a:r>
            <a:r>
              <a:rPr lang="en-US" sz="1200" b="1" i="0" dirty="0" err="1">
                <a:solidFill>
                  <a:srgbClr val="1F1F1F"/>
                </a:solidFill>
                <a:effectLst/>
                <a:latin typeface="ElsevierGulliver"/>
              </a:rPr>
              <a:t>objetivo</a:t>
            </a:r>
            <a:endParaRPr lang="es-ES" sz="1200" b="1" dirty="0"/>
          </a:p>
        </p:txBody>
      </p:sp>
      <p:sp>
        <p:nvSpPr>
          <p:cNvPr id="6" name="CuadroTexto 5">
            <a:extLst>
              <a:ext uri="{FF2B5EF4-FFF2-40B4-BE49-F238E27FC236}">
                <a16:creationId xmlns:a16="http://schemas.microsoft.com/office/drawing/2014/main" id="{B6ADBE67-0044-3CDC-402D-A72B915145CF}"/>
              </a:ext>
            </a:extLst>
          </p:cNvPr>
          <p:cNvSpPr txBox="1"/>
          <p:nvPr/>
        </p:nvSpPr>
        <p:spPr>
          <a:xfrm>
            <a:off x="6185123" y="4707833"/>
            <a:ext cx="5038344" cy="116955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/>
            <a:r>
              <a:rPr lang="es-ES" sz="1400" dirty="0">
                <a:solidFill>
                  <a:schemeClr val="accent1"/>
                </a:solidFill>
              </a:rPr>
              <a:t>El estudio OPTIMIZE PAD-1 mostró que un programa interprofesional puede lograr una rápida reducción del LDL-c en pacientes vasculares utilizando terapias disponibles, y los objetivos de LDL-c pueden ser alcanzados en la mayoría de los pacientes mediante sistemas de atención optimizados</a:t>
            </a:r>
            <a:r>
              <a:rPr lang="es-ES" sz="1400" baseline="30000" dirty="0">
                <a:solidFill>
                  <a:schemeClr val="accent1"/>
                </a:solidFill>
              </a:rPr>
              <a:t>1</a:t>
            </a:r>
            <a:r>
              <a:rPr lang="es-ES" sz="1400" dirty="0">
                <a:solidFill>
                  <a:schemeClr val="accent1"/>
                </a:solidFill>
              </a:rPr>
              <a:t>.</a:t>
            </a:r>
          </a:p>
        </p:txBody>
      </p:sp>
      <p:sp>
        <p:nvSpPr>
          <p:cNvPr id="10" name="CuadroTexto 9">
            <a:extLst>
              <a:ext uri="{FF2B5EF4-FFF2-40B4-BE49-F238E27FC236}">
                <a16:creationId xmlns:a16="http://schemas.microsoft.com/office/drawing/2014/main" id="{FC52F45B-4E0A-5A40-FABA-E5929CD1D3C0}"/>
              </a:ext>
            </a:extLst>
          </p:cNvPr>
          <p:cNvSpPr txBox="1"/>
          <p:nvPr/>
        </p:nvSpPr>
        <p:spPr>
          <a:xfrm>
            <a:off x="6970848" y="4249711"/>
            <a:ext cx="3454762" cy="200055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s-ES"/>
            </a:defPPr>
            <a:lvl1pPr algn="ctr">
              <a:defRPr sz="700" i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J Am Coll </a:t>
            </a:r>
            <a:r>
              <a:rPr lang="en-US" dirty="0" err="1"/>
              <a:t>Cardiol</a:t>
            </a:r>
            <a:r>
              <a:rPr lang="en-US" dirty="0"/>
              <a:t>. 2024 Jun 25;83(25):2658-2670. </a:t>
            </a:r>
            <a:endParaRPr lang="es-ES" dirty="0"/>
          </a:p>
        </p:txBody>
      </p:sp>
      <p:sp>
        <p:nvSpPr>
          <p:cNvPr id="4" name="Título 3">
            <a:extLst>
              <a:ext uri="{FF2B5EF4-FFF2-40B4-BE49-F238E27FC236}">
                <a16:creationId xmlns:a16="http://schemas.microsoft.com/office/drawing/2014/main" id="{4387B716-8539-03AB-7E07-3B3A43949F54}"/>
              </a:ext>
            </a:extLst>
          </p:cNvPr>
          <p:cNvSpPr txBox="1">
            <a:spLocks/>
          </p:cNvSpPr>
          <p:nvPr/>
        </p:nvSpPr>
        <p:spPr>
          <a:xfrm>
            <a:off x="603504" y="156981"/>
            <a:ext cx="11180064" cy="842533"/>
          </a:xfrm>
          <a:prstGeom prst="rect">
            <a:avLst/>
          </a:prstGeom>
        </p:spPr>
        <p:txBody>
          <a:bodyPr lIns="0" tIns="0" rIns="0" bIns="0" anchor="ctr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067" kern="1200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ES" sz="2400" b="1" dirty="0"/>
              <a:t>Tratamiento farmacológico de pacientes EAP</a:t>
            </a:r>
          </a:p>
        </p:txBody>
      </p:sp>
      <p:sp>
        <p:nvSpPr>
          <p:cNvPr id="8" name="Rectángulo 7">
            <a:extLst>
              <a:ext uri="{FF2B5EF4-FFF2-40B4-BE49-F238E27FC236}">
                <a16:creationId xmlns:a16="http://schemas.microsoft.com/office/drawing/2014/main" id="{8AF2C7EB-9BAA-195D-A15D-982AE8574B35}"/>
              </a:ext>
            </a:extLst>
          </p:cNvPr>
          <p:cNvSpPr/>
          <p:nvPr/>
        </p:nvSpPr>
        <p:spPr>
          <a:xfrm>
            <a:off x="603504" y="850392"/>
            <a:ext cx="11164824" cy="423910"/>
          </a:xfrm>
          <a:prstGeom prst="rect">
            <a:avLst/>
          </a:prstGeom>
          <a:solidFill>
            <a:schemeClr val="accent4"/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s-ES_tradnl" sz="2400" b="1" dirty="0"/>
              <a:t>Terapia con hipolipemiantes</a:t>
            </a:r>
            <a:endParaRPr lang="es-ES" sz="2400" b="1" dirty="0"/>
          </a:p>
        </p:txBody>
      </p:sp>
      <p:sp>
        <p:nvSpPr>
          <p:cNvPr id="2" name="CuadroTexto 1">
            <a:extLst>
              <a:ext uri="{FF2B5EF4-FFF2-40B4-BE49-F238E27FC236}">
                <a16:creationId xmlns:a16="http://schemas.microsoft.com/office/drawing/2014/main" id="{785332B4-EA28-1EB5-9918-45A19168C5D0}"/>
              </a:ext>
            </a:extLst>
          </p:cNvPr>
          <p:cNvSpPr txBox="1"/>
          <p:nvPr/>
        </p:nvSpPr>
        <p:spPr>
          <a:xfrm rot="16200000">
            <a:off x="10611613" y="3657467"/>
            <a:ext cx="2510028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s-ES" sz="1400" dirty="0">
                <a:solidFill>
                  <a:schemeClr val="bg1">
                    <a:lumMod val="95000"/>
                  </a:schemeClr>
                </a:solidFill>
              </a:rPr>
              <a:t>MA-ES-NOP-2500037</a:t>
            </a:r>
          </a:p>
        </p:txBody>
      </p:sp>
    </p:spTree>
    <p:extLst>
      <p:ext uri="{BB962C8B-B14F-4D97-AF65-F5344CB8AC3E}">
        <p14:creationId xmlns:p14="http://schemas.microsoft.com/office/powerpoint/2010/main" val="360855886"/>
      </p:ext>
    </p:extLst>
  </p:cSld>
  <p:clrMapOvr>
    <a:masterClrMapping/>
  </p:clrMapOvr>
  <p:transition spd="med">
    <p:fade/>
  </p:transition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n 3">
            <a:extLst>
              <a:ext uri="{FF2B5EF4-FFF2-40B4-BE49-F238E27FC236}">
                <a16:creationId xmlns:a16="http://schemas.microsoft.com/office/drawing/2014/main" id="{E1193776-FE4D-69C0-5BFB-DD2051C2A8B6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l="97" t="321"/>
          <a:stretch>
            <a:fillRect/>
          </a:stretch>
        </p:blipFill>
        <p:spPr>
          <a:xfrm>
            <a:off x="1489782" y="1894561"/>
            <a:ext cx="4208262" cy="2613189"/>
          </a:xfrm>
          <a:prstGeom prst="rect">
            <a:avLst/>
          </a:prstGeom>
        </p:spPr>
      </p:pic>
      <p:pic>
        <p:nvPicPr>
          <p:cNvPr id="6" name="Imagen 5">
            <a:extLst>
              <a:ext uri="{FF2B5EF4-FFF2-40B4-BE49-F238E27FC236}">
                <a16:creationId xmlns:a16="http://schemas.microsoft.com/office/drawing/2014/main" id="{90A19780-EA73-3B76-ED99-0AC226D1F146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l="176" r="1"/>
          <a:stretch>
            <a:fillRect/>
          </a:stretch>
        </p:blipFill>
        <p:spPr>
          <a:xfrm>
            <a:off x="6603611" y="1940281"/>
            <a:ext cx="4289537" cy="2554967"/>
          </a:xfrm>
          <a:prstGeom prst="rect">
            <a:avLst/>
          </a:prstGeom>
        </p:spPr>
      </p:pic>
      <p:sp>
        <p:nvSpPr>
          <p:cNvPr id="10" name="CuadroTexto 9">
            <a:extLst>
              <a:ext uri="{FF2B5EF4-FFF2-40B4-BE49-F238E27FC236}">
                <a16:creationId xmlns:a16="http://schemas.microsoft.com/office/drawing/2014/main" id="{309C5A45-21A7-6211-DF4A-F10F98E62151}"/>
              </a:ext>
            </a:extLst>
          </p:cNvPr>
          <p:cNvSpPr txBox="1"/>
          <p:nvPr/>
        </p:nvSpPr>
        <p:spPr>
          <a:xfrm>
            <a:off x="6345838" y="4906813"/>
            <a:ext cx="4805083" cy="738664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s-ES"/>
            </a:defPPr>
            <a:lvl1pPr algn="just">
              <a:defRPr sz="1400">
                <a:solidFill>
                  <a:schemeClr val="accent1"/>
                </a:solidFill>
              </a:defRPr>
            </a:lvl1pPr>
          </a:lstStyle>
          <a:p>
            <a:r>
              <a:rPr lang="es-ES" dirty="0"/>
              <a:t>Después de 3 años de seguimiento, el grupo de estatinas tuvo menor incidencia de terapia endovascular y amputación en comparación con el grupo sin estatinas</a:t>
            </a:r>
            <a:r>
              <a:rPr lang="es-ES" baseline="30000" dirty="0"/>
              <a:t>1</a:t>
            </a:r>
            <a:r>
              <a:rPr lang="es-ES" dirty="0"/>
              <a:t>.</a:t>
            </a:r>
          </a:p>
        </p:txBody>
      </p:sp>
      <p:sp>
        <p:nvSpPr>
          <p:cNvPr id="12" name="CuadroTexto 11">
            <a:extLst>
              <a:ext uri="{FF2B5EF4-FFF2-40B4-BE49-F238E27FC236}">
                <a16:creationId xmlns:a16="http://schemas.microsoft.com/office/drawing/2014/main" id="{1CE161F6-2C22-B7D9-693A-8B943CB41B63}"/>
              </a:ext>
            </a:extLst>
          </p:cNvPr>
          <p:cNvSpPr txBox="1"/>
          <p:nvPr/>
        </p:nvSpPr>
        <p:spPr>
          <a:xfrm>
            <a:off x="1341664" y="4920064"/>
            <a:ext cx="4504499" cy="738664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>
            <a:defPPr>
              <a:defRPr lang="es-ES"/>
            </a:defPPr>
            <a:lvl1pPr algn="ctr">
              <a:defRPr sz="1400">
                <a:solidFill>
                  <a:schemeClr val="accent1"/>
                </a:solidFill>
              </a:defRPr>
            </a:lvl1pPr>
          </a:lstStyle>
          <a:p>
            <a:pPr algn="just"/>
            <a:r>
              <a:rPr lang="es-ES" dirty="0"/>
              <a:t>En este estudio de cohortes, el riesgo de muerte por todas las causas fue significativamente menor en el grupo de estatinas vs no estatinas a los 3 años</a:t>
            </a:r>
            <a:r>
              <a:rPr lang="es-ES" baseline="30000" dirty="0"/>
              <a:t>1</a:t>
            </a:r>
            <a:r>
              <a:rPr lang="es-ES" dirty="0"/>
              <a:t>.</a:t>
            </a:r>
          </a:p>
        </p:txBody>
      </p:sp>
      <p:sp>
        <p:nvSpPr>
          <p:cNvPr id="14" name="CuadroTexto 13">
            <a:extLst>
              <a:ext uri="{FF2B5EF4-FFF2-40B4-BE49-F238E27FC236}">
                <a16:creationId xmlns:a16="http://schemas.microsoft.com/office/drawing/2014/main" id="{87CA28C0-E122-D187-92F1-40864A5F5F40}"/>
              </a:ext>
            </a:extLst>
          </p:cNvPr>
          <p:cNvSpPr txBox="1"/>
          <p:nvPr/>
        </p:nvSpPr>
        <p:spPr>
          <a:xfrm>
            <a:off x="2263908" y="6129272"/>
            <a:ext cx="8163859" cy="338554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>
            <a:defPPr>
              <a:defRPr lang="es-ES"/>
            </a:defPPr>
            <a:lvl1pPr algn="ctr">
              <a:defRPr sz="700" b="1" i="1">
                <a:solidFill>
                  <a:schemeClr val="accent1"/>
                </a:solidFill>
                <a:effectLst/>
              </a:defRPr>
            </a:lvl1pPr>
          </a:lstStyle>
          <a:p>
            <a:r>
              <a:rPr lang="es-ES" dirty="0"/>
              <a:t>1. </a:t>
            </a:r>
            <a:r>
              <a:rPr lang="es-ES" b="0" dirty="0"/>
              <a:t>Hao-Yun Lo, et al. </a:t>
            </a:r>
            <a:r>
              <a:rPr lang="es-ES" b="0" dirty="0" err="1"/>
              <a:t>Association</a:t>
            </a:r>
            <a:r>
              <a:rPr lang="es-ES" b="0" dirty="0"/>
              <a:t> </a:t>
            </a:r>
            <a:r>
              <a:rPr lang="es-ES" b="0" dirty="0" err="1"/>
              <a:t>of</a:t>
            </a:r>
            <a:r>
              <a:rPr lang="es-ES" b="0" dirty="0"/>
              <a:t> </a:t>
            </a:r>
            <a:r>
              <a:rPr lang="es-ES" b="0" dirty="0" err="1"/>
              <a:t>Statin</a:t>
            </a:r>
            <a:r>
              <a:rPr lang="es-ES" b="0" dirty="0"/>
              <a:t> </a:t>
            </a:r>
            <a:r>
              <a:rPr lang="es-ES" b="0" dirty="0" err="1"/>
              <a:t>Therapy</a:t>
            </a:r>
            <a:r>
              <a:rPr lang="es-ES" b="0" dirty="0"/>
              <a:t> </a:t>
            </a:r>
            <a:r>
              <a:rPr lang="es-ES" b="0" dirty="0" err="1"/>
              <a:t>With</a:t>
            </a:r>
            <a:r>
              <a:rPr lang="es-ES" b="0" dirty="0"/>
              <a:t> </a:t>
            </a:r>
            <a:r>
              <a:rPr lang="es-ES" b="0" dirty="0" err="1"/>
              <a:t>Major</a:t>
            </a:r>
            <a:r>
              <a:rPr lang="es-ES" b="0" dirty="0"/>
              <a:t> Adverse Cardiovascular and </a:t>
            </a:r>
            <a:r>
              <a:rPr lang="es-ES" b="0" dirty="0" err="1"/>
              <a:t>Limb</a:t>
            </a:r>
            <a:r>
              <a:rPr lang="es-ES" b="0" dirty="0"/>
              <a:t> </a:t>
            </a:r>
            <a:r>
              <a:rPr lang="es-ES" b="0" dirty="0" err="1"/>
              <a:t>Outcomes</a:t>
            </a:r>
            <a:r>
              <a:rPr lang="es-ES" b="0" dirty="0"/>
              <a:t> in </a:t>
            </a:r>
            <a:r>
              <a:rPr lang="es-ES" b="0" dirty="0" err="1"/>
              <a:t>Patients</a:t>
            </a:r>
            <a:r>
              <a:rPr lang="es-ES" b="0" dirty="0"/>
              <a:t> </a:t>
            </a:r>
            <a:r>
              <a:rPr lang="es-ES" b="0" dirty="0" err="1"/>
              <a:t>With</a:t>
            </a:r>
            <a:r>
              <a:rPr lang="es-ES" b="0" dirty="0"/>
              <a:t> </a:t>
            </a:r>
            <a:r>
              <a:rPr lang="es-ES" b="0" dirty="0" err="1"/>
              <a:t>End-stage</a:t>
            </a:r>
            <a:r>
              <a:rPr lang="es-ES" b="0" dirty="0"/>
              <a:t> </a:t>
            </a:r>
            <a:r>
              <a:rPr lang="es-ES" b="0" dirty="0" err="1"/>
              <a:t>Kidney</a:t>
            </a:r>
            <a:r>
              <a:rPr lang="es-ES" b="0" dirty="0"/>
              <a:t> </a:t>
            </a:r>
            <a:r>
              <a:rPr lang="es-ES" b="0" dirty="0" err="1"/>
              <a:t>Disease</a:t>
            </a:r>
            <a:r>
              <a:rPr lang="es-ES" b="0" dirty="0"/>
              <a:t> and </a:t>
            </a:r>
            <a:r>
              <a:rPr lang="es-ES" b="0" dirty="0" err="1"/>
              <a:t>Peripheral</a:t>
            </a:r>
            <a:r>
              <a:rPr lang="es-ES" b="0" dirty="0"/>
              <a:t> </a:t>
            </a:r>
            <a:r>
              <a:rPr lang="es-ES" b="0" dirty="0" err="1"/>
              <a:t>Artery</a:t>
            </a:r>
            <a:r>
              <a:rPr lang="es-ES" b="0" dirty="0"/>
              <a:t> </a:t>
            </a:r>
            <a:r>
              <a:rPr lang="es-ES" b="0" dirty="0" err="1"/>
              <a:t>Disease</a:t>
            </a:r>
            <a:r>
              <a:rPr lang="es-ES" b="0" dirty="0"/>
              <a:t> </a:t>
            </a:r>
            <a:r>
              <a:rPr lang="es-ES" b="0" dirty="0" err="1"/>
              <a:t>Receiving</a:t>
            </a:r>
            <a:r>
              <a:rPr lang="es-ES" b="0" dirty="0"/>
              <a:t> </a:t>
            </a:r>
            <a:r>
              <a:rPr lang="es-ES" b="0" dirty="0" err="1"/>
              <a:t>Maintenance</a:t>
            </a:r>
            <a:r>
              <a:rPr lang="es-ES" b="0" dirty="0"/>
              <a:t> </a:t>
            </a:r>
            <a:r>
              <a:rPr lang="es-ES" b="0" dirty="0" err="1"/>
              <a:t>Dialysis</a:t>
            </a:r>
            <a:r>
              <a:rPr lang="es-ES" b="0" dirty="0"/>
              <a:t>. JAMA </a:t>
            </a:r>
            <a:r>
              <a:rPr lang="es-ES" b="0" dirty="0" err="1"/>
              <a:t>Netw</a:t>
            </a:r>
            <a:r>
              <a:rPr lang="es-ES" b="0" dirty="0"/>
              <a:t> Open. 2022 </a:t>
            </a:r>
            <a:r>
              <a:rPr lang="es-ES" b="0" dirty="0" err="1"/>
              <a:t>Sep</a:t>
            </a:r>
            <a:r>
              <a:rPr lang="es-ES" b="0" dirty="0"/>
              <a:t> 1;5(9):e2229706. </a:t>
            </a:r>
            <a:r>
              <a:rPr lang="es-ES" b="0" dirty="0" err="1"/>
              <a:t>doi</a:t>
            </a:r>
            <a:r>
              <a:rPr lang="es-ES" b="0" dirty="0"/>
              <a:t>: 10.1001/jamanetworkopen.2022.29706.</a:t>
            </a:r>
          </a:p>
        </p:txBody>
      </p:sp>
      <p:sp>
        <p:nvSpPr>
          <p:cNvPr id="5" name="CuadroTexto 4">
            <a:extLst>
              <a:ext uri="{FF2B5EF4-FFF2-40B4-BE49-F238E27FC236}">
                <a16:creationId xmlns:a16="http://schemas.microsoft.com/office/drawing/2014/main" id="{BD1C763D-7C18-61A1-093A-A5D84103A007}"/>
              </a:ext>
            </a:extLst>
          </p:cNvPr>
          <p:cNvSpPr txBox="1"/>
          <p:nvPr/>
        </p:nvSpPr>
        <p:spPr>
          <a:xfrm>
            <a:off x="2351472" y="4516335"/>
            <a:ext cx="2484882" cy="20005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s-ES" sz="700" i="1" dirty="0">
                <a:solidFill>
                  <a:schemeClr val="accent1"/>
                </a:solidFill>
              </a:rPr>
              <a:t>JAMA </a:t>
            </a:r>
            <a:r>
              <a:rPr lang="es-ES" sz="700" i="1" dirty="0" err="1">
                <a:solidFill>
                  <a:schemeClr val="accent1"/>
                </a:solidFill>
              </a:rPr>
              <a:t>Netw</a:t>
            </a:r>
            <a:r>
              <a:rPr lang="es-ES" sz="700" i="1" dirty="0">
                <a:solidFill>
                  <a:schemeClr val="accent1"/>
                </a:solidFill>
              </a:rPr>
              <a:t> Open. 2022 </a:t>
            </a:r>
            <a:r>
              <a:rPr lang="es-ES" sz="700" i="1" dirty="0" err="1">
                <a:solidFill>
                  <a:schemeClr val="accent1"/>
                </a:solidFill>
              </a:rPr>
              <a:t>Sep</a:t>
            </a:r>
            <a:r>
              <a:rPr lang="es-ES" sz="700" i="1" dirty="0">
                <a:solidFill>
                  <a:schemeClr val="accent1"/>
                </a:solidFill>
              </a:rPr>
              <a:t> 1;5(9):e2229706</a:t>
            </a:r>
          </a:p>
        </p:txBody>
      </p:sp>
      <p:sp>
        <p:nvSpPr>
          <p:cNvPr id="7" name="CuadroTexto 6">
            <a:extLst>
              <a:ext uri="{FF2B5EF4-FFF2-40B4-BE49-F238E27FC236}">
                <a16:creationId xmlns:a16="http://schemas.microsoft.com/office/drawing/2014/main" id="{101225E0-D299-4744-7C2D-D95687D44DF9}"/>
              </a:ext>
            </a:extLst>
          </p:cNvPr>
          <p:cNvSpPr txBox="1"/>
          <p:nvPr/>
        </p:nvSpPr>
        <p:spPr>
          <a:xfrm>
            <a:off x="7505938" y="4514837"/>
            <a:ext cx="2484882" cy="20005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s-ES" sz="700" i="1" dirty="0">
                <a:solidFill>
                  <a:schemeClr val="accent1"/>
                </a:solidFill>
              </a:rPr>
              <a:t>JAMA </a:t>
            </a:r>
            <a:r>
              <a:rPr lang="es-ES" sz="700" i="1" dirty="0" err="1">
                <a:solidFill>
                  <a:schemeClr val="accent1"/>
                </a:solidFill>
              </a:rPr>
              <a:t>Netw</a:t>
            </a:r>
            <a:r>
              <a:rPr lang="es-ES" sz="700" i="1" dirty="0">
                <a:solidFill>
                  <a:schemeClr val="accent1"/>
                </a:solidFill>
              </a:rPr>
              <a:t> Open. 2022 </a:t>
            </a:r>
            <a:r>
              <a:rPr lang="es-ES" sz="700" i="1" dirty="0" err="1">
                <a:solidFill>
                  <a:schemeClr val="accent1"/>
                </a:solidFill>
              </a:rPr>
              <a:t>Sep</a:t>
            </a:r>
            <a:r>
              <a:rPr lang="es-ES" sz="700" i="1" dirty="0">
                <a:solidFill>
                  <a:schemeClr val="accent1"/>
                </a:solidFill>
              </a:rPr>
              <a:t> 1;5(9):e2229706</a:t>
            </a:r>
          </a:p>
        </p:txBody>
      </p:sp>
      <p:sp>
        <p:nvSpPr>
          <p:cNvPr id="8" name="Título 3">
            <a:extLst>
              <a:ext uri="{FF2B5EF4-FFF2-40B4-BE49-F238E27FC236}">
                <a16:creationId xmlns:a16="http://schemas.microsoft.com/office/drawing/2014/main" id="{BD48660A-5A32-8546-6F8A-84B15706A7B3}"/>
              </a:ext>
            </a:extLst>
          </p:cNvPr>
          <p:cNvSpPr txBox="1">
            <a:spLocks/>
          </p:cNvSpPr>
          <p:nvPr/>
        </p:nvSpPr>
        <p:spPr>
          <a:xfrm>
            <a:off x="408432" y="156981"/>
            <a:ext cx="11375136" cy="842533"/>
          </a:xfrm>
          <a:prstGeom prst="rect">
            <a:avLst/>
          </a:prstGeom>
        </p:spPr>
        <p:txBody>
          <a:bodyPr lIns="0" tIns="0" rIns="0" bIns="0" anchor="ctr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067" kern="1200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ES" sz="2400" b="1" dirty="0"/>
              <a:t>Tratamiento farmacológico de pacientes EAP</a:t>
            </a:r>
          </a:p>
        </p:txBody>
      </p:sp>
      <p:sp>
        <p:nvSpPr>
          <p:cNvPr id="9" name="Rectángulo 8">
            <a:extLst>
              <a:ext uri="{FF2B5EF4-FFF2-40B4-BE49-F238E27FC236}">
                <a16:creationId xmlns:a16="http://schemas.microsoft.com/office/drawing/2014/main" id="{55BF98B7-D109-6D3D-F2C9-C4B28CFA6C58}"/>
              </a:ext>
            </a:extLst>
          </p:cNvPr>
          <p:cNvSpPr/>
          <p:nvPr/>
        </p:nvSpPr>
        <p:spPr>
          <a:xfrm>
            <a:off x="408432" y="850392"/>
            <a:ext cx="11442192" cy="423910"/>
          </a:xfrm>
          <a:prstGeom prst="rect">
            <a:avLst/>
          </a:prstGeom>
          <a:solidFill>
            <a:schemeClr val="accent4"/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s-ES_tradnl" sz="2400" b="1" dirty="0"/>
              <a:t>Terapia con hipolipemiantes</a:t>
            </a:r>
            <a:endParaRPr lang="es-ES" sz="2400" b="1" dirty="0"/>
          </a:p>
        </p:txBody>
      </p:sp>
      <p:sp>
        <p:nvSpPr>
          <p:cNvPr id="2" name="CuadroTexto 1">
            <a:extLst>
              <a:ext uri="{FF2B5EF4-FFF2-40B4-BE49-F238E27FC236}">
                <a16:creationId xmlns:a16="http://schemas.microsoft.com/office/drawing/2014/main" id="{220713DA-0889-6944-ED62-F620146383A5}"/>
              </a:ext>
            </a:extLst>
          </p:cNvPr>
          <p:cNvSpPr txBox="1"/>
          <p:nvPr/>
        </p:nvSpPr>
        <p:spPr>
          <a:xfrm rot="16200000">
            <a:off x="10611613" y="3657467"/>
            <a:ext cx="2510028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s-ES" sz="1400" dirty="0">
                <a:solidFill>
                  <a:schemeClr val="bg1">
                    <a:lumMod val="95000"/>
                  </a:schemeClr>
                </a:solidFill>
              </a:rPr>
              <a:t>MA-ES-NOP-2500037</a:t>
            </a:r>
          </a:p>
        </p:txBody>
      </p:sp>
    </p:spTree>
    <p:extLst>
      <p:ext uri="{BB962C8B-B14F-4D97-AF65-F5344CB8AC3E}">
        <p14:creationId xmlns:p14="http://schemas.microsoft.com/office/powerpoint/2010/main" val="1722194211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2234935-280C-F130-3A67-93298AA5C19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n 1">
            <a:extLst>
              <a:ext uri="{FF2B5EF4-FFF2-40B4-BE49-F238E27FC236}">
                <a16:creationId xmlns:a16="http://schemas.microsoft.com/office/drawing/2014/main" id="{569E2A30-9551-4CEF-0486-4F17745A3ED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954066" y="2049402"/>
            <a:ext cx="5631256" cy="2688074"/>
          </a:xfrm>
          <a:prstGeom prst="rect">
            <a:avLst/>
          </a:prstGeom>
        </p:spPr>
      </p:pic>
      <p:sp>
        <p:nvSpPr>
          <p:cNvPr id="8" name="CuadroTexto 7">
            <a:extLst>
              <a:ext uri="{FF2B5EF4-FFF2-40B4-BE49-F238E27FC236}">
                <a16:creationId xmlns:a16="http://schemas.microsoft.com/office/drawing/2014/main" id="{FA3742B6-4E5C-AFA3-DF27-FED060AE175F}"/>
              </a:ext>
            </a:extLst>
          </p:cNvPr>
          <p:cNvSpPr txBox="1"/>
          <p:nvPr/>
        </p:nvSpPr>
        <p:spPr>
          <a:xfrm>
            <a:off x="6018074" y="4608543"/>
            <a:ext cx="3044827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s-ES" sz="1000" b="1" dirty="0" err="1">
                <a:solidFill>
                  <a:schemeClr val="tx1">
                    <a:lumMod val="50000"/>
                  </a:schemeClr>
                </a:solidFill>
              </a:rPr>
              <a:t>b.i.d</a:t>
            </a:r>
            <a:r>
              <a:rPr lang="es-ES" sz="1000" dirty="0">
                <a:solidFill>
                  <a:schemeClr val="tx1">
                    <a:lumMod val="50000"/>
                  </a:schemeClr>
                </a:solidFill>
              </a:rPr>
              <a:t>.: </a:t>
            </a:r>
            <a:r>
              <a:rPr lang="es-ES" sz="1000" dirty="0" err="1">
                <a:solidFill>
                  <a:schemeClr val="tx1">
                    <a:lumMod val="50000"/>
                  </a:schemeClr>
                </a:solidFill>
              </a:rPr>
              <a:t>twice</a:t>
            </a:r>
            <a:r>
              <a:rPr lang="es-ES" sz="1000" dirty="0">
                <a:solidFill>
                  <a:schemeClr val="tx1">
                    <a:lumMod val="50000"/>
                  </a:schemeClr>
                </a:solidFill>
              </a:rPr>
              <a:t> </a:t>
            </a:r>
            <a:r>
              <a:rPr lang="es-ES" sz="1000" dirty="0" err="1">
                <a:solidFill>
                  <a:schemeClr val="tx1">
                    <a:lumMod val="50000"/>
                  </a:schemeClr>
                </a:solidFill>
              </a:rPr>
              <a:t>daily</a:t>
            </a:r>
            <a:r>
              <a:rPr lang="es-ES" sz="1000" dirty="0">
                <a:solidFill>
                  <a:schemeClr val="tx1">
                    <a:lumMod val="50000"/>
                  </a:schemeClr>
                </a:solidFill>
              </a:rPr>
              <a:t>; </a:t>
            </a:r>
            <a:r>
              <a:rPr lang="es-ES" sz="1000" b="1" dirty="0">
                <a:solidFill>
                  <a:schemeClr val="tx1">
                    <a:lumMod val="50000"/>
                  </a:schemeClr>
                </a:solidFill>
              </a:rPr>
              <a:t>OAC:</a:t>
            </a:r>
            <a:r>
              <a:rPr lang="es-ES" sz="1000" dirty="0">
                <a:solidFill>
                  <a:schemeClr val="tx1">
                    <a:lumMod val="50000"/>
                  </a:schemeClr>
                </a:solidFill>
              </a:rPr>
              <a:t> oral </a:t>
            </a:r>
            <a:r>
              <a:rPr lang="es-ES" sz="1000" dirty="0" err="1">
                <a:solidFill>
                  <a:schemeClr val="tx1">
                    <a:lumMod val="50000"/>
                  </a:schemeClr>
                </a:solidFill>
              </a:rPr>
              <a:t>anticoagulant</a:t>
            </a:r>
            <a:r>
              <a:rPr lang="es-ES" sz="1000" dirty="0">
                <a:solidFill>
                  <a:schemeClr val="tx1">
                    <a:lumMod val="50000"/>
                  </a:schemeClr>
                </a:solidFill>
              </a:rPr>
              <a:t>; </a:t>
            </a:r>
            <a:r>
              <a:rPr lang="es-ES" sz="1000" b="1" dirty="0">
                <a:solidFill>
                  <a:schemeClr val="tx1">
                    <a:lumMod val="50000"/>
                  </a:schemeClr>
                </a:solidFill>
              </a:rPr>
              <a:t>PAD:</a:t>
            </a:r>
            <a:r>
              <a:rPr lang="es-ES" sz="1000" dirty="0">
                <a:solidFill>
                  <a:schemeClr val="tx1">
                    <a:lumMod val="50000"/>
                  </a:schemeClr>
                </a:solidFill>
              </a:rPr>
              <a:t> </a:t>
            </a:r>
            <a:r>
              <a:rPr lang="es-ES" sz="1000" dirty="0" err="1">
                <a:solidFill>
                  <a:schemeClr val="tx1">
                    <a:lumMod val="50000"/>
                  </a:schemeClr>
                </a:solidFill>
              </a:rPr>
              <a:t>peripheral</a:t>
            </a:r>
            <a:r>
              <a:rPr lang="es-ES" sz="1000" dirty="0">
                <a:solidFill>
                  <a:schemeClr val="tx1">
                    <a:lumMod val="50000"/>
                  </a:schemeClr>
                </a:solidFill>
              </a:rPr>
              <a:t> arterial </a:t>
            </a:r>
            <a:r>
              <a:rPr lang="es-ES" sz="1000" dirty="0" err="1">
                <a:solidFill>
                  <a:schemeClr val="tx1">
                    <a:lumMod val="50000"/>
                  </a:schemeClr>
                </a:solidFill>
              </a:rPr>
              <a:t>disease</a:t>
            </a:r>
            <a:r>
              <a:rPr lang="es-ES" sz="1000" dirty="0">
                <a:solidFill>
                  <a:schemeClr val="tx1">
                    <a:lumMod val="50000"/>
                  </a:schemeClr>
                </a:solidFill>
              </a:rPr>
              <a:t>; </a:t>
            </a:r>
            <a:r>
              <a:rPr lang="es-ES" sz="1000" b="1" dirty="0">
                <a:solidFill>
                  <a:schemeClr val="tx1">
                    <a:lumMod val="50000"/>
                  </a:schemeClr>
                </a:solidFill>
              </a:rPr>
              <a:t>ASA:</a:t>
            </a:r>
            <a:r>
              <a:rPr lang="es-ES" sz="1000" dirty="0">
                <a:solidFill>
                  <a:schemeClr val="tx1">
                    <a:lumMod val="50000"/>
                  </a:schemeClr>
                </a:solidFill>
              </a:rPr>
              <a:t> </a:t>
            </a:r>
            <a:r>
              <a:rPr lang="es-ES" sz="1000" dirty="0" err="1">
                <a:solidFill>
                  <a:schemeClr val="tx1">
                    <a:lumMod val="50000"/>
                  </a:schemeClr>
                </a:solidFill>
              </a:rPr>
              <a:t>aspirin</a:t>
            </a:r>
            <a:endParaRPr lang="es-ES" sz="1000" dirty="0">
              <a:solidFill>
                <a:schemeClr val="tx1">
                  <a:lumMod val="50000"/>
                </a:schemeClr>
              </a:solidFill>
            </a:endParaRPr>
          </a:p>
        </p:txBody>
      </p:sp>
      <p:sp>
        <p:nvSpPr>
          <p:cNvPr id="11" name="CuadroTexto 10">
            <a:extLst>
              <a:ext uri="{FF2B5EF4-FFF2-40B4-BE49-F238E27FC236}">
                <a16:creationId xmlns:a16="http://schemas.microsoft.com/office/drawing/2014/main" id="{A9181FDD-2D2A-5F0A-8655-61EDD5EB7867}"/>
              </a:ext>
            </a:extLst>
          </p:cNvPr>
          <p:cNvSpPr txBox="1"/>
          <p:nvPr/>
        </p:nvSpPr>
        <p:spPr>
          <a:xfrm>
            <a:off x="6257411" y="1566297"/>
            <a:ext cx="5024565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s-ES" sz="1200" b="1" dirty="0">
                <a:solidFill>
                  <a:schemeClr val="tx1">
                    <a:lumMod val="50000"/>
                  </a:schemeClr>
                </a:solidFill>
              </a:rPr>
              <a:t>Terapia antitrombótica a largo plazo en pacientes con enfermedad arterial periférica sintomática</a:t>
            </a:r>
            <a:r>
              <a:rPr lang="es-ES" sz="1200" b="1" baseline="30000" dirty="0">
                <a:solidFill>
                  <a:schemeClr val="tx1">
                    <a:lumMod val="50000"/>
                  </a:schemeClr>
                </a:solidFill>
              </a:rPr>
              <a:t>1</a:t>
            </a:r>
          </a:p>
        </p:txBody>
      </p:sp>
      <p:sp>
        <p:nvSpPr>
          <p:cNvPr id="13" name="CuadroTexto 12">
            <a:extLst>
              <a:ext uri="{FF2B5EF4-FFF2-40B4-BE49-F238E27FC236}">
                <a16:creationId xmlns:a16="http://schemas.microsoft.com/office/drawing/2014/main" id="{B766B19D-C29D-2CB3-D455-837A8948DE7C}"/>
              </a:ext>
            </a:extLst>
          </p:cNvPr>
          <p:cNvSpPr txBox="1"/>
          <p:nvPr/>
        </p:nvSpPr>
        <p:spPr>
          <a:xfrm>
            <a:off x="9503134" y="4687117"/>
            <a:ext cx="1999128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s-ES"/>
            </a:defPPr>
            <a:lvl1pPr algn="ctr">
              <a:defRPr sz="700" b="0" i="1">
                <a:solidFill>
                  <a:schemeClr val="accent1"/>
                </a:solidFill>
                <a:effectLst/>
              </a:defRPr>
            </a:lvl1pPr>
          </a:lstStyle>
          <a:p>
            <a:pPr algn="r"/>
            <a:r>
              <a:rPr lang="es-ES" dirty="0" err="1"/>
              <a:t>Eur</a:t>
            </a:r>
            <a:r>
              <a:rPr lang="es-ES" dirty="0"/>
              <a:t> Heart J. 2024 </a:t>
            </a:r>
            <a:r>
              <a:rPr lang="es-ES" dirty="0" err="1"/>
              <a:t>Sep</a:t>
            </a:r>
            <a:r>
              <a:rPr lang="es-ES" dirty="0"/>
              <a:t> 29;45(36):3538-3700</a:t>
            </a:r>
          </a:p>
        </p:txBody>
      </p:sp>
      <p:pic>
        <p:nvPicPr>
          <p:cNvPr id="17" name="Imagen 16">
            <a:extLst>
              <a:ext uri="{FF2B5EF4-FFF2-40B4-BE49-F238E27FC236}">
                <a16:creationId xmlns:a16="http://schemas.microsoft.com/office/drawing/2014/main" id="{E8313D91-1B54-DA0E-FEDF-41FD8D98CC4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20423" y="2127370"/>
            <a:ext cx="4693410" cy="2294420"/>
          </a:xfrm>
          <a:prstGeom prst="rect">
            <a:avLst/>
          </a:prstGeom>
        </p:spPr>
      </p:pic>
      <p:sp>
        <p:nvSpPr>
          <p:cNvPr id="18" name="CuadroTexto 17">
            <a:extLst>
              <a:ext uri="{FF2B5EF4-FFF2-40B4-BE49-F238E27FC236}">
                <a16:creationId xmlns:a16="http://schemas.microsoft.com/office/drawing/2014/main" id="{6842EC75-1BB9-9AF1-A67C-C433A22F895C}"/>
              </a:ext>
            </a:extLst>
          </p:cNvPr>
          <p:cNvSpPr txBox="1"/>
          <p:nvPr/>
        </p:nvSpPr>
        <p:spPr>
          <a:xfrm>
            <a:off x="3514705" y="4471073"/>
            <a:ext cx="1999128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s-ES"/>
            </a:defPPr>
            <a:lvl1pPr algn="ctr">
              <a:defRPr sz="700" b="0" i="1">
                <a:solidFill>
                  <a:schemeClr val="accent1"/>
                </a:solidFill>
                <a:effectLst/>
              </a:defRPr>
            </a:lvl1pPr>
          </a:lstStyle>
          <a:p>
            <a:pPr algn="r"/>
            <a:r>
              <a:rPr lang="es-ES" dirty="0" err="1"/>
              <a:t>Eur</a:t>
            </a:r>
            <a:r>
              <a:rPr lang="es-ES" dirty="0"/>
              <a:t> Heart J. 2024 </a:t>
            </a:r>
            <a:r>
              <a:rPr lang="es-ES" dirty="0" err="1"/>
              <a:t>Sep</a:t>
            </a:r>
            <a:r>
              <a:rPr lang="es-ES" dirty="0"/>
              <a:t> 29;45(36):3538-3700</a:t>
            </a:r>
          </a:p>
        </p:txBody>
      </p:sp>
      <p:sp>
        <p:nvSpPr>
          <p:cNvPr id="19" name="CuadroTexto 18">
            <a:extLst>
              <a:ext uri="{FF2B5EF4-FFF2-40B4-BE49-F238E27FC236}">
                <a16:creationId xmlns:a16="http://schemas.microsoft.com/office/drawing/2014/main" id="{2FD6FD8E-D51D-985D-38AF-EA6ED12C2DE8}"/>
              </a:ext>
            </a:extLst>
          </p:cNvPr>
          <p:cNvSpPr txBox="1"/>
          <p:nvPr/>
        </p:nvSpPr>
        <p:spPr>
          <a:xfrm>
            <a:off x="1403387" y="6362544"/>
            <a:ext cx="9385225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s-ES"/>
            </a:defPPr>
            <a:lvl1pPr algn="ctr">
              <a:defRPr sz="700" b="0" i="1">
                <a:solidFill>
                  <a:schemeClr val="accent1"/>
                </a:solidFill>
                <a:effectLst/>
              </a:defRPr>
            </a:lvl1pPr>
          </a:lstStyle>
          <a:p>
            <a:r>
              <a:rPr lang="es-ES" b="1" dirty="0"/>
              <a:t>1</a:t>
            </a:r>
            <a:r>
              <a:rPr lang="es-ES" dirty="0"/>
              <a:t>. </a:t>
            </a:r>
            <a:r>
              <a:rPr lang="es-ES" dirty="0" err="1"/>
              <a:t>Mazzolai</a:t>
            </a:r>
            <a:r>
              <a:rPr lang="es-ES" dirty="0"/>
              <a:t> L, et al. 2024 ESC </a:t>
            </a:r>
            <a:r>
              <a:rPr lang="es-ES" dirty="0" err="1"/>
              <a:t>Guidelines</a:t>
            </a:r>
            <a:r>
              <a:rPr lang="es-ES" dirty="0"/>
              <a:t> </a:t>
            </a:r>
            <a:r>
              <a:rPr lang="es-ES" dirty="0" err="1"/>
              <a:t>for</a:t>
            </a:r>
            <a:r>
              <a:rPr lang="es-ES" dirty="0"/>
              <a:t> </a:t>
            </a:r>
            <a:r>
              <a:rPr lang="es-ES" dirty="0" err="1"/>
              <a:t>the</a:t>
            </a:r>
            <a:r>
              <a:rPr lang="es-ES" dirty="0"/>
              <a:t> </a:t>
            </a:r>
            <a:r>
              <a:rPr lang="es-ES" dirty="0" err="1"/>
              <a:t>management</a:t>
            </a:r>
            <a:r>
              <a:rPr lang="es-ES" dirty="0"/>
              <a:t> </a:t>
            </a:r>
            <a:r>
              <a:rPr lang="es-ES" dirty="0" err="1"/>
              <a:t>of</a:t>
            </a:r>
            <a:r>
              <a:rPr lang="es-ES" dirty="0"/>
              <a:t> </a:t>
            </a:r>
            <a:r>
              <a:rPr lang="es-ES" dirty="0" err="1"/>
              <a:t>peripheral</a:t>
            </a:r>
            <a:r>
              <a:rPr lang="es-ES" dirty="0"/>
              <a:t> arterial and </a:t>
            </a:r>
            <a:r>
              <a:rPr lang="es-ES" dirty="0" err="1"/>
              <a:t>aortic</a:t>
            </a:r>
            <a:r>
              <a:rPr lang="es-ES" dirty="0"/>
              <a:t> </a:t>
            </a:r>
            <a:r>
              <a:rPr lang="es-ES" dirty="0" err="1"/>
              <a:t>diseases</a:t>
            </a:r>
            <a:r>
              <a:rPr lang="es-ES" dirty="0"/>
              <a:t>. </a:t>
            </a:r>
            <a:r>
              <a:rPr lang="es-ES" dirty="0" err="1"/>
              <a:t>Eur</a:t>
            </a:r>
            <a:r>
              <a:rPr lang="es-ES" dirty="0"/>
              <a:t> Heart J. 2024 </a:t>
            </a:r>
            <a:r>
              <a:rPr lang="es-ES" dirty="0" err="1"/>
              <a:t>Sep</a:t>
            </a:r>
            <a:r>
              <a:rPr lang="es-ES" dirty="0"/>
              <a:t> 29;45(36):3538-3700. </a:t>
            </a:r>
            <a:r>
              <a:rPr lang="es-ES" dirty="0" err="1"/>
              <a:t>doi</a:t>
            </a:r>
            <a:r>
              <a:rPr lang="es-ES" dirty="0"/>
              <a:t>: 10.1093/</a:t>
            </a:r>
            <a:r>
              <a:rPr lang="es-ES" dirty="0" err="1"/>
              <a:t>eurheartj</a:t>
            </a:r>
            <a:r>
              <a:rPr lang="es-ES" dirty="0"/>
              <a:t>/ehae179.</a:t>
            </a:r>
          </a:p>
        </p:txBody>
      </p:sp>
      <p:sp>
        <p:nvSpPr>
          <p:cNvPr id="21" name="CuadroTexto 20">
            <a:extLst>
              <a:ext uri="{FF2B5EF4-FFF2-40B4-BE49-F238E27FC236}">
                <a16:creationId xmlns:a16="http://schemas.microsoft.com/office/drawing/2014/main" id="{60008B31-531A-F659-FA61-15FEED713632}"/>
              </a:ext>
            </a:extLst>
          </p:cNvPr>
          <p:cNvSpPr txBox="1"/>
          <p:nvPr/>
        </p:nvSpPr>
        <p:spPr>
          <a:xfrm>
            <a:off x="820423" y="5112051"/>
            <a:ext cx="4822099" cy="954107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algn="just"/>
            <a:r>
              <a:rPr lang="es-ES" sz="1400" dirty="0">
                <a:solidFill>
                  <a:schemeClr val="accent1"/>
                </a:solidFill>
              </a:rPr>
              <a:t>Se recomienda el uso de terapia antiplaquetaria con aspirina sola (rango de 75 a 160 mg al día) o </a:t>
            </a:r>
            <a:r>
              <a:rPr lang="es-ES" sz="1400" dirty="0" err="1">
                <a:solidFill>
                  <a:schemeClr val="accent1"/>
                </a:solidFill>
              </a:rPr>
              <a:t>clopidogrel</a:t>
            </a:r>
            <a:r>
              <a:rPr lang="es-ES" sz="1400" dirty="0">
                <a:solidFill>
                  <a:schemeClr val="accent1"/>
                </a:solidFill>
              </a:rPr>
              <a:t> solo (75 mg al día) para la reducción de eventos adversos </a:t>
            </a:r>
            <a:r>
              <a:rPr lang="es-ES" sz="1400" dirty="0" err="1">
                <a:solidFill>
                  <a:schemeClr val="accent1"/>
                </a:solidFill>
              </a:rPr>
              <a:t>CVs</a:t>
            </a:r>
            <a:r>
              <a:rPr lang="es-ES" sz="1400" dirty="0">
                <a:solidFill>
                  <a:schemeClr val="accent1"/>
                </a:solidFill>
              </a:rPr>
              <a:t> mayores (MACE) en pacientes con EAP sintomática</a:t>
            </a:r>
            <a:r>
              <a:rPr lang="es-ES" sz="1400" baseline="30000" dirty="0">
                <a:solidFill>
                  <a:schemeClr val="accent1"/>
                </a:solidFill>
              </a:rPr>
              <a:t>1</a:t>
            </a:r>
            <a:r>
              <a:rPr lang="es-ES" sz="1400" dirty="0">
                <a:solidFill>
                  <a:schemeClr val="accent1"/>
                </a:solidFill>
              </a:rPr>
              <a:t>.</a:t>
            </a:r>
          </a:p>
        </p:txBody>
      </p:sp>
      <p:sp>
        <p:nvSpPr>
          <p:cNvPr id="23" name="CuadroTexto 22">
            <a:extLst>
              <a:ext uri="{FF2B5EF4-FFF2-40B4-BE49-F238E27FC236}">
                <a16:creationId xmlns:a16="http://schemas.microsoft.com/office/drawing/2014/main" id="{0AC096B5-0C4C-EE0E-D714-A89A8EA6C87E}"/>
              </a:ext>
            </a:extLst>
          </p:cNvPr>
          <p:cNvSpPr txBox="1"/>
          <p:nvPr/>
        </p:nvSpPr>
        <p:spPr>
          <a:xfrm>
            <a:off x="6219129" y="5316266"/>
            <a:ext cx="5152448" cy="738664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>
            <a:defPPr>
              <a:defRPr lang="es-ES"/>
            </a:defPPr>
            <a:lvl1pPr>
              <a:defRPr sz="1400">
                <a:solidFill>
                  <a:schemeClr val="accent1"/>
                </a:solidFill>
              </a:defRPr>
            </a:lvl1pPr>
          </a:lstStyle>
          <a:p>
            <a:pPr algn="just"/>
            <a:r>
              <a:rPr lang="es-ES" dirty="0"/>
              <a:t>El tratamiento con combinación de rivaroxabán (2.5 mg </a:t>
            </a:r>
            <a:r>
              <a:rPr lang="es-ES" dirty="0" err="1"/>
              <a:t>b.i.d</a:t>
            </a:r>
            <a:r>
              <a:rPr lang="es-ES" dirty="0"/>
              <a:t>.) y aspirina (100 mg </a:t>
            </a:r>
            <a:r>
              <a:rPr lang="es-ES" dirty="0" err="1"/>
              <a:t>o.d</a:t>
            </a:r>
            <a:r>
              <a:rPr lang="es-ES" dirty="0"/>
              <a:t>.) debe ser considerado para pacientes con EAP, alto riesgo isquémico y riesgo de sangrado no alto</a:t>
            </a:r>
            <a:r>
              <a:rPr lang="es-ES" baseline="30000" dirty="0"/>
              <a:t>1</a:t>
            </a:r>
            <a:r>
              <a:rPr lang="es-ES" dirty="0"/>
              <a:t>.</a:t>
            </a:r>
          </a:p>
        </p:txBody>
      </p:sp>
      <p:sp>
        <p:nvSpPr>
          <p:cNvPr id="24" name="Título 3">
            <a:extLst>
              <a:ext uri="{FF2B5EF4-FFF2-40B4-BE49-F238E27FC236}">
                <a16:creationId xmlns:a16="http://schemas.microsoft.com/office/drawing/2014/main" id="{355C5A3B-637D-62BD-770A-6E55ABCB5477}"/>
              </a:ext>
            </a:extLst>
          </p:cNvPr>
          <p:cNvSpPr txBox="1">
            <a:spLocks/>
          </p:cNvSpPr>
          <p:nvPr/>
        </p:nvSpPr>
        <p:spPr>
          <a:xfrm>
            <a:off x="408432" y="156981"/>
            <a:ext cx="11375136" cy="842533"/>
          </a:xfrm>
          <a:prstGeom prst="rect">
            <a:avLst/>
          </a:prstGeom>
        </p:spPr>
        <p:txBody>
          <a:bodyPr lIns="0" tIns="0" rIns="0" bIns="0" anchor="ctr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067" kern="1200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ES" sz="2400" b="1" dirty="0"/>
              <a:t>Tratamiento farmacológico de pacientes EAP</a:t>
            </a:r>
          </a:p>
        </p:txBody>
      </p:sp>
      <p:sp>
        <p:nvSpPr>
          <p:cNvPr id="25" name="Rectángulo 24">
            <a:extLst>
              <a:ext uri="{FF2B5EF4-FFF2-40B4-BE49-F238E27FC236}">
                <a16:creationId xmlns:a16="http://schemas.microsoft.com/office/drawing/2014/main" id="{C1360577-3731-912A-3651-1E828B549E33}"/>
              </a:ext>
            </a:extLst>
          </p:cNvPr>
          <p:cNvSpPr/>
          <p:nvPr/>
        </p:nvSpPr>
        <p:spPr>
          <a:xfrm>
            <a:off x="408432" y="850392"/>
            <a:ext cx="11442192" cy="423910"/>
          </a:xfrm>
          <a:prstGeom prst="rect">
            <a:avLst/>
          </a:prstGeom>
          <a:solidFill>
            <a:schemeClr val="accent5"/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s-ES_tradnl" sz="2400" b="1" dirty="0"/>
              <a:t>Terapia con antitrombóticos</a:t>
            </a:r>
            <a:endParaRPr lang="es-ES" sz="2400" b="1" dirty="0"/>
          </a:p>
        </p:txBody>
      </p:sp>
      <p:sp>
        <p:nvSpPr>
          <p:cNvPr id="26" name="CuadroTexto 25">
            <a:extLst>
              <a:ext uri="{FF2B5EF4-FFF2-40B4-BE49-F238E27FC236}">
                <a16:creationId xmlns:a16="http://schemas.microsoft.com/office/drawing/2014/main" id="{E32D586A-13F6-0ABE-9A5E-8E7C39368C4A}"/>
              </a:ext>
            </a:extLst>
          </p:cNvPr>
          <p:cNvSpPr txBox="1"/>
          <p:nvPr/>
        </p:nvSpPr>
        <p:spPr>
          <a:xfrm>
            <a:off x="617957" y="1566297"/>
            <a:ext cx="5024565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s-ES" sz="1600" b="1" dirty="0">
                <a:solidFill>
                  <a:schemeClr val="tx1">
                    <a:lumMod val="50000"/>
                  </a:schemeClr>
                </a:solidFill>
              </a:rPr>
              <a:t>Pacientes con EAP sintomática</a:t>
            </a:r>
            <a:endParaRPr lang="es-ES" sz="1600" b="1" baseline="30000" dirty="0">
              <a:solidFill>
                <a:schemeClr val="tx1">
                  <a:lumMod val="50000"/>
                </a:schemeClr>
              </a:solidFill>
            </a:endParaRPr>
          </a:p>
        </p:txBody>
      </p:sp>
      <p:sp>
        <p:nvSpPr>
          <p:cNvPr id="3" name="CuadroTexto 2">
            <a:extLst>
              <a:ext uri="{FF2B5EF4-FFF2-40B4-BE49-F238E27FC236}">
                <a16:creationId xmlns:a16="http://schemas.microsoft.com/office/drawing/2014/main" id="{7C924212-0291-C25B-3567-1C8461C052B5}"/>
              </a:ext>
            </a:extLst>
          </p:cNvPr>
          <p:cNvSpPr txBox="1"/>
          <p:nvPr/>
        </p:nvSpPr>
        <p:spPr>
          <a:xfrm rot="16200000">
            <a:off x="10611613" y="3657467"/>
            <a:ext cx="2510028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s-ES" sz="1400" dirty="0">
                <a:solidFill>
                  <a:schemeClr val="bg1">
                    <a:lumMod val="95000"/>
                  </a:schemeClr>
                </a:solidFill>
              </a:rPr>
              <a:t>MA-ES-NOP-2500037</a:t>
            </a:r>
          </a:p>
        </p:txBody>
      </p:sp>
    </p:spTree>
    <p:extLst>
      <p:ext uri="{BB962C8B-B14F-4D97-AF65-F5344CB8AC3E}">
        <p14:creationId xmlns:p14="http://schemas.microsoft.com/office/powerpoint/2010/main" val="2505774185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" name="Grupo 16">
            <a:extLst>
              <a:ext uri="{FF2B5EF4-FFF2-40B4-BE49-F238E27FC236}">
                <a16:creationId xmlns:a16="http://schemas.microsoft.com/office/drawing/2014/main" id="{B2208D68-864F-40A6-E0D9-EFD15AF34FA2}"/>
              </a:ext>
            </a:extLst>
          </p:cNvPr>
          <p:cNvGrpSpPr/>
          <p:nvPr/>
        </p:nvGrpSpPr>
        <p:grpSpPr>
          <a:xfrm>
            <a:off x="1116968" y="2079458"/>
            <a:ext cx="4477892" cy="3203222"/>
            <a:chOff x="953644" y="1483955"/>
            <a:chExt cx="4845299" cy="3649086"/>
          </a:xfrm>
        </p:grpSpPr>
        <p:pic>
          <p:nvPicPr>
            <p:cNvPr id="4" name="Imagen 3">
              <a:extLst>
                <a:ext uri="{FF2B5EF4-FFF2-40B4-BE49-F238E27FC236}">
                  <a16:creationId xmlns:a16="http://schemas.microsoft.com/office/drawing/2014/main" id="{76EB9210-3218-2CF8-8BB3-6945416E6375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998096" y="1926126"/>
              <a:ext cx="4800847" cy="3206915"/>
            </a:xfrm>
            <a:prstGeom prst="rect">
              <a:avLst/>
            </a:prstGeom>
          </p:spPr>
        </p:pic>
        <p:pic>
          <p:nvPicPr>
            <p:cNvPr id="5" name="Imagen 4">
              <a:extLst>
                <a:ext uri="{FF2B5EF4-FFF2-40B4-BE49-F238E27FC236}">
                  <a16:creationId xmlns:a16="http://schemas.microsoft.com/office/drawing/2014/main" id="{2CB3F35B-680D-CAD5-9EEE-B6E857C5DA01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rcRect b="79016"/>
            <a:stretch>
              <a:fillRect/>
            </a:stretch>
          </p:blipFill>
          <p:spPr>
            <a:xfrm>
              <a:off x="953644" y="1483955"/>
              <a:ext cx="4845299" cy="497035"/>
            </a:xfrm>
            <a:prstGeom prst="rect">
              <a:avLst/>
            </a:prstGeom>
          </p:spPr>
        </p:pic>
      </p:grpSp>
      <p:pic>
        <p:nvPicPr>
          <p:cNvPr id="7" name="Imagen 6">
            <a:extLst>
              <a:ext uri="{FF2B5EF4-FFF2-40B4-BE49-F238E27FC236}">
                <a16:creationId xmlns:a16="http://schemas.microsoft.com/office/drawing/2014/main" id="{96F90D85-91EC-57A8-9E50-F00C4EFC54F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274185" y="2132532"/>
            <a:ext cx="4800847" cy="3203221"/>
          </a:xfrm>
          <a:prstGeom prst="rect">
            <a:avLst/>
          </a:prstGeom>
        </p:spPr>
      </p:pic>
      <p:sp>
        <p:nvSpPr>
          <p:cNvPr id="9" name="CuadroTexto 8">
            <a:extLst>
              <a:ext uri="{FF2B5EF4-FFF2-40B4-BE49-F238E27FC236}">
                <a16:creationId xmlns:a16="http://schemas.microsoft.com/office/drawing/2014/main" id="{C8BB8CB0-4BDB-F231-59F4-EBCA990C9840}"/>
              </a:ext>
            </a:extLst>
          </p:cNvPr>
          <p:cNvSpPr txBox="1"/>
          <p:nvPr/>
        </p:nvSpPr>
        <p:spPr>
          <a:xfrm>
            <a:off x="6274185" y="1538713"/>
            <a:ext cx="4800847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s-ES" sz="1200" b="1" i="0" dirty="0">
                <a:solidFill>
                  <a:schemeClr val="tx1">
                    <a:lumMod val="50000"/>
                  </a:schemeClr>
                </a:solidFill>
                <a:effectLst/>
                <a:latin typeface="Roboto" panose="02000000000000000000" pitchFamily="2" charset="0"/>
              </a:rPr>
              <a:t>Pacientes con enfermedad arterial periférica crónica sintomática después de la revascularización endovascular</a:t>
            </a:r>
            <a:r>
              <a:rPr lang="es-ES" sz="1200" b="1" i="0" baseline="30000" dirty="0">
                <a:solidFill>
                  <a:schemeClr val="tx1">
                    <a:lumMod val="50000"/>
                  </a:schemeClr>
                </a:solidFill>
                <a:effectLst/>
                <a:latin typeface="Roboto" panose="02000000000000000000" pitchFamily="2" charset="0"/>
              </a:rPr>
              <a:t>1</a:t>
            </a:r>
            <a:endParaRPr lang="es-ES" sz="1200" b="1" baseline="30000" dirty="0">
              <a:solidFill>
                <a:schemeClr val="tx1">
                  <a:lumMod val="50000"/>
                </a:schemeClr>
              </a:solidFill>
            </a:endParaRPr>
          </a:p>
        </p:txBody>
      </p:sp>
      <p:sp>
        <p:nvSpPr>
          <p:cNvPr id="10" name="CuadroTexto 9">
            <a:extLst>
              <a:ext uri="{FF2B5EF4-FFF2-40B4-BE49-F238E27FC236}">
                <a16:creationId xmlns:a16="http://schemas.microsoft.com/office/drawing/2014/main" id="{AC8DEA9D-F0AF-8B2E-3D78-216CD27EA8E2}"/>
              </a:ext>
            </a:extLst>
          </p:cNvPr>
          <p:cNvSpPr txBox="1"/>
          <p:nvPr/>
        </p:nvSpPr>
        <p:spPr>
          <a:xfrm rot="16200000">
            <a:off x="10131044" y="3701599"/>
            <a:ext cx="1999128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s-ES"/>
            </a:defPPr>
            <a:lvl1pPr algn="ctr">
              <a:defRPr sz="700" b="0" i="1">
                <a:solidFill>
                  <a:schemeClr val="accent1"/>
                </a:solidFill>
                <a:effectLst/>
              </a:defRPr>
            </a:lvl1pPr>
          </a:lstStyle>
          <a:p>
            <a:pPr algn="r"/>
            <a:r>
              <a:rPr lang="es-ES" dirty="0" err="1"/>
              <a:t>Eur</a:t>
            </a:r>
            <a:r>
              <a:rPr lang="es-ES" dirty="0"/>
              <a:t> Heart J. 2024 </a:t>
            </a:r>
            <a:r>
              <a:rPr lang="es-ES" dirty="0" err="1"/>
              <a:t>Sep</a:t>
            </a:r>
            <a:r>
              <a:rPr lang="es-ES" dirty="0"/>
              <a:t> 29;45(36):3538-3700</a:t>
            </a:r>
          </a:p>
        </p:txBody>
      </p:sp>
      <p:sp>
        <p:nvSpPr>
          <p:cNvPr id="11" name="CuadroTexto 10">
            <a:extLst>
              <a:ext uri="{FF2B5EF4-FFF2-40B4-BE49-F238E27FC236}">
                <a16:creationId xmlns:a16="http://schemas.microsoft.com/office/drawing/2014/main" id="{B68FFD23-C9B3-C240-9152-0866D4AE7554}"/>
              </a:ext>
            </a:extLst>
          </p:cNvPr>
          <p:cNvSpPr txBox="1"/>
          <p:nvPr/>
        </p:nvSpPr>
        <p:spPr>
          <a:xfrm>
            <a:off x="3606951" y="5135698"/>
            <a:ext cx="1999128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s-ES"/>
            </a:defPPr>
            <a:lvl1pPr algn="ctr">
              <a:defRPr sz="700" b="0" i="1">
                <a:solidFill>
                  <a:schemeClr val="accent1"/>
                </a:solidFill>
                <a:effectLst/>
              </a:defRPr>
            </a:lvl1pPr>
          </a:lstStyle>
          <a:p>
            <a:pPr algn="r"/>
            <a:r>
              <a:rPr lang="es-ES" dirty="0" err="1"/>
              <a:t>Eur</a:t>
            </a:r>
            <a:r>
              <a:rPr lang="es-ES" dirty="0"/>
              <a:t> Heart J. 2024 </a:t>
            </a:r>
            <a:r>
              <a:rPr lang="es-ES" dirty="0" err="1"/>
              <a:t>Sep</a:t>
            </a:r>
            <a:r>
              <a:rPr lang="es-ES" dirty="0"/>
              <a:t> 29;45(36):3538-3700</a:t>
            </a:r>
          </a:p>
        </p:txBody>
      </p:sp>
      <p:sp>
        <p:nvSpPr>
          <p:cNvPr id="12" name="CuadroTexto 11">
            <a:extLst>
              <a:ext uri="{FF2B5EF4-FFF2-40B4-BE49-F238E27FC236}">
                <a16:creationId xmlns:a16="http://schemas.microsoft.com/office/drawing/2014/main" id="{1781850E-D487-0A73-74CA-8879E0F1540C}"/>
              </a:ext>
            </a:extLst>
          </p:cNvPr>
          <p:cNvSpPr txBox="1"/>
          <p:nvPr/>
        </p:nvSpPr>
        <p:spPr>
          <a:xfrm>
            <a:off x="1436915" y="6500964"/>
            <a:ext cx="9385225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s-ES"/>
            </a:defPPr>
            <a:lvl1pPr algn="ctr">
              <a:defRPr sz="700" b="0" i="1">
                <a:solidFill>
                  <a:schemeClr val="accent1"/>
                </a:solidFill>
                <a:effectLst/>
              </a:defRPr>
            </a:lvl1pPr>
          </a:lstStyle>
          <a:p>
            <a:r>
              <a:rPr lang="es-ES" b="1" dirty="0"/>
              <a:t>1</a:t>
            </a:r>
            <a:r>
              <a:rPr lang="es-ES" dirty="0"/>
              <a:t>. </a:t>
            </a:r>
            <a:r>
              <a:rPr lang="es-ES" dirty="0" err="1"/>
              <a:t>Mazzolai</a:t>
            </a:r>
            <a:r>
              <a:rPr lang="es-ES" dirty="0"/>
              <a:t> L, et al. 2024 ESC </a:t>
            </a:r>
            <a:r>
              <a:rPr lang="es-ES" dirty="0" err="1"/>
              <a:t>Guidelines</a:t>
            </a:r>
            <a:r>
              <a:rPr lang="es-ES" dirty="0"/>
              <a:t> </a:t>
            </a:r>
            <a:r>
              <a:rPr lang="es-ES" dirty="0" err="1"/>
              <a:t>for</a:t>
            </a:r>
            <a:r>
              <a:rPr lang="es-ES" dirty="0"/>
              <a:t> </a:t>
            </a:r>
            <a:r>
              <a:rPr lang="es-ES" dirty="0" err="1"/>
              <a:t>the</a:t>
            </a:r>
            <a:r>
              <a:rPr lang="es-ES" dirty="0"/>
              <a:t> </a:t>
            </a:r>
            <a:r>
              <a:rPr lang="es-ES" dirty="0" err="1"/>
              <a:t>management</a:t>
            </a:r>
            <a:r>
              <a:rPr lang="es-ES" dirty="0"/>
              <a:t> </a:t>
            </a:r>
            <a:r>
              <a:rPr lang="es-ES" dirty="0" err="1"/>
              <a:t>of</a:t>
            </a:r>
            <a:r>
              <a:rPr lang="es-ES" dirty="0"/>
              <a:t> </a:t>
            </a:r>
            <a:r>
              <a:rPr lang="es-ES" dirty="0" err="1"/>
              <a:t>peripheral</a:t>
            </a:r>
            <a:r>
              <a:rPr lang="es-ES" dirty="0"/>
              <a:t> arterial and </a:t>
            </a:r>
            <a:r>
              <a:rPr lang="es-ES" dirty="0" err="1"/>
              <a:t>aortic</a:t>
            </a:r>
            <a:r>
              <a:rPr lang="es-ES" dirty="0"/>
              <a:t> </a:t>
            </a:r>
            <a:r>
              <a:rPr lang="es-ES" dirty="0" err="1"/>
              <a:t>diseases</a:t>
            </a:r>
            <a:r>
              <a:rPr lang="es-ES" dirty="0"/>
              <a:t>. </a:t>
            </a:r>
            <a:r>
              <a:rPr lang="es-ES" dirty="0" err="1"/>
              <a:t>Eur</a:t>
            </a:r>
            <a:r>
              <a:rPr lang="es-ES" dirty="0"/>
              <a:t> Heart J. 2024 </a:t>
            </a:r>
            <a:r>
              <a:rPr lang="es-ES" dirty="0" err="1"/>
              <a:t>Sep</a:t>
            </a:r>
            <a:r>
              <a:rPr lang="es-ES" dirty="0"/>
              <a:t> 29;45(36):3538-3700. </a:t>
            </a:r>
            <a:r>
              <a:rPr lang="es-ES" dirty="0" err="1"/>
              <a:t>doi</a:t>
            </a:r>
            <a:r>
              <a:rPr lang="es-ES" dirty="0"/>
              <a:t>: 10.1093/</a:t>
            </a:r>
            <a:r>
              <a:rPr lang="es-ES" dirty="0" err="1"/>
              <a:t>eurheartj</a:t>
            </a:r>
            <a:r>
              <a:rPr lang="es-ES" dirty="0"/>
              <a:t>/ehae179.</a:t>
            </a:r>
          </a:p>
        </p:txBody>
      </p:sp>
      <p:sp>
        <p:nvSpPr>
          <p:cNvPr id="13" name="CuadroTexto 12">
            <a:extLst>
              <a:ext uri="{FF2B5EF4-FFF2-40B4-BE49-F238E27FC236}">
                <a16:creationId xmlns:a16="http://schemas.microsoft.com/office/drawing/2014/main" id="{0000A8CD-995F-AC8C-843F-369E89908021}"/>
              </a:ext>
            </a:extLst>
          </p:cNvPr>
          <p:cNvSpPr txBox="1"/>
          <p:nvPr/>
        </p:nvSpPr>
        <p:spPr>
          <a:xfrm>
            <a:off x="1854554" y="5839950"/>
            <a:ext cx="9090814" cy="523220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algn="ctr"/>
            <a:r>
              <a:rPr lang="es-ES" sz="1400" dirty="0">
                <a:solidFill>
                  <a:schemeClr val="accent1"/>
                </a:solidFill>
              </a:rPr>
              <a:t>El tratamiento con combinación de rivaroxabán (2.5 mg </a:t>
            </a:r>
            <a:r>
              <a:rPr lang="es-ES" sz="1400" dirty="0" err="1">
                <a:solidFill>
                  <a:schemeClr val="accent1"/>
                </a:solidFill>
              </a:rPr>
              <a:t>b.i.d</a:t>
            </a:r>
            <a:r>
              <a:rPr lang="es-ES" sz="1400" dirty="0">
                <a:solidFill>
                  <a:schemeClr val="accent1"/>
                </a:solidFill>
              </a:rPr>
              <a:t>.) y aspirina (100 mg </a:t>
            </a:r>
            <a:r>
              <a:rPr lang="es-ES" sz="1400" dirty="0" err="1">
                <a:solidFill>
                  <a:schemeClr val="accent1"/>
                </a:solidFill>
              </a:rPr>
              <a:t>o.d</a:t>
            </a:r>
            <a:r>
              <a:rPr lang="es-ES" sz="1400" dirty="0">
                <a:solidFill>
                  <a:schemeClr val="accent1"/>
                </a:solidFill>
              </a:rPr>
              <a:t>.) debe ser considerado para pacientes con EAP y riesgo de sangrado no alto después de la revascularización de miembros inferiores</a:t>
            </a:r>
            <a:r>
              <a:rPr lang="es-ES" sz="1400" baseline="30000" dirty="0">
                <a:solidFill>
                  <a:schemeClr val="accent1"/>
                </a:solidFill>
              </a:rPr>
              <a:t>1</a:t>
            </a:r>
            <a:r>
              <a:rPr lang="es-ES" sz="1400" dirty="0">
                <a:solidFill>
                  <a:schemeClr val="accent1"/>
                </a:solidFill>
              </a:rPr>
              <a:t>.</a:t>
            </a:r>
          </a:p>
        </p:txBody>
      </p:sp>
      <p:sp>
        <p:nvSpPr>
          <p:cNvPr id="14" name="CuadroTexto 13">
            <a:extLst>
              <a:ext uri="{FF2B5EF4-FFF2-40B4-BE49-F238E27FC236}">
                <a16:creationId xmlns:a16="http://schemas.microsoft.com/office/drawing/2014/main" id="{708DC74C-C885-EF3F-A886-3FA0A28AA7A7}"/>
              </a:ext>
            </a:extLst>
          </p:cNvPr>
          <p:cNvSpPr txBox="1"/>
          <p:nvPr/>
        </p:nvSpPr>
        <p:spPr>
          <a:xfrm>
            <a:off x="6318636" y="5281974"/>
            <a:ext cx="4711944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s-ES" sz="1000" b="1" dirty="0" err="1">
                <a:solidFill>
                  <a:schemeClr val="tx1">
                    <a:lumMod val="50000"/>
                  </a:schemeClr>
                </a:solidFill>
              </a:rPr>
              <a:t>b.i.d</a:t>
            </a:r>
            <a:r>
              <a:rPr lang="es-ES" sz="1000" b="1" dirty="0">
                <a:solidFill>
                  <a:schemeClr val="tx1">
                    <a:lumMod val="50000"/>
                  </a:schemeClr>
                </a:solidFill>
              </a:rPr>
              <a:t>.: </a:t>
            </a:r>
            <a:r>
              <a:rPr lang="es-ES" sz="1000" dirty="0" err="1">
                <a:solidFill>
                  <a:schemeClr val="tx1">
                    <a:lumMod val="50000"/>
                  </a:schemeClr>
                </a:solidFill>
              </a:rPr>
              <a:t>twice</a:t>
            </a:r>
            <a:r>
              <a:rPr lang="es-ES" sz="1000" dirty="0">
                <a:solidFill>
                  <a:schemeClr val="tx1">
                    <a:lumMod val="50000"/>
                  </a:schemeClr>
                </a:solidFill>
              </a:rPr>
              <a:t> </a:t>
            </a:r>
            <a:r>
              <a:rPr lang="es-ES" sz="1000" dirty="0" err="1">
                <a:solidFill>
                  <a:schemeClr val="tx1">
                    <a:lumMod val="50000"/>
                  </a:schemeClr>
                </a:solidFill>
              </a:rPr>
              <a:t>daily</a:t>
            </a:r>
            <a:r>
              <a:rPr lang="es-ES" sz="1000" dirty="0">
                <a:solidFill>
                  <a:schemeClr val="tx1">
                    <a:lumMod val="50000"/>
                  </a:schemeClr>
                </a:solidFill>
              </a:rPr>
              <a:t>; </a:t>
            </a:r>
            <a:r>
              <a:rPr lang="es-ES" sz="1000" b="1" dirty="0">
                <a:solidFill>
                  <a:schemeClr val="tx1">
                    <a:lumMod val="50000"/>
                  </a:schemeClr>
                </a:solidFill>
              </a:rPr>
              <a:t>DAPT</a:t>
            </a:r>
            <a:r>
              <a:rPr lang="es-ES" sz="1000" dirty="0">
                <a:solidFill>
                  <a:schemeClr val="tx1">
                    <a:lumMod val="50000"/>
                  </a:schemeClr>
                </a:solidFill>
              </a:rPr>
              <a:t>: dual </a:t>
            </a:r>
            <a:r>
              <a:rPr lang="es-ES" sz="1000" dirty="0" err="1">
                <a:solidFill>
                  <a:schemeClr val="tx1">
                    <a:lumMod val="50000"/>
                  </a:schemeClr>
                </a:solidFill>
              </a:rPr>
              <a:t>antiplatelet</a:t>
            </a:r>
            <a:r>
              <a:rPr lang="es-ES" sz="1000" dirty="0">
                <a:solidFill>
                  <a:schemeClr val="tx1">
                    <a:lumMod val="50000"/>
                  </a:schemeClr>
                </a:solidFill>
              </a:rPr>
              <a:t> </a:t>
            </a:r>
            <a:r>
              <a:rPr lang="es-ES" sz="1000" dirty="0" err="1">
                <a:solidFill>
                  <a:schemeClr val="tx1">
                    <a:lumMod val="50000"/>
                  </a:schemeClr>
                </a:solidFill>
              </a:rPr>
              <a:t>therapy</a:t>
            </a:r>
            <a:r>
              <a:rPr lang="es-ES" sz="1000" dirty="0">
                <a:solidFill>
                  <a:schemeClr val="tx1">
                    <a:lumMod val="50000"/>
                  </a:schemeClr>
                </a:solidFill>
              </a:rPr>
              <a:t>; </a:t>
            </a:r>
            <a:r>
              <a:rPr lang="es-ES" sz="1000" b="1" dirty="0">
                <a:solidFill>
                  <a:schemeClr val="tx1">
                    <a:lumMod val="50000"/>
                  </a:schemeClr>
                </a:solidFill>
              </a:rPr>
              <a:t>OAC:</a:t>
            </a:r>
            <a:r>
              <a:rPr lang="es-ES" sz="1000" dirty="0">
                <a:solidFill>
                  <a:schemeClr val="tx1">
                    <a:lumMod val="50000"/>
                  </a:schemeClr>
                </a:solidFill>
              </a:rPr>
              <a:t> oral </a:t>
            </a:r>
            <a:r>
              <a:rPr lang="es-ES" sz="1000" dirty="0" err="1">
                <a:solidFill>
                  <a:schemeClr val="tx1">
                    <a:lumMod val="50000"/>
                  </a:schemeClr>
                </a:solidFill>
              </a:rPr>
              <a:t>anticoagulant</a:t>
            </a:r>
            <a:r>
              <a:rPr lang="es-ES" sz="1000" dirty="0">
                <a:solidFill>
                  <a:schemeClr val="tx1">
                    <a:lumMod val="50000"/>
                  </a:schemeClr>
                </a:solidFill>
              </a:rPr>
              <a:t>; </a:t>
            </a:r>
            <a:r>
              <a:rPr lang="es-ES" sz="1000" b="1" dirty="0">
                <a:solidFill>
                  <a:schemeClr val="tx1">
                    <a:lumMod val="50000"/>
                  </a:schemeClr>
                </a:solidFill>
              </a:rPr>
              <a:t>PAD</a:t>
            </a:r>
            <a:r>
              <a:rPr lang="es-ES" sz="1000" dirty="0">
                <a:solidFill>
                  <a:schemeClr val="tx1">
                    <a:lumMod val="50000"/>
                  </a:schemeClr>
                </a:solidFill>
              </a:rPr>
              <a:t>: </a:t>
            </a:r>
            <a:r>
              <a:rPr lang="es-ES" sz="1000" dirty="0" err="1">
                <a:solidFill>
                  <a:schemeClr val="tx1">
                    <a:lumMod val="50000"/>
                  </a:schemeClr>
                </a:solidFill>
              </a:rPr>
              <a:t>peripheral</a:t>
            </a:r>
            <a:r>
              <a:rPr lang="es-ES" sz="1000" dirty="0">
                <a:solidFill>
                  <a:schemeClr val="tx1">
                    <a:lumMod val="50000"/>
                  </a:schemeClr>
                </a:solidFill>
              </a:rPr>
              <a:t> arterial </a:t>
            </a:r>
            <a:r>
              <a:rPr lang="es-ES" sz="1000" dirty="0" err="1">
                <a:solidFill>
                  <a:schemeClr val="tx1">
                    <a:lumMod val="50000"/>
                  </a:schemeClr>
                </a:solidFill>
              </a:rPr>
              <a:t>disease</a:t>
            </a:r>
            <a:r>
              <a:rPr lang="es-ES" sz="1000" dirty="0">
                <a:solidFill>
                  <a:schemeClr val="tx1">
                    <a:lumMod val="50000"/>
                  </a:schemeClr>
                </a:solidFill>
              </a:rPr>
              <a:t>; </a:t>
            </a:r>
            <a:r>
              <a:rPr lang="es-ES" sz="1000" b="1" dirty="0">
                <a:solidFill>
                  <a:schemeClr val="tx1">
                    <a:lumMod val="50000"/>
                  </a:schemeClr>
                </a:solidFill>
              </a:rPr>
              <a:t>ASA</a:t>
            </a:r>
            <a:r>
              <a:rPr lang="es-ES" sz="1000" dirty="0">
                <a:solidFill>
                  <a:schemeClr val="tx1">
                    <a:lumMod val="50000"/>
                  </a:schemeClr>
                </a:solidFill>
              </a:rPr>
              <a:t>: </a:t>
            </a:r>
            <a:r>
              <a:rPr lang="es-ES" sz="1000" dirty="0" err="1">
                <a:solidFill>
                  <a:schemeClr val="tx1">
                    <a:lumMod val="50000"/>
                  </a:schemeClr>
                </a:solidFill>
              </a:rPr>
              <a:t>aspirin</a:t>
            </a:r>
            <a:r>
              <a:rPr lang="es-ES" sz="1000" dirty="0">
                <a:solidFill>
                  <a:schemeClr val="tx1">
                    <a:lumMod val="50000"/>
                  </a:schemeClr>
                </a:solidFill>
              </a:rPr>
              <a:t>; </a:t>
            </a:r>
            <a:r>
              <a:rPr lang="es-ES" sz="1000" b="1" dirty="0">
                <a:solidFill>
                  <a:schemeClr val="tx1">
                    <a:lumMod val="50000"/>
                  </a:schemeClr>
                </a:solidFill>
              </a:rPr>
              <a:t>SAPT:</a:t>
            </a:r>
            <a:r>
              <a:rPr lang="es-ES" sz="1000" dirty="0">
                <a:solidFill>
                  <a:schemeClr val="tx1">
                    <a:lumMod val="50000"/>
                  </a:schemeClr>
                </a:solidFill>
              </a:rPr>
              <a:t> single </a:t>
            </a:r>
            <a:r>
              <a:rPr lang="es-ES" sz="1000" dirty="0" err="1">
                <a:solidFill>
                  <a:schemeClr val="tx1">
                    <a:lumMod val="50000"/>
                  </a:schemeClr>
                </a:solidFill>
              </a:rPr>
              <a:t>antiplatelet</a:t>
            </a:r>
            <a:r>
              <a:rPr lang="es-ES" sz="1000" dirty="0">
                <a:solidFill>
                  <a:schemeClr val="tx1">
                    <a:lumMod val="50000"/>
                  </a:schemeClr>
                </a:solidFill>
              </a:rPr>
              <a:t> </a:t>
            </a:r>
            <a:r>
              <a:rPr lang="es-ES" sz="1000" dirty="0" err="1">
                <a:solidFill>
                  <a:schemeClr val="tx1">
                    <a:lumMod val="50000"/>
                  </a:schemeClr>
                </a:solidFill>
              </a:rPr>
              <a:t>therapy</a:t>
            </a:r>
            <a:endParaRPr lang="es-ES" sz="1000" dirty="0">
              <a:solidFill>
                <a:schemeClr val="tx1">
                  <a:lumMod val="50000"/>
                </a:schemeClr>
              </a:solidFill>
            </a:endParaRPr>
          </a:p>
        </p:txBody>
      </p:sp>
      <p:sp>
        <p:nvSpPr>
          <p:cNvPr id="15" name="Título 3">
            <a:extLst>
              <a:ext uri="{FF2B5EF4-FFF2-40B4-BE49-F238E27FC236}">
                <a16:creationId xmlns:a16="http://schemas.microsoft.com/office/drawing/2014/main" id="{5B184979-287B-D580-905E-B8E00D41893E}"/>
              </a:ext>
            </a:extLst>
          </p:cNvPr>
          <p:cNvSpPr txBox="1">
            <a:spLocks/>
          </p:cNvSpPr>
          <p:nvPr/>
        </p:nvSpPr>
        <p:spPr>
          <a:xfrm>
            <a:off x="408432" y="156981"/>
            <a:ext cx="11375136" cy="842533"/>
          </a:xfrm>
          <a:prstGeom prst="rect">
            <a:avLst/>
          </a:prstGeom>
        </p:spPr>
        <p:txBody>
          <a:bodyPr lIns="0" tIns="0" rIns="0" bIns="0" anchor="ctr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067" kern="1200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ES" sz="2400" b="1" dirty="0"/>
              <a:t>Tratamiento farmacológico de pacientes EAP</a:t>
            </a:r>
          </a:p>
        </p:txBody>
      </p:sp>
      <p:sp>
        <p:nvSpPr>
          <p:cNvPr id="16" name="Rectángulo 15">
            <a:extLst>
              <a:ext uri="{FF2B5EF4-FFF2-40B4-BE49-F238E27FC236}">
                <a16:creationId xmlns:a16="http://schemas.microsoft.com/office/drawing/2014/main" id="{6A278F25-BE98-B5D1-091A-E274A56659C4}"/>
              </a:ext>
            </a:extLst>
          </p:cNvPr>
          <p:cNvSpPr/>
          <p:nvPr/>
        </p:nvSpPr>
        <p:spPr>
          <a:xfrm>
            <a:off x="408432" y="850392"/>
            <a:ext cx="11442192" cy="423910"/>
          </a:xfrm>
          <a:prstGeom prst="rect">
            <a:avLst/>
          </a:prstGeom>
          <a:solidFill>
            <a:schemeClr val="accent5"/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s-ES_tradnl" sz="2400" b="1" dirty="0"/>
              <a:t>Terapia con antitrombóticos</a:t>
            </a:r>
            <a:endParaRPr lang="es-ES" sz="2400" b="1" dirty="0"/>
          </a:p>
        </p:txBody>
      </p:sp>
      <p:sp>
        <p:nvSpPr>
          <p:cNvPr id="18" name="CuadroTexto 17">
            <a:extLst>
              <a:ext uri="{FF2B5EF4-FFF2-40B4-BE49-F238E27FC236}">
                <a16:creationId xmlns:a16="http://schemas.microsoft.com/office/drawing/2014/main" id="{5BFE5E50-452F-86AC-0819-3950ACAB3313}"/>
              </a:ext>
            </a:extLst>
          </p:cNvPr>
          <p:cNvSpPr txBox="1"/>
          <p:nvPr/>
        </p:nvSpPr>
        <p:spPr>
          <a:xfrm>
            <a:off x="893251" y="1575320"/>
            <a:ext cx="5024565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s-ES" sz="1600" b="1" dirty="0">
                <a:solidFill>
                  <a:schemeClr val="tx1">
                    <a:lumMod val="50000"/>
                  </a:schemeClr>
                </a:solidFill>
              </a:rPr>
              <a:t>Pacientes con EAP sintomática revascularizados</a:t>
            </a:r>
            <a:endParaRPr lang="es-ES" sz="1600" b="1" baseline="30000" dirty="0">
              <a:solidFill>
                <a:schemeClr val="tx1">
                  <a:lumMod val="50000"/>
                </a:schemeClr>
              </a:solidFill>
            </a:endParaRPr>
          </a:p>
        </p:txBody>
      </p:sp>
      <p:sp>
        <p:nvSpPr>
          <p:cNvPr id="2" name="CuadroTexto 1">
            <a:extLst>
              <a:ext uri="{FF2B5EF4-FFF2-40B4-BE49-F238E27FC236}">
                <a16:creationId xmlns:a16="http://schemas.microsoft.com/office/drawing/2014/main" id="{58942D2C-086A-71A8-99AA-6831CD50DF53}"/>
              </a:ext>
            </a:extLst>
          </p:cNvPr>
          <p:cNvSpPr txBox="1"/>
          <p:nvPr/>
        </p:nvSpPr>
        <p:spPr>
          <a:xfrm rot="16200000">
            <a:off x="10611613" y="3657467"/>
            <a:ext cx="2510028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s-ES" sz="1400" dirty="0">
                <a:solidFill>
                  <a:schemeClr val="bg1">
                    <a:lumMod val="95000"/>
                  </a:schemeClr>
                </a:solidFill>
              </a:rPr>
              <a:t>MA-ES-NOP-2500037</a:t>
            </a:r>
          </a:p>
        </p:txBody>
      </p:sp>
    </p:spTree>
    <p:extLst>
      <p:ext uri="{BB962C8B-B14F-4D97-AF65-F5344CB8AC3E}">
        <p14:creationId xmlns:p14="http://schemas.microsoft.com/office/powerpoint/2010/main" val="3091562340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CuadroTexto 20">
            <a:extLst>
              <a:ext uri="{FF2B5EF4-FFF2-40B4-BE49-F238E27FC236}">
                <a16:creationId xmlns:a16="http://schemas.microsoft.com/office/drawing/2014/main" id="{A7BB06DA-803B-A5D8-38F8-142FD8C74BC6}"/>
              </a:ext>
            </a:extLst>
          </p:cNvPr>
          <p:cNvSpPr txBox="1"/>
          <p:nvPr/>
        </p:nvSpPr>
        <p:spPr>
          <a:xfrm>
            <a:off x="8416399" y="5400279"/>
            <a:ext cx="1999128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s-ES"/>
            </a:defPPr>
            <a:lvl1pPr algn="ctr">
              <a:defRPr sz="700" b="0" i="1">
                <a:solidFill>
                  <a:schemeClr val="accent1"/>
                </a:solidFill>
                <a:effectLst/>
              </a:defRPr>
            </a:lvl1pPr>
          </a:lstStyle>
          <a:p>
            <a:pPr algn="r"/>
            <a:r>
              <a:rPr lang="es-ES" dirty="0" err="1"/>
              <a:t>Eur</a:t>
            </a:r>
            <a:r>
              <a:rPr lang="es-ES" dirty="0"/>
              <a:t> Heart J. 2024 </a:t>
            </a:r>
            <a:r>
              <a:rPr lang="es-ES" dirty="0" err="1"/>
              <a:t>Sep</a:t>
            </a:r>
            <a:r>
              <a:rPr lang="es-ES" dirty="0"/>
              <a:t> 29;45(36):3538-3700</a:t>
            </a:r>
          </a:p>
        </p:txBody>
      </p:sp>
      <p:grpSp>
        <p:nvGrpSpPr>
          <p:cNvPr id="27" name="Grupo 26">
            <a:extLst>
              <a:ext uri="{FF2B5EF4-FFF2-40B4-BE49-F238E27FC236}">
                <a16:creationId xmlns:a16="http://schemas.microsoft.com/office/drawing/2014/main" id="{BCB8B60C-41A8-F7AE-505E-1D78B420A102}"/>
              </a:ext>
            </a:extLst>
          </p:cNvPr>
          <p:cNvGrpSpPr/>
          <p:nvPr/>
        </p:nvGrpSpPr>
        <p:grpSpPr>
          <a:xfrm>
            <a:off x="6431222" y="1904605"/>
            <a:ext cx="3970354" cy="3495674"/>
            <a:chOff x="1459642" y="1968629"/>
            <a:chExt cx="3970354" cy="3495674"/>
          </a:xfrm>
        </p:grpSpPr>
        <p:grpSp>
          <p:nvGrpSpPr>
            <p:cNvPr id="22" name="Grupo 21">
              <a:extLst>
                <a:ext uri="{FF2B5EF4-FFF2-40B4-BE49-F238E27FC236}">
                  <a16:creationId xmlns:a16="http://schemas.microsoft.com/office/drawing/2014/main" id="{F24FA2AF-1C71-308A-E5FE-9EA8536194C0}"/>
                </a:ext>
              </a:extLst>
            </p:cNvPr>
            <p:cNvGrpSpPr/>
            <p:nvPr/>
          </p:nvGrpSpPr>
          <p:grpSpPr>
            <a:xfrm>
              <a:off x="1459642" y="1968629"/>
              <a:ext cx="3970354" cy="3495674"/>
              <a:chOff x="595037" y="0"/>
              <a:chExt cx="4753526" cy="3857625"/>
            </a:xfrm>
          </p:grpSpPr>
          <p:pic>
            <p:nvPicPr>
              <p:cNvPr id="23" name="Imagen 22">
                <a:extLst>
                  <a:ext uri="{FF2B5EF4-FFF2-40B4-BE49-F238E27FC236}">
                    <a16:creationId xmlns:a16="http://schemas.microsoft.com/office/drawing/2014/main" id="{805B92DD-CE85-C725-8CEA-6DD70BB7D92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595037" y="0"/>
                <a:ext cx="4753526" cy="1143000"/>
              </a:xfrm>
              <a:prstGeom prst="rect">
                <a:avLst/>
              </a:prstGeom>
            </p:spPr>
          </p:pic>
          <p:pic>
            <p:nvPicPr>
              <p:cNvPr id="24" name="Imagen 23">
                <a:extLst>
                  <a:ext uri="{FF2B5EF4-FFF2-40B4-BE49-F238E27FC236}">
                    <a16:creationId xmlns:a16="http://schemas.microsoft.com/office/drawing/2014/main" id="{656C6392-70E4-1DAD-A9C8-0785F471391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595037" y="1143000"/>
                <a:ext cx="4753526" cy="676275"/>
              </a:xfrm>
              <a:prstGeom prst="rect">
                <a:avLst/>
              </a:prstGeom>
            </p:spPr>
          </p:pic>
          <p:pic>
            <p:nvPicPr>
              <p:cNvPr id="25" name="Imagen 24">
                <a:extLst>
                  <a:ext uri="{FF2B5EF4-FFF2-40B4-BE49-F238E27FC236}">
                    <a16:creationId xmlns:a16="http://schemas.microsoft.com/office/drawing/2014/main" id="{8D50166E-9441-8A2E-044D-1F19362C904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595037" y="1819275"/>
                <a:ext cx="4753526" cy="2038350"/>
              </a:xfrm>
              <a:prstGeom prst="rect">
                <a:avLst/>
              </a:prstGeom>
            </p:spPr>
          </p:pic>
        </p:grpSp>
        <p:sp>
          <p:nvSpPr>
            <p:cNvPr id="17" name="CuadroTexto 16">
              <a:extLst>
                <a:ext uri="{FF2B5EF4-FFF2-40B4-BE49-F238E27FC236}">
                  <a16:creationId xmlns:a16="http://schemas.microsoft.com/office/drawing/2014/main" id="{D3084F3B-5669-2197-4CAD-D2503B471C27}"/>
                </a:ext>
              </a:extLst>
            </p:cNvPr>
            <p:cNvSpPr txBox="1"/>
            <p:nvPr/>
          </p:nvSpPr>
          <p:spPr>
            <a:xfrm>
              <a:off x="2582823" y="2030168"/>
              <a:ext cx="308102" cy="26161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s-ES" sz="1050" dirty="0">
                  <a:solidFill>
                    <a:schemeClr val="accent1"/>
                  </a:solidFill>
                </a:rPr>
                <a:t>1</a:t>
              </a:r>
            </a:p>
          </p:txBody>
        </p:sp>
      </p:grpSp>
      <p:sp>
        <p:nvSpPr>
          <p:cNvPr id="3" name="CuadroTexto 2">
            <a:extLst>
              <a:ext uri="{FF2B5EF4-FFF2-40B4-BE49-F238E27FC236}">
                <a16:creationId xmlns:a16="http://schemas.microsoft.com/office/drawing/2014/main" id="{8260C15A-FD77-D2CA-1848-CB43118571B2}"/>
              </a:ext>
            </a:extLst>
          </p:cNvPr>
          <p:cNvSpPr txBox="1"/>
          <p:nvPr/>
        </p:nvSpPr>
        <p:spPr>
          <a:xfrm>
            <a:off x="1493778" y="2255186"/>
            <a:ext cx="4310736" cy="738664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>
            <a:defPPr>
              <a:defRPr lang="es-ES"/>
            </a:defPPr>
            <a:lvl1pPr algn="just">
              <a:defRPr sz="1400">
                <a:solidFill>
                  <a:schemeClr val="accent1"/>
                </a:solidFill>
              </a:defRPr>
            </a:lvl1pPr>
          </a:lstStyle>
          <a:p>
            <a:r>
              <a:rPr lang="es-ES" dirty="0"/>
              <a:t>En pacientes con enfermedad arterial periférica y aortica, se recomienda un objetivo de presión arterial sistólica de 120-129mmHg</a:t>
            </a:r>
            <a:r>
              <a:rPr lang="es-ES" baseline="30000" dirty="0"/>
              <a:t>1</a:t>
            </a:r>
            <a:r>
              <a:rPr lang="es-ES" dirty="0"/>
              <a:t>.</a:t>
            </a:r>
          </a:p>
        </p:txBody>
      </p:sp>
      <p:sp>
        <p:nvSpPr>
          <p:cNvPr id="4" name="CuadroTexto 3">
            <a:extLst>
              <a:ext uri="{FF2B5EF4-FFF2-40B4-BE49-F238E27FC236}">
                <a16:creationId xmlns:a16="http://schemas.microsoft.com/office/drawing/2014/main" id="{47ED90B8-EB63-F59C-FFAF-31BA887AEDA9}"/>
              </a:ext>
            </a:extLst>
          </p:cNvPr>
          <p:cNvSpPr txBox="1"/>
          <p:nvPr/>
        </p:nvSpPr>
        <p:spPr>
          <a:xfrm>
            <a:off x="1493778" y="4776994"/>
            <a:ext cx="4044124" cy="30777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>
            <a:defPPr>
              <a:defRPr lang="es-ES"/>
            </a:defPPr>
            <a:lvl1pPr algn="ctr">
              <a:defRPr sz="700" b="0" i="1">
                <a:solidFill>
                  <a:schemeClr val="accent1"/>
                </a:solidFill>
                <a:effectLst/>
              </a:defRPr>
            </a:lvl1pPr>
          </a:lstStyle>
          <a:p>
            <a:r>
              <a:rPr lang="es-ES" dirty="0"/>
              <a:t>1. </a:t>
            </a:r>
            <a:r>
              <a:rPr lang="es-ES" dirty="0" err="1"/>
              <a:t>Mazzolai</a:t>
            </a:r>
            <a:r>
              <a:rPr lang="es-ES" dirty="0"/>
              <a:t> L, et al. 2024 ESC </a:t>
            </a:r>
            <a:r>
              <a:rPr lang="es-ES" dirty="0" err="1"/>
              <a:t>Guidelines</a:t>
            </a:r>
            <a:r>
              <a:rPr lang="es-ES" dirty="0"/>
              <a:t> </a:t>
            </a:r>
            <a:r>
              <a:rPr lang="es-ES" dirty="0" err="1"/>
              <a:t>for</a:t>
            </a:r>
            <a:r>
              <a:rPr lang="es-ES" dirty="0"/>
              <a:t> </a:t>
            </a:r>
            <a:r>
              <a:rPr lang="es-ES" dirty="0" err="1"/>
              <a:t>the</a:t>
            </a:r>
            <a:r>
              <a:rPr lang="es-ES" dirty="0"/>
              <a:t> </a:t>
            </a:r>
            <a:r>
              <a:rPr lang="es-ES" dirty="0" err="1"/>
              <a:t>management</a:t>
            </a:r>
            <a:r>
              <a:rPr lang="es-ES" dirty="0"/>
              <a:t> </a:t>
            </a:r>
            <a:r>
              <a:rPr lang="es-ES" dirty="0" err="1"/>
              <a:t>of</a:t>
            </a:r>
            <a:r>
              <a:rPr lang="es-ES" dirty="0"/>
              <a:t> </a:t>
            </a:r>
            <a:r>
              <a:rPr lang="es-ES" dirty="0" err="1"/>
              <a:t>peripheral</a:t>
            </a:r>
            <a:r>
              <a:rPr lang="es-ES" dirty="0"/>
              <a:t> arterial and </a:t>
            </a:r>
            <a:r>
              <a:rPr lang="es-ES" dirty="0" err="1"/>
              <a:t>aortic</a:t>
            </a:r>
            <a:r>
              <a:rPr lang="es-ES" dirty="0"/>
              <a:t> </a:t>
            </a:r>
            <a:r>
              <a:rPr lang="es-ES" dirty="0" err="1"/>
              <a:t>diseases</a:t>
            </a:r>
            <a:r>
              <a:rPr lang="es-ES" dirty="0"/>
              <a:t>. </a:t>
            </a:r>
            <a:r>
              <a:rPr lang="es-ES" dirty="0" err="1"/>
              <a:t>Eur</a:t>
            </a:r>
            <a:r>
              <a:rPr lang="es-ES" dirty="0"/>
              <a:t> Heart J. 2024 </a:t>
            </a:r>
            <a:r>
              <a:rPr lang="es-ES" dirty="0" err="1"/>
              <a:t>Sep</a:t>
            </a:r>
            <a:r>
              <a:rPr lang="es-ES" dirty="0"/>
              <a:t> 29;45(36):3538-3700. </a:t>
            </a:r>
            <a:r>
              <a:rPr lang="es-ES" dirty="0" err="1"/>
              <a:t>doi</a:t>
            </a:r>
            <a:r>
              <a:rPr lang="es-ES" dirty="0"/>
              <a:t>: 10.1093/</a:t>
            </a:r>
            <a:r>
              <a:rPr lang="es-ES" dirty="0" err="1"/>
              <a:t>eurheartj</a:t>
            </a:r>
            <a:r>
              <a:rPr lang="es-ES" dirty="0"/>
              <a:t>/ehae179.</a:t>
            </a:r>
          </a:p>
        </p:txBody>
      </p:sp>
      <p:sp>
        <p:nvSpPr>
          <p:cNvPr id="5" name="CuadroTexto 4">
            <a:extLst>
              <a:ext uri="{FF2B5EF4-FFF2-40B4-BE49-F238E27FC236}">
                <a16:creationId xmlns:a16="http://schemas.microsoft.com/office/drawing/2014/main" id="{12091FEA-E085-ED26-DE5C-A82CC2E624F4}"/>
              </a:ext>
            </a:extLst>
          </p:cNvPr>
          <p:cNvSpPr txBox="1"/>
          <p:nvPr/>
        </p:nvSpPr>
        <p:spPr>
          <a:xfrm>
            <a:off x="1493778" y="3410842"/>
            <a:ext cx="4310736" cy="738664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>
            <a:defPPr>
              <a:defRPr lang="es-ES"/>
            </a:defPPr>
            <a:lvl1pPr algn="just">
              <a:defRPr sz="1400">
                <a:solidFill>
                  <a:schemeClr val="accent1"/>
                </a:solidFill>
              </a:defRPr>
            </a:lvl1pPr>
          </a:lstStyle>
          <a:p>
            <a:r>
              <a:rPr lang="es-ES" dirty="0"/>
              <a:t>En pacientes con EAP hipertensos, se recomienda el uso de un ARA-2 o un IECA como primera línea de tratamiento</a:t>
            </a:r>
            <a:r>
              <a:rPr lang="es-ES" baseline="30000" dirty="0"/>
              <a:t>1</a:t>
            </a:r>
            <a:r>
              <a:rPr lang="es-ES" dirty="0"/>
              <a:t>.</a:t>
            </a:r>
          </a:p>
        </p:txBody>
      </p:sp>
      <p:sp>
        <p:nvSpPr>
          <p:cNvPr id="7" name="Título 3">
            <a:extLst>
              <a:ext uri="{FF2B5EF4-FFF2-40B4-BE49-F238E27FC236}">
                <a16:creationId xmlns:a16="http://schemas.microsoft.com/office/drawing/2014/main" id="{B4CD6A97-210B-F613-491A-C7E965FD29D7}"/>
              </a:ext>
            </a:extLst>
          </p:cNvPr>
          <p:cNvSpPr txBox="1">
            <a:spLocks/>
          </p:cNvSpPr>
          <p:nvPr/>
        </p:nvSpPr>
        <p:spPr>
          <a:xfrm>
            <a:off x="408432" y="156981"/>
            <a:ext cx="11375136" cy="842533"/>
          </a:xfrm>
          <a:prstGeom prst="rect">
            <a:avLst/>
          </a:prstGeom>
        </p:spPr>
        <p:txBody>
          <a:bodyPr lIns="0" tIns="0" rIns="0" bIns="0" anchor="ctr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067" kern="1200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ES" sz="2400" b="1" dirty="0"/>
              <a:t>Tratamiento farmacológico de pacientes EAP</a:t>
            </a:r>
          </a:p>
        </p:txBody>
      </p:sp>
      <p:sp>
        <p:nvSpPr>
          <p:cNvPr id="8" name="Rectángulo 7">
            <a:extLst>
              <a:ext uri="{FF2B5EF4-FFF2-40B4-BE49-F238E27FC236}">
                <a16:creationId xmlns:a16="http://schemas.microsoft.com/office/drawing/2014/main" id="{FCD42C4B-37D9-13EF-1F37-F49E4A38F146}"/>
              </a:ext>
            </a:extLst>
          </p:cNvPr>
          <p:cNvSpPr/>
          <p:nvPr/>
        </p:nvSpPr>
        <p:spPr>
          <a:xfrm>
            <a:off x="408432" y="850392"/>
            <a:ext cx="11442192" cy="423910"/>
          </a:xfrm>
          <a:prstGeom prst="rect">
            <a:avLst/>
          </a:prstGeom>
          <a:solidFill>
            <a:schemeClr val="accent4"/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s-ES_tradnl" sz="2400" b="1" dirty="0"/>
              <a:t>Terapia con antihipertensivos</a:t>
            </a:r>
            <a:endParaRPr lang="es-ES" sz="2400" b="1" dirty="0"/>
          </a:p>
        </p:txBody>
      </p:sp>
      <p:sp>
        <p:nvSpPr>
          <p:cNvPr id="2" name="CuadroTexto 1">
            <a:extLst>
              <a:ext uri="{FF2B5EF4-FFF2-40B4-BE49-F238E27FC236}">
                <a16:creationId xmlns:a16="http://schemas.microsoft.com/office/drawing/2014/main" id="{E3DDC427-8CE7-C31D-C615-97EE04B89005}"/>
              </a:ext>
            </a:extLst>
          </p:cNvPr>
          <p:cNvSpPr txBox="1"/>
          <p:nvPr/>
        </p:nvSpPr>
        <p:spPr>
          <a:xfrm rot="16200000">
            <a:off x="10611613" y="3657467"/>
            <a:ext cx="2510028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s-ES" sz="1400" dirty="0">
                <a:solidFill>
                  <a:schemeClr val="bg1">
                    <a:lumMod val="95000"/>
                  </a:schemeClr>
                </a:solidFill>
              </a:rPr>
              <a:t>MA-ES-NOP-2500037</a:t>
            </a:r>
          </a:p>
        </p:txBody>
      </p:sp>
    </p:spTree>
    <p:extLst>
      <p:ext uri="{BB962C8B-B14F-4D97-AF65-F5344CB8AC3E}">
        <p14:creationId xmlns:p14="http://schemas.microsoft.com/office/powerpoint/2010/main" val="2358681251"/>
      </p:ext>
    </p:extLst>
  </p:cSld>
  <p:clrMapOvr>
    <a:masterClrMapping/>
  </p:clrMapOvr>
  <p:transition spd="med"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DBC17588-4449-38DE-585D-2A78F33385A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_tradnl" dirty="0"/>
              <a:t>Conflicto de interés:</a:t>
            </a:r>
            <a:endParaRPr lang="es-ES" dirty="0"/>
          </a:p>
        </p:txBody>
      </p:sp>
      <p:sp>
        <p:nvSpPr>
          <p:cNvPr id="5" name="CuadroTexto 4">
            <a:extLst>
              <a:ext uri="{FF2B5EF4-FFF2-40B4-BE49-F238E27FC236}">
                <a16:creationId xmlns:a16="http://schemas.microsoft.com/office/drawing/2014/main" id="{A9C8711E-360B-C627-8E15-FF158E122024}"/>
              </a:ext>
            </a:extLst>
          </p:cNvPr>
          <p:cNvSpPr txBox="1"/>
          <p:nvPr/>
        </p:nvSpPr>
        <p:spPr>
          <a:xfrm rot="16200000">
            <a:off x="10611613" y="3657467"/>
            <a:ext cx="2510028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s-ES" sz="1400" dirty="0">
                <a:solidFill>
                  <a:schemeClr val="bg1">
                    <a:lumMod val="95000"/>
                  </a:schemeClr>
                </a:solidFill>
              </a:rPr>
              <a:t>MA-ES-NOP-2500037</a:t>
            </a:r>
          </a:p>
        </p:txBody>
      </p:sp>
    </p:spTree>
    <p:extLst>
      <p:ext uri="{BB962C8B-B14F-4D97-AF65-F5344CB8AC3E}">
        <p14:creationId xmlns:p14="http://schemas.microsoft.com/office/powerpoint/2010/main" val="3412205211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n 2">
            <a:extLst>
              <a:ext uri="{FF2B5EF4-FFF2-40B4-BE49-F238E27FC236}">
                <a16:creationId xmlns:a16="http://schemas.microsoft.com/office/drawing/2014/main" id="{DDE67FD6-6F97-A447-9399-1188A5DFBD1C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t="1381"/>
          <a:stretch>
            <a:fillRect/>
          </a:stretch>
        </p:blipFill>
        <p:spPr>
          <a:xfrm>
            <a:off x="1192217" y="2428040"/>
            <a:ext cx="4577407" cy="2203007"/>
          </a:xfrm>
          <a:prstGeom prst="rect">
            <a:avLst/>
          </a:prstGeom>
        </p:spPr>
      </p:pic>
      <p:sp>
        <p:nvSpPr>
          <p:cNvPr id="5" name="CuadroTexto 4">
            <a:extLst>
              <a:ext uri="{FF2B5EF4-FFF2-40B4-BE49-F238E27FC236}">
                <a16:creationId xmlns:a16="http://schemas.microsoft.com/office/drawing/2014/main" id="{36DCEEF7-275C-E353-6220-B14935921FC0}"/>
              </a:ext>
            </a:extLst>
          </p:cNvPr>
          <p:cNvSpPr txBox="1"/>
          <p:nvPr/>
        </p:nvSpPr>
        <p:spPr>
          <a:xfrm>
            <a:off x="1165336" y="4656161"/>
            <a:ext cx="227457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s-ES" sz="900" b="1" dirty="0">
                <a:solidFill>
                  <a:schemeClr val="tx1">
                    <a:lumMod val="50000"/>
                  </a:schemeClr>
                </a:solidFill>
              </a:rPr>
              <a:t>OS</a:t>
            </a:r>
            <a:r>
              <a:rPr lang="es-ES" sz="900" dirty="0">
                <a:solidFill>
                  <a:schemeClr val="tx1">
                    <a:lumMod val="50000"/>
                  </a:schemeClr>
                </a:solidFill>
              </a:rPr>
              <a:t>: </a:t>
            </a:r>
            <a:r>
              <a:rPr lang="es-ES" sz="900" dirty="0" err="1">
                <a:solidFill>
                  <a:schemeClr val="tx1">
                    <a:lumMod val="50000"/>
                  </a:schemeClr>
                </a:solidFill>
              </a:rPr>
              <a:t>overall</a:t>
            </a:r>
            <a:r>
              <a:rPr lang="es-ES" sz="900" dirty="0">
                <a:solidFill>
                  <a:schemeClr val="tx1">
                    <a:lumMod val="50000"/>
                  </a:schemeClr>
                </a:solidFill>
              </a:rPr>
              <a:t> </a:t>
            </a:r>
            <a:r>
              <a:rPr lang="es-ES" sz="900" dirty="0" err="1">
                <a:solidFill>
                  <a:schemeClr val="tx1">
                    <a:lumMod val="50000"/>
                  </a:schemeClr>
                </a:solidFill>
              </a:rPr>
              <a:t>survival</a:t>
            </a:r>
            <a:r>
              <a:rPr lang="es-ES" sz="900" dirty="0">
                <a:solidFill>
                  <a:schemeClr val="tx1">
                    <a:lumMod val="50000"/>
                  </a:schemeClr>
                </a:solidFill>
              </a:rPr>
              <a:t>, </a:t>
            </a:r>
            <a:r>
              <a:rPr lang="es-ES" sz="900" b="1" dirty="0">
                <a:solidFill>
                  <a:schemeClr val="tx1">
                    <a:lumMod val="50000"/>
                  </a:schemeClr>
                </a:solidFill>
              </a:rPr>
              <a:t>AFS</a:t>
            </a:r>
            <a:r>
              <a:rPr lang="es-ES" sz="900" dirty="0">
                <a:solidFill>
                  <a:schemeClr val="tx1">
                    <a:lumMod val="50000"/>
                  </a:schemeClr>
                </a:solidFill>
              </a:rPr>
              <a:t>: </a:t>
            </a:r>
            <a:r>
              <a:rPr lang="es-ES" sz="900" dirty="0" err="1">
                <a:solidFill>
                  <a:schemeClr val="tx1">
                    <a:lumMod val="50000"/>
                  </a:schemeClr>
                </a:solidFill>
              </a:rPr>
              <a:t>amputation</a:t>
            </a:r>
            <a:r>
              <a:rPr lang="es-ES" sz="900" dirty="0">
                <a:solidFill>
                  <a:schemeClr val="tx1">
                    <a:lumMod val="50000"/>
                  </a:schemeClr>
                </a:solidFill>
              </a:rPr>
              <a:t>-free </a:t>
            </a:r>
            <a:r>
              <a:rPr lang="es-ES" sz="900" dirty="0" err="1">
                <a:solidFill>
                  <a:schemeClr val="tx1">
                    <a:lumMod val="50000"/>
                  </a:schemeClr>
                </a:solidFill>
              </a:rPr>
              <a:t>survival</a:t>
            </a:r>
            <a:r>
              <a:rPr lang="es-ES" sz="900" dirty="0">
                <a:solidFill>
                  <a:schemeClr val="tx1">
                    <a:lumMod val="50000"/>
                  </a:schemeClr>
                </a:solidFill>
              </a:rPr>
              <a:t>, </a:t>
            </a:r>
            <a:r>
              <a:rPr lang="es-ES" sz="900" b="1" dirty="0">
                <a:solidFill>
                  <a:schemeClr val="tx1">
                    <a:lumMod val="50000"/>
                  </a:schemeClr>
                </a:solidFill>
              </a:rPr>
              <a:t>LS</a:t>
            </a:r>
            <a:r>
              <a:rPr lang="es-ES" sz="900" dirty="0">
                <a:solidFill>
                  <a:schemeClr val="tx1">
                    <a:lumMod val="50000"/>
                  </a:schemeClr>
                </a:solidFill>
              </a:rPr>
              <a:t>: </a:t>
            </a:r>
            <a:r>
              <a:rPr lang="es-ES" sz="900" dirty="0" err="1">
                <a:solidFill>
                  <a:schemeClr val="tx1">
                    <a:lumMod val="50000"/>
                  </a:schemeClr>
                </a:solidFill>
              </a:rPr>
              <a:t>limb</a:t>
            </a:r>
            <a:r>
              <a:rPr lang="es-ES" sz="900" dirty="0">
                <a:solidFill>
                  <a:schemeClr val="tx1">
                    <a:lumMod val="50000"/>
                  </a:schemeClr>
                </a:solidFill>
              </a:rPr>
              <a:t> </a:t>
            </a:r>
            <a:r>
              <a:rPr lang="es-ES" sz="900" dirty="0" err="1">
                <a:solidFill>
                  <a:schemeClr val="tx1">
                    <a:lumMod val="50000"/>
                  </a:schemeClr>
                </a:solidFill>
              </a:rPr>
              <a:t>salvage</a:t>
            </a:r>
            <a:endParaRPr lang="es-ES" sz="900" dirty="0">
              <a:solidFill>
                <a:schemeClr val="tx1">
                  <a:lumMod val="50000"/>
                </a:schemeClr>
              </a:solidFill>
            </a:endParaRPr>
          </a:p>
        </p:txBody>
      </p:sp>
      <p:sp>
        <p:nvSpPr>
          <p:cNvPr id="7" name="CuadroTexto 6">
            <a:extLst>
              <a:ext uri="{FF2B5EF4-FFF2-40B4-BE49-F238E27FC236}">
                <a16:creationId xmlns:a16="http://schemas.microsoft.com/office/drawing/2014/main" id="{68DB7EC5-CE1A-B470-1C3B-5AB02D8FCC59}"/>
              </a:ext>
            </a:extLst>
          </p:cNvPr>
          <p:cNvSpPr txBox="1"/>
          <p:nvPr/>
        </p:nvSpPr>
        <p:spPr>
          <a:xfrm>
            <a:off x="1060191" y="1613668"/>
            <a:ext cx="4929129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s-ES" sz="1200" b="1" dirty="0">
                <a:solidFill>
                  <a:schemeClr val="tx1">
                    <a:lumMod val="50000"/>
                  </a:schemeClr>
                </a:solidFill>
              </a:rPr>
              <a:t>Tasas ajustadas de supervivencia general (OS), supervivencia sin amputación (AFS) y conservación de extremidades (LS) en el grupo de IECA/ARA2 frente al grupo sin IECA/ARA2</a:t>
            </a:r>
            <a:r>
              <a:rPr lang="es-ES" sz="1200" b="1" baseline="30000" dirty="0">
                <a:solidFill>
                  <a:schemeClr val="tx1">
                    <a:lumMod val="50000"/>
                  </a:schemeClr>
                </a:solidFill>
              </a:rPr>
              <a:t>1</a:t>
            </a:r>
          </a:p>
        </p:txBody>
      </p:sp>
      <p:sp>
        <p:nvSpPr>
          <p:cNvPr id="9" name="CuadroTexto 8">
            <a:extLst>
              <a:ext uri="{FF2B5EF4-FFF2-40B4-BE49-F238E27FC236}">
                <a16:creationId xmlns:a16="http://schemas.microsoft.com/office/drawing/2014/main" id="{3F05B62A-C0DB-6280-1B4E-C4A87E803FD5}"/>
              </a:ext>
            </a:extLst>
          </p:cNvPr>
          <p:cNvSpPr txBox="1"/>
          <p:nvPr/>
        </p:nvSpPr>
        <p:spPr>
          <a:xfrm>
            <a:off x="3715273" y="4617683"/>
            <a:ext cx="2052065" cy="200055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s-ES"/>
            </a:defPPr>
            <a:lvl1pPr algn="ctr">
              <a:defRPr sz="700" i="1">
                <a:solidFill>
                  <a:schemeClr val="accent1"/>
                </a:solidFill>
              </a:defRPr>
            </a:lvl1pPr>
          </a:lstStyle>
          <a:p>
            <a:pPr algn="r"/>
            <a:r>
              <a:rPr lang="es-ES" dirty="0"/>
              <a:t>J </a:t>
            </a:r>
            <a:r>
              <a:rPr lang="es-ES" dirty="0" err="1"/>
              <a:t>Vasc</a:t>
            </a:r>
            <a:r>
              <a:rPr lang="es-ES" dirty="0"/>
              <a:t> </a:t>
            </a:r>
            <a:r>
              <a:rPr lang="es-ES" dirty="0" err="1"/>
              <a:t>Surg</a:t>
            </a:r>
            <a:r>
              <a:rPr lang="es-ES" dirty="0"/>
              <a:t>. 2020 Dec;72(6):2130-2138.</a:t>
            </a:r>
          </a:p>
        </p:txBody>
      </p:sp>
      <p:sp>
        <p:nvSpPr>
          <p:cNvPr id="11" name="CuadroTexto 10">
            <a:extLst>
              <a:ext uri="{FF2B5EF4-FFF2-40B4-BE49-F238E27FC236}">
                <a16:creationId xmlns:a16="http://schemas.microsoft.com/office/drawing/2014/main" id="{903FED77-5A3B-B530-5B46-396632359F9F}"/>
              </a:ext>
            </a:extLst>
          </p:cNvPr>
          <p:cNvSpPr txBox="1"/>
          <p:nvPr/>
        </p:nvSpPr>
        <p:spPr>
          <a:xfrm>
            <a:off x="2020824" y="6246935"/>
            <a:ext cx="8412479" cy="415498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s-ES"/>
            </a:defPPr>
            <a:lvl1pPr algn="ctr">
              <a:defRPr sz="700" i="1">
                <a:solidFill>
                  <a:schemeClr val="accent1"/>
                </a:solidFill>
              </a:defRPr>
            </a:lvl1pPr>
          </a:lstStyle>
          <a:p>
            <a:r>
              <a:rPr lang="es-ES" b="1" dirty="0"/>
              <a:t>1. </a:t>
            </a:r>
            <a:r>
              <a:rPr lang="es-ES" dirty="0"/>
              <a:t>Khan SZ, et al. </a:t>
            </a:r>
            <a:r>
              <a:rPr lang="es-ES" dirty="0" err="1"/>
              <a:t>Improved</a:t>
            </a:r>
            <a:r>
              <a:rPr lang="es-ES" dirty="0"/>
              <a:t> </a:t>
            </a:r>
            <a:r>
              <a:rPr lang="es-ES" dirty="0" err="1"/>
              <a:t>survival</a:t>
            </a:r>
            <a:r>
              <a:rPr lang="es-ES" dirty="0"/>
              <a:t> </a:t>
            </a:r>
            <a:r>
              <a:rPr lang="es-ES" dirty="0" err="1"/>
              <a:t>with</a:t>
            </a:r>
            <a:r>
              <a:rPr lang="es-ES" dirty="0"/>
              <a:t> </a:t>
            </a:r>
            <a:r>
              <a:rPr lang="es-ES" dirty="0" err="1"/>
              <a:t>angiotensin-converting</a:t>
            </a:r>
            <a:r>
              <a:rPr lang="es-ES" dirty="0"/>
              <a:t> </a:t>
            </a:r>
            <a:r>
              <a:rPr lang="es-ES" dirty="0" err="1"/>
              <a:t>enzyme</a:t>
            </a:r>
            <a:r>
              <a:rPr lang="es-ES" dirty="0"/>
              <a:t> </a:t>
            </a:r>
            <a:r>
              <a:rPr lang="es-ES" dirty="0" err="1"/>
              <a:t>inhibitors</a:t>
            </a:r>
            <a:r>
              <a:rPr lang="es-ES" dirty="0"/>
              <a:t> and </a:t>
            </a:r>
            <a:r>
              <a:rPr lang="es-ES" dirty="0" err="1"/>
              <a:t>angiotensin</a:t>
            </a:r>
            <a:r>
              <a:rPr lang="es-ES" dirty="0"/>
              <a:t> receptor </a:t>
            </a:r>
            <a:r>
              <a:rPr lang="es-ES" dirty="0" err="1"/>
              <a:t>blockers</a:t>
            </a:r>
            <a:r>
              <a:rPr lang="es-ES" dirty="0"/>
              <a:t> in </a:t>
            </a:r>
            <a:r>
              <a:rPr lang="es-ES" dirty="0" err="1"/>
              <a:t>chronic</a:t>
            </a:r>
            <a:r>
              <a:rPr lang="es-ES" dirty="0"/>
              <a:t> </a:t>
            </a:r>
            <a:r>
              <a:rPr lang="es-ES" dirty="0" err="1"/>
              <a:t>limb-threatening</a:t>
            </a:r>
            <a:r>
              <a:rPr lang="es-ES" dirty="0"/>
              <a:t> </a:t>
            </a:r>
            <a:r>
              <a:rPr lang="es-ES" dirty="0" err="1"/>
              <a:t>ischemia</a:t>
            </a:r>
            <a:r>
              <a:rPr lang="es-ES" dirty="0"/>
              <a:t>. J </a:t>
            </a:r>
            <a:r>
              <a:rPr lang="es-ES" dirty="0" err="1"/>
              <a:t>Vasc</a:t>
            </a:r>
            <a:r>
              <a:rPr lang="es-ES" dirty="0"/>
              <a:t> </a:t>
            </a:r>
            <a:r>
              <a:rPr lang="es-ES" dirty="0" err="1"/>
              <a:t>Surg</a:t>
            </a:r>
            <a:r>
              <a:rPr lang="es-ES" dirty="0"/>
              <a:t>. 2020 Dec;72(6):2130-2138. </a:t>
            </a:r>
            <a:r>
              <a:rPr lang="es-ES" dirty="0" err="1"/>
              <a:t>doi</a:t>
            </a:r>
            <a:r>
              <a:rPr lang="es-ES" dirty="0"/>
              <a:t>: 10.1016/j.jvs.2020.02.041. </a:t>
            </a:r>
            <a:r>
              <a:rPr lang="es-ES" dirty="0" err="1"/>
              <a:t>Epub</a:t>
            </a:r>
            <a:r>
              <a:rPr lang="es-ES" dirty="0"/>
              <a:t> 2020 </a:t>
            </a:r>
            <a:r>
              <a:rPr lang="es-ES" dirty="0" err="1"/>
              <a:t>Apr</a:t>
            </a:r>
            <a:r>
              <a:rPr lang="es-ES" dirty="0"/>
              <a:t> 8.</a:t>
            </a:r>
            <a:r>
              <a:rPr lang="es-ES" b="1" dirty="0"/>
              <a:t> 2</a:t>
            </a:r>
            <a:r>
              <a:rPr lang="es-ES" dirty="0"/>
              <a:t>. </a:t>
            </a:r>
            <a:r>
              <a:rPr lang="es-ES" dirty="0" err="1"/>
              <a:t>Juneja</a:t>
            </a:r>
            <a:r>
              <a:rPr lang="es-ES" dirty="0"/>
              <a:t> A, et al. </a:t>
            </a:r>
            <a:r>
              <a:rPr lang="es-ES" dirty="0" err="1"/>
              <a:t>Angiotensin</a:t>
            </a:r>
            <a:r>
              <a:rPr lang="es-ES" dirty="0"/>
              <a:t> </a:t>
            </a:r>
            <a:r>
              <a:rPr lang="es-ES" dirty="0" err="1"/>
              <a:t>converting</a:t>
            </a:r>
            <a:r>
              <a:rPr lang="es-ES" dirty="0"/>
              <a:t> </a:t>
            </a:r>
            <a:r>
              <a:rPr lang="es-ES" dirty="0" err="1"/>
              <a:t>enzyme</a:t>
            </a:r>
            <a:r>
              <a:rPr lang="es-ES" dirty="0"/>
              <a:t> </a:t>
            </a:r>
            <a:r>
              <a:rPr lang="es-ES" dirty="0" err="1"/>
              <a:t>inhibitors</a:t>
            </a:r>
            <a:r>
              <a:rPr lang="es-ES" dirty="0"/>
              <a:t> and </a:t>
            </a:r>
            <a:r>
              <a:rPr lang="es-ES" dirty="0" err="1"/>
              <a:t>angiotensin</a:t>
            </a:r>
            <a:r>
              <a:rPr lang="es-ES" dirty="0"/>
              <a:t> receptor </a:t>
            </a:r>
            <a:r>
              <a:rPr lang="es-ES" dirty="0" err="1"/>
              <a:t>blockers</a:t>
            </a:r>
            <a:r>
              <a:rPr lang="es-ES" dirty="0"/>
              <a:t> </a:t>
            </a:r>
            <a:r>
              <a:rPr lang="es-ES" dirty="0" err="1"/>
              <a:t>have</a:t>
            </a:r>
            <a:r>
              <a:rPr lang="es-ES" dirty="0"/>
              <a:t> no </a:t>
            </a:r>
            <a:r>
              <a:rPr lang="es-ES" dirty="0" err="1"/>
              <a:t>effect</a:t>
            </a:r>
            <a:r>
              <a:rPr lang="es-ES" dirty="0"/>
              <a:t> </a:t>
            </a:r>
            <a:r>
              <a:rPr lang="es-ES" dirty="0" err="1"/>
              <a:t>on</a:t>
            </a:r>
            <a:r>
              <a:rPr lang="es-ES" dirty="0"/>
              <a:t> </a:t>
            </a:r>
            <a:r>
              <a:rPr lang="es-ES" dirty="0" err="1"/>
              <a:t>the</a:t>
            </a:r>
            <a:r>
              <a:rPr lang="es-ES" dirty="0"/>
              <a:t> </a:t>
            </a:r>
            <a:r>
              <a:rPr lang="es-ES" dirty="0" err="1"/>
              <a:t>outcomes</a:t>
            </a:r>
            <a:r>
              <a:rPr lang="es-ES" dirty="0"/>
              <a:t> </a:t>
            </a:r>
            <a:r>
              <a:rPr lang="es-ES" dirty="0" err="1"/>
              <a:t>of</a:t>
            </a:r>
            <a:r>
              <a:rPr lang="es-ES" dirty="0"/>
              <a:t> endovascular </a:t>
            </a:r>
            <a:r>
              <a:rPr lang="es-ES" dirty="0" err="1"/>
              <a:t>revascularization</a:t>
            </a:r>
            <a:r>
              <a:rPr lang="es-ES" dirty="0"/>
              <a:t> in tibial arterial </a:t>
            </a:r>
            <a:r>
              <a:rPr lang="es-ES" dirty="0" err="1"/>
              <a:t>occlusive</a:t>
            </a:r>
            <a:r>
              <a:rPr lang="es-ES" dirty="0"/>
              <a:t> </a:t>
            </a:r>
            <a:r>
              <a:rPr lang="es-ES" dirty="0" err="1"/>
              <a:t>disease</a:t>
            </a:r>
            <a:r>
              <a:rPr lang="es-ES" dirty="0"/>
              <a:t>. </a:t>
            </a:r>
            <a:r>
              <a:rPr lang="es-ES" dirty="0" err="1"/>
              <a:t>Vascul</a:t>
            </a:r>
            <a:r>
              <a:rPr lang="es-ES" dirty="0"/>
              <a:t> </a:t>
            </a:r>
            <a:r>
              <a:rPr lang="es-ES" dirty="0" err="1"/>
              <a:t>Pharmacol</a:t>
            </a:r>
            <a:r>
              <a:rPr lang="es-ES" dirty="0"/>
              <a:t>. 2020 Aug:131:106764. </a:t>
            </a:r>
            <a:r>
              <a:rPr lang="es-ES" dirty="0" err="1"/>
              <a:t>doi</a:t>
            </a:r>
            <a:r>
              <a:rPr lang="es-ES" dirty="0"/>
              <a:t>: 10.1016/j.vph.2020.106764. </a:t>
            </a:r>
            <a:r>
              <a:rPr lang="es-ES" dirty="0" err="1"/>
              <a:t>Epub</a:t>
            </a:r>
            <a:r>
              <a:rPr lang="es-ES" dirty="0"/>
              <a:t> 2020 Jul 3.</a:t>
            </a:r>
          </a:p>
        </p:txBody>
      </p:sp>
      <p:sp>
        <p:nvSpPr>
          <p:cNvPr id="4" name="CuadroTexto 3">
            <a:extLst>
              <a:ext uri="{FF2B5EF4-FFF2-40B4-BE49-F238E27FC236}">
                <a16:creationId xmlns:a16="http://schemas.microsoft.com/office/drawing/2014/main" id="{6BDEE984-CF11-0D82-9A8D-43D8326C1290}"/>
              </a:ext>
            </a:extLst>
          </p:cNvPr>
          <p:cNvSpPr txBox="1"/>
          <p:nvPr/>
        </p:nvSpPr>
        <p:spPr>
          <a:xfrm>
            <a:off x="1192217" y="5233277"/>
            <a:ext cx="4929129" cy="738664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algn="just"/>
            <a:r>
              <a:rPr lang="es-ES" sz="1400" dirty="0">
                <a:solidFill>
                  <a:schemeClr val="accent1"/>
                </a:solidFill>
              </a:rPr>
              <a:t>Los IECA/ARA2 mejoran la supervivencia y AFS en pacientes sometidos a intervención vascular periférica para isquemia crónica amenazante para las extremidades</a:t>
            </a:r>
            <a:r>
              <a:rPr lang="es-ES" sz="1400" baseline="30000" dirty="0">
                <a:solidFill>
                  <a:schemeClr val="accent1"/>
                </a:solidFill>
              </a:rPr>
              <a:t>1</a:t>
            </a:r>
            <a:r>
              <a:rPr lang="es-ES" sz="1400" dirty="0">
                <a:solidFill>
                  <a:schemeClr val="accent1"/>
                </a:solidFill>
              </a:rPr>
              <a:t>.</a:t>
            </a:r>
          </a:p>
        </p:txBody>
      </p:sp>
      <p:pic>
        <p:nvPicPr>
          <p:cNvPr id="8" name="Imagen 7">
            <a:extLst>
              <a:ext uri="{FF2B5EF4-FFF2-40B4-BE49-F238E27FC236}">
                <a16:creationId xmlns:a16="http://schemas.microsoft.com/office/drawing/2014/main" id="{83F2A226-B2A9-D7C3-FBA4-A6C7BDD14ED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424663" y="2416022"/>
            <a:ext cx="4374401" cy="2533709"/>
          </a:xfrm>
          <a:prstGeom prst="rect">
            <a:avLst/>
          </a:prstGeom>
        </p:spPr>
      </p:pic>
      <p:sp>
        <p:nvSpPr>
          <p:cNvPr id="13" name="CuadroTexto 12">
            <a:extLst>
              <a:ext uri="{FF2B5EF4-FFF2-40B4-BE49-F238E27FC236}">
                <a16:creationId xmlns:a16="http://schemas.microsoft.com/office/drawing/2014/main" id="{43B7B8C9-533F-886D-4189-AC3AEF7447CB}"/>
              </a:ext>
            </a:extLst>
          </p:cNvPr>
          <p:cNvSpPr txBox="1"/>
          <p:nvPr/>
        </p:nvSpPr>
        <p:spPr>
          <a:xfrm>
            <a:off x="8761239" y="4849703"/>
            <a:ext cx="2052065" cy="200055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s-ES"/>
            </a:defPPr>
            <a:lvl1pPr algn="ctr">
              <a:defRPr sz="700" i="1">
                <a:solidFill>
                  <a:schemeClr val="accent1"/>
                </a:solidFill>
              </a:defRPr>
            </a:lvl1pPr>
          </a:lstStyle>
          <a:p>
            <a:pPr algn="r"/>
            <a:r>
              <a:rPr lang="es-ES" dirty="0" err="1"/>
              <a:t>Vascul</a:t>
            </a:r>
            <a:r>
              <a:rPr lang="es-ES" dirty="0"/>
              <a:t> </a:t>
            </a:r>
            <a:r>
              <a:rPr lang="es-ES" dirty="0" err="1"/>
              <a:t>Pharmacol</a:t>
            </a:r>
            <a:r>
              <a:rPr lang="es-ES" dirty="0"/>
              <a:t>. 2020 Aug:131:106764. </a:t>
            </a:r>
          </a:p>
        </p:txBody>
      </p:sp>
      <p:sp>
        <p:nvSpPr>
          <p:cNvPr id="17" name="CuadroTexto 16">
            <a:extLst>
              <a:ext uri="{FF2B5EF4-FFF2-40B4-BE49-F238E27FC236}">
                <a16:creationId xmlns:a16="http://schemas.microsoft.com/office/drawing/2014/main" id="{E64C0EFE-9FB9-C783-DE6B-6DF4EA09F92F}"/>
              </a:ext>
            </a:extLst>
          </p:cNvPr>
          <p:cNvSpPr txBox="1"/>
          <p:nvPr/>
        </p:nvSpPr>
        <p:spPr>
          <a:xfrm>
            <a:off x="6653535" y="1706000"/>
            <a:ext cx="4478274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s-ES"/>
            </a:defPPr>
            <a:lvl1pPr algn="just">
              <a:defRPr sz="1200" b="1">
                <a:solidFill>
                  <a:schemeClr val="tx1">
                    <a:lumMod val="50000"/>
                  </a:schemeClr>
                </a:solidFill>
              </a:defRPr>
            </a:lvl1pPr>
          </a:lstStyle>
          <a:p>
            <a:pPr algn="ctr"/>
            <a:r>
              <a:rPr lang="es-ES" dirty="0"/>
              <a:t>Tasa de supervivencia acumulativa de Kaplan-Meier entre pacientes con IECA, ARA2 y sin IECA ni ARA al alta</a:t>
            </a:r>
            <a:r>
              <a:rPr lang="es-ES" baseline="30000" dirty="0"/>
              <a:t>2</a:t>
            </a:r>
          </a:p>
        </p:txBody>
      </p:sp>
      <p:sp>
        <p:nvSpPr>
          <p:cNvPr id="19" name="CuadroTexto 18">
            <a:extLst>
              <a:ext uri="{FF2B5EF4-FFF2-40B4-BE49-F238E27FC236}">
                <a16:creationId xmlns:a16="http://schemas.microsoft.com/office/drawing/2014/main" id="{C93B07F1-2B48-3671-8076-A4DC061E351F}"/>
              </a:ext>
            </a:extLst>
          </p:cNvPr>
          <p:cNvSpPr txBox="1"/>
          <p:nvPr/>
        </p:nvSpPr>
        <p:spPr>
          <a:xfrm>
            <a:off x="6441258" y="5229001"/>
            <a:ext cx="4886464" cy="738664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>
            <a:defPPr>
              <a:defRPr lang="es-ES"/>
            </a:defPPr>
            <a:lvl1pPr algn="just">
              <a:defRPr sz="1400">
                <a:solidFill>
                  <a:schemeClr val="accent1"/>
                </a:solidFill>
              </a:defRPr>
            </a:lvl1pPr>
          </a:lstStyle>
          <a:p>
            <a:r>
              <a:rPr lang="es-ES" dirty="0"/>
              <a:t>Los ARA2 al alta después de la hospitalización por EAP sintomática están asociados con una mejor supervivencia en comparación con IECA o sin IECA/ARA2</a:t>
            </a:r>
            <a:r>
              <a:rPr lang="es-ES" baseline="30000" dirty="0"/>
              <a:t>2</a:t>
            </a:r>
            <a:r>
              <a:rPr lang="es-ES" dirty="0"/>
              <a:t>.</a:t>
            </a:r>
          </a:p>
        </p:txBody>
      </p:sp>
      <p:sp>
        <p:nvSpPr>
          <p:cNvPr id="21" name="Título 3">
            <a:extLst>
              <a:ext uri="{FF2B5EF4-FFF2-40B4-BE49-F238E27FC236}">
                <a16:creationId xmlns:a16="http://schemas.microsoft.com/office/drawing/2014/main" id="{B704298E-3117-D3FA-131C-51849993DC93}"/>
              </a:ext>
            </a:extLst>
          </p:cNvPr>
          <p:cNvSpPr txBox="1">
            <a:spLocks/>
          </p:cNvSpPr>
          <p:nvPr/>
        </p:nvSpPr>
        <p:spPr>
          <a:xfrm>
            <a:off x="408432" y="156981"/>
            <a:ext cx="11375136" cy="842533"/>
          </a:xfrm>
          <a:prstGeom prst="rect">
            <a:avLst/>
          </a:prstGeom>
        </p:spPr>
        <p:txBody>
          <a:bodyPr lIns="0" tIns="0" rIns="0" bIns="0" anchor="ctr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067" kern="1200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ES" sz="2400" b="1" dirty="0"/>
              <a:t>Tratamiento farmacológico de pacientes EAP</a:t>
            </a:r>
          </a:p>
        </p:txBody>
      </p:sp>
      <p:sp>
        <p:nvSpPr>
          <p:cNvPr id="22" name="Rectángulo 21">
            <a:extLst>
              <a:ext uri="{FF2B5EF4-FFF2-40B4-BE49-F238E27FC236}">
                <a16:creationId xmlns:a16="http://schemas.microsoft.com/office/drawing/2014/main" id="{F2F186EB-CAB0-F275-9AEB-080328AD93B2}"/>
              </a:ext>
            </a:extLst>
          </p:cNvPr>
          <p:cNvSpPr/>
          <p:nvPr/>
        </p:nvSpPr>
        <p:spPr>
          <a:xfrm>
            <a:off x="408432" y="850392"/>
            <a:ext cx="11442192" cy="423910"/>
          </a:xfrm>
          <a:prstGeom prst="rect">
            <a:avLst/>
          </a:prstGeom>
          <a:solidFill>
            <a:schemeClr val="accent4"/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s-ES_tradnl" sz="2400" b="1" dirty="0"/>
              <a:t>Terapia con antihipertensivos</a:t>
            </a:r>
            <a:endParaRPr lang="es-ES" sz="2400" b="1" dirty="0"/>
          </a:p>
        </p:txBody>
      </p:sp>
      <p:sp>
        <p:nvSpPr>
          <p:cNvPr id="2" name="CuadroTexto 1">
            <a:extLst>
              <a:ext uri="{FF2B5EF4-FFF2-40B4-BE49-F238E27FC236}">
                <a16:creationId xmlns:a16="http://schemas.microsoft.com/office/drawing/2014/main" id="{9B0442B5-1523-F721-89D4-9B80689A0156}"/>
              </a:ext>
            </a:extLst>
          </p:cNvPr>
          <p:cNvSpPr txBox="1"/>
          <p:nvPr/>
        </p:nvSpPr>
        <p:spPr>
          <a:xfrm rot="16200000">
            <a:off x="10611613" y="3657467"/>
            <a:ext cx="2510028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s-ES" sz="1400" dirty="0">
                <a:solidFill>
                  <a:schemeClr val="bg1">
                    <a:lumMod val="95000"/>
                  </a:schemeClr>
                </a:solidFill>
              </a:rPr>
              <a:t>MA-ES-NOP-2500037</a:t>
            </a:r>
          </a:p>
        </p:txBody>
      </p:sp>
    </p:spTree>
    <p:extLst>
      <p:ext uri="{BB962C8B-B14F-4D97-AF65-F5344CB8AC3E}">
        <p14:creationId xmlns:p14="http://schemas.microsoft.com/office/powerpoint/2010/main" val="1885860310"/>
      </p:ext>
    </p:extLst>
  </p:cSld>
  <p:clrMapOvr>
    <a:masterClrMapping/>
  </p:clrMapOvr>
  <p:transition spd="med">
    <p:fade/>
  </p:transition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E5F7EC9-5EAB-6F63-9B0B-F7503060DA2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n 3">
            <a:extLst>
              <a:ext uri="{FF2B5EF4-FFF2-40B4-BE49-F238E27FC236}">
                <a16:creationId xmlns:a16="http://schemas.microsoft.com/office/drawing/2014/main" id="{E84F3D09-3782-A9E0-AA7A-2E043F3B41C2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b="22557"/>
          <a:stretch>
            <a:fillRect/>
          </a:stretch>
        </p:blipFill>
        <p:spPr>
          <a:xfrm>
            <a:off x="6053328" y="1315458"/>
            <a:ext cx="4158701" cy="5311036"/>
          </a:xfrm>
          <a:prstGeom prst="rect">
            <a:avLst/>
          </a:prstGeom>
        </p:spPr>
      </p:pic>
      <p:sp>
        <p:nvSpPr>
          <p:cNvPr id="8" name="CuadroTexto 7">
            <a:extLst>
              <a:ext uri="{FF2B5EF4-FFF2-40B4-BE49-F238E27FC236}">
                <a16:creationId xmlns:a16="http://schemas.microsoft.com/office/drawing/2014/main" id="{1F64856A-BEAD-D621-4430-10563A31E84C}"/>
              </a:ext>
            </a:extLst>
          </p:cNvPr>
          <p:cNvSpPr txBox="1"/>
          <p:nvPr/>
        </p:nvSpPr>
        <p:spPr>
          <a:xfrm>
            <a:off x="8132678" y="6626494"/>
            <a:ext cx="1999128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s-ES"/>
            </a:defPPr>
            <a:lvl1pPr algn="ctr">
              <a:defRPr sz="700" b="0" i="1">
                <a:solidFill>
                  <a:schemeClr val="accent1"/>
                </a:solidFill>
                <a:effectLst/>
              </a:defRPr>
            </a:lvl1pPr>
          </a:lstStyle>
          <a:p>
            <a:pPr algn="r"/>
            <a:r>
              <a:rPr lang="es-ES" dirty="0" err="1"/>
              <a:t>Eur</a:t>
            </a:r>
            <a:r>
              <a:rPr lang="es-ES" dirty="0"/>
              <a:t> Heart J. 2024 </a:t>
            </a:r>
            <a:r>
              <a:rPr lang="es-ES" dirty="0" err="1"/>
              <a:t>Sep</a:t>
            </a:r>
            <a:r>
              <a:rPr lang="es-ES" dirty="0"/>
              <a:t> 29;45(36):3538-3700</a:t>
            </a:r>
          </a:p>
        </p:txBody>
      </p:sp>
      <p:sp>
        <p:nvSpPr>
          <p:cNvPr id="9" name="CuadroTexto 8">
            <a:extLst>
              <a:ext uri="{FF2B5EF4-FFF2-40B4-BE49-F238E27FC236}">
                <a16:creationId xmlns:a16="http://schemas.microsoft.com/office/drawing/2014/main" id="{91A2C1A4-3676-08A1-0039-A38690E69361}"/>
              </a:ext>
            </a:extLst>
          </p:cNvPr>
          <p:cNvSpPr txBox="1"/>
          <p:nvPr/>
        </p:nvSpPr>
        <p:spPr>
          <a:xfrm>
            <a:off x="1458165" y="5023882"/>
            <a:ext cx="4044124" cy="30777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>
            <a:defPPr>
              <a:defRPr lang="es-ES"/>
            </a:defPPr>
            <a:lvl1pPr algn="ctr">
              <a:defRPr sz="700" b="0" i="1">
                <a:solidFill>
                  <a:schemeClr val="accent1"/>
                </a:solidFill>
                <a:effectLst/>
              </a:defRPr>
            </a:lvl1pPr>
          </a:lstStyle>
          <a:p>
            <a:r>
              <a:rPr lang="es-ES" b="1" dirty="0"/>
              <a:t>1</a:t>
            </a:r>
            <a:r>
              <a:rPr lang="es-ES" dirty="0"/>
              <a:t>. </a:t>
            </a:r>
            <a:r>
              <a:rPr lang="es-ES" dirty="0" err="1"/>
              <a:t>Mazzolai</a:t>
            </a:r>
            <a:r>
              <a:rPr lang="es-ES" dirty="0"/>
              <a:t> L, et al. 2024 ESC </a:t>
            </a:r>
            <a:r>
              <a:rPr lang="es-ES" dirty="0" err="1"/>
              <a:t>Guidelines</a:t>
            </a:r>
            <a:r>
              <a:rPr lang="es-ES" dirty="0"/>
              <a:t> </a:t>
            </a:r>
            <a:r>
              <a:rPr lang="es-ES" dirty="0" err="1"/>
              <a:t>for</a:t>
            </a:r>
            <a:r>
              <a:rPr lang="es-ES" dirty="0"/>
              <a:t> </a:t>
            </a:r>
            <a:r>
              <a:rPr lang="es-ES" dirty="0" err="1"/>
              <a:t>the</a:t>
            </a:r>
            <a:r>
              <a:rPr lang="es-ES" dirty="0"/>
              <a:t> </a:t>
            </a:r>
            <a:r>
              <a:rPr lang="es-ES" dirty="0" err="1"/>
              <a:t>management</a:t>
            </a:r>
            <a:r>
              <a:rPr lang="es-ES" dirty="0"/>
              <a:t> </a:t>
            </a:r>
            <a:r>
              <a:rPr lang="es-ES" dirty="0" err="1"/>
              <a:t>of</a:t>
            </a:r>
            <a:r>
              <a:rPr lang="es-ES" dirty="0"/>
              <a:t> </a:t>
            </a:r>
            <a:r>
              <a:rPr lang="es-ES" dirty="0" err="1"/>
              <a:t>peripheral</a:t>
            </a:r>
            <a:r>
              <a:rPr lang="es-ES" dirty="0"/>
              <a:t> arterial and </a:t>
            </a:r>
            <a:r>
              <a:rPr lang="es-ES" dirty="0" err="1"/>
              <a:t>aortic</a:t>
            </a:r>
            <a:r>
              <a:rPr lang="es-ES" dirty="0"/>
              <a:t> </a:t>
            </a:r>
            <a:r>
              <a:rPr lang="es-ES" dirty="0" err="1"/>
              <a:t>diseases</a:t>
            </a:r>
            <a:r>
              <a:rPr lang="es-ES" dirty="0"/>
              <a:t>. </a:t>
            </a:r>
            <a:r>
              <a:rPr lang="es-ES" dirty="0" err="1"/>
              <a:t>Eur</a:t>
            </a:r>
            <a:r>
              <a:rPr lang="es-ES" dirty="0"/>
              <a:t> Heart J. 2024 </a:t>
            </a:r>
            <a:r>
              <a:rPr lang="es-ES" dirty="0" err="1"/>
              <a:t>Sep</a:t>
            </a:r>
            <a:r>
              <a:rPr lang="es-ES" dirty="0"/>
              <a:t> 29;45(36):3538-3700. </a:t>
            </a:r>
            <a:r>
              <a:rPr lang="es-ES" dirty="0" err="1"/>
              <a:t>doi</a:t>
            </a:r>
            <a:r>
              <a:rPr lang="es-ES" dirty="0"/>
              <a:t>: 10.1093/</a:t>
            </a:r>
            <a:r>
              <a:rPr lang="es-ES" dirty="0" err="1"/>
              <a:t>eurheartj</a:t>
            </a:r>
            <a:r>
              <a:rPr lang="es-ES" dirty="0"/>
              <a:t>/ehae179.</a:t>
            </a:r>
          </a:p>
        </p:txBody>
      </p:sp>
      <p:sp>
        <p:nvSpPr>
          <p:cNvPr id="10" name="CuadroTexto 9">
            <a:extLst>
              <a:ext uri="{FF2B5EF4-FFF2-40B4-BE49-F238E27FC236}">
                <a16:creationId xmlns:a16="http://schemas.microsoft.com/office/drawing/2014/main" id="{773D8941-177C-E1E1-28B3-E116440735A5}"/>
              </a:ext>
            </a:extLst>
          </p:cNvPr>
          <p:cNvSpPr txBox="1"/>
          <p:nvPr/>
        </p:nvSpPr>
        <p:spPr>
          <a:xfrm>
            <a:off x="1334003" y="2154602"/>
            <a:ext cx="4310736" cy="523220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>
            <a:defPPr>
              <a:defRPr lang="es-ES"/>
            </a:defPPr>
            <a:lvl1pPr algn="just">
              <a:defRPr sz="1400">
                <a:solidFill>
                  <a:schemeClr val="accent1"/>
                </a:solidFill>
              </a:defRPr>
            </a:lvl1pPr>
          </a:lstStyle>
          <a:p>
            <a:r>
              <a:rPr lang="es-ES" dirty="0"/>
              <a:t>Se recomienda niveles de control de HbA1c &lt;7% para reducir complicaciones microvasculares</a:t>
            </a:r>
            <a:r>
              <a:rPr lang="es-ES" baseline="30000" dirty="0"/>
              <a:t>1</a:t>
            </a:r>
            <a:r>
              <a:rPr lang="es-ES" dirty="0"/>
              <a:t>.</a:t>
            </a:r>
          </a:p>
        </p:txBody>
      </p:sp>
      <p:sp>
        <p:nvSpPr>
          <p:cNvPr id="11" name="CuadroTexto 10">
            <a:extLst>
              <a:ext uri="{FF2B5EF4-FFF2-40B4-BE49-F238E27FC236}">
                <a16:creationId xmlns:a16="http://schemas.microsoft.com/office/drawing/2014/main" id="{324DE267-A533-A426-8765-DD879A65E841}"/>
              </a:ext>
            </a:extLst>
          </p:cNvPr>
          <p:cNvSpPr txBox="1"/>
          <p:nvPr/>
        </p:nvSpPr>
        <p:spPr>
          <a:xfrm>
            <a:off x="1334003" y="2944573"/>
            <a:ext cx="4310736" cy="738664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>
            <a:defPPr>
              <a:defRPr lang="es-ES"/>
            </a:defPPr>
            <a:lvl1pPr algn="just">
              <a:defRPr sz="1400">
                <a:solidFill>
                  <a:schemeClr val="accent1"/>
                </a:solidFill>
              </a:defRPr>
            </a:lvl1pPr>
          </a:lstStyle>
          <a:p>
            <a:r>
              <a:rPr lang="es-ES" dirty="0"/>
              <a:t>Se recomienda el uso de los iSGLT2 y los GLP-1 en pacientes EAP con diabetes impedientemente de los objetivos de HbA1c</a:t>
            </a:r>
            <a:r>
              <a:rPr lang="es-ES" baseline="30000" dirty="0"/>
              <a:t>1</a:t>
            </a:r>
            <a:r>
              <a:rPr lang="es-ES" dirty="0"/>
              <a:t>.</a:t>
            </a:r>
          </a:p>
        </p:txBody>
      </p:sp>
      <p:sp>
        <p:nvSpPr>
          <p:cNvPr id="12" name="CuadroTexto 11">
            <a:extLst>
              <a:ext uri="{FF2B5EF4-FFF2-40B4-BE49-F238E27FC236}">
                <a16:creationId xmlns:a16="http://schemas.microsoft.com/office/drawing/2014/main" id="{031018BC-8E9F-4823-68B2-FE865B1A49BA}"/>
              </a:ext>
            </a:extLst>
          </p:cNvPr>
          <p:cNvSpPr txBox="1"/>
          <p:nvPr/>
        </p:nvSpPr>
        <p:spPr>
          <a:xfrm>
            <a:off x="1334003" y="3949988"/>
            <a:ext cx="4310736" cy="523220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>
            <a:defPPr>
              <a:defRPr lang="es-ES"/>
            </a:defPPr>
            <a:lvl1pPr algn="just">
              <a:defRPr sz="1400">
                <a:solidFill>
                  <a:schemeClr val="accent1"/>
                </a:solidFill>
              </a:defRPr>
            </a:lvl1pPr>
          </a:lstStyle>
          <a:p>
            <a:r>
              <a:rPr lang="es-ES" dirty="0"/>
              <a:t>Se recomienda evitar la hipoglucemia en los pacientes EAP</a:t>
            </a:r>
            <a:r>
              <a:rPr lang="es-ES" baseline="30000" dirty="0"/>
              <a:t>1</a:t>
            </a:r>
            <a:r>
              <a:rPr lang="es-ES" dirty="0"/>
              <a:t>.</a:t>
            </a:r>
          </a:p>
        </p:txBody>
      </p:sp>
      <p:sp>
        <p:nvSpPr>
          <p:cNvPr id="13" name="Título 3">
            <a:extLst>
              <a:ext uri="{FF2B5EF4-FFF2-40B4-BE49-F238E27FC236}">
                <a16:creationId xmlns:a16="http://schemas.microsoft.com/office/drawing/2014/main" id="{D7F5421D-6D77-55FC-48AD-964D55900080}"/>
              </a:ext>
            </a:extLst>
          </p:cNvPr>
          <p:cNvSpPr txBox="1">
            <a:spLocks/>
          </p:cNvSpPr>
          <p:nvPr/>
        </p:nvSpPr>
        <p:spPr>
          <a:xfrm>
            <a:off x="408432" y="156981"/>
            <a:ext cx="11375136" cy="842533"/>
          </a:xfrm>
          <a:prstGeom prst="rect">
            <a:avLst/>
          </a:prstGeom>
        </p:spPr>
        <p:txBody>
          <a:bodyPr lIns="0" tIns="0" rIns="0" bIns="0" anchor="ctr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067" kern="1200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ES" sz="2400" b="1" dirty="0"/>
              <a:t>Tratamiento farmacológico de pacientes EAP</a:t>
            </a:r>
          </a:p>
        </p:txBody>
      </p:sp>
      <p:sp>
        <p:nvSpPr>
          <p:cNvPr id="14" name="Rectángulo 13">
            <a:extLst>
              <a:ext uri="{FF2B5EF4-FFF2-40B4-BE49-F238E27FC236}">
                <a16:creationId xmlns:a16="http://schemas.microsoft.com/office/drawing/2014/main" id="{3036BEF1-372D-838C-5794-1EBA39CD96B9}"/>
              </a:ext>
            </a:extLst>
          </p:cNvPr>
          <p:cNvSpPr/>
          <p:nvPr/>
        </p:nvSpPr>
        <p:spPr>
          <a:xfrm>
            <a:off x="408432" y="850392"/>
            <a:ext cx="11442192" cy="423910"/>
          </a:xfrm>
          <a:prstGeom prst="rect">
            <a:avLst/>
          </a:prstGeom>
          <a:solidFill>
            <a:schemeClr val="accent5"/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s-ES_tradnl" sz="2400" b="1" dirty="0"/>
              <a:t>Terapia con antidiabéticos</a:t>
            </a:r>
            <a:endParaRPr lang="es-ES" sz="2400" b="1" dirty="0"/>
          </a:p>
        </p:txBody>
      </p:sp>
      <p:sp>
        <p:nvSpPr>
          <p:cNvPr id="2" name="CuadroTexto 1">
            <a:extLst>
              <a:ext uri="{FF2B5EF4-FFF2-40B4-BE49-F238E27FC236}">
                <a16:creationId xmlns:a16="http://schemas.microsoft.com/office/drawing/2014/main" id="{10C63FBF-0F1A-637F-9BF6-A230260E3305}"/>
              </a:ext>
            </a:extLst>
          </p:cNvPr>
          <p:cNvSpPr txBox="1"/>
          <p:nvPr/>
        </p:nvSpPr>
        <p:spPr>
          <a:xfrm rot="16200000">
            <a:off x="10611613" y="3657467"/>
            <a:ext cx="2510028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s-ES" sz="1400" dirty="0">
                <a:solidFill>
                  <a:schemeClr val="bg1">
                    <a:lumMod val="95000"/>
                  </a:schemeClr>
                </a:solidFill>
              </a:rPr>
              <a:t>MA-ES-NOP-2500037</a:t>
            </a:r>
          </a:p>
        </p:txBody>
      </p:sp>
    </p:spTree>
    <p:extLst>
      <p:ext uri="{BB962C8B-B14F-4D97-AF65-F5344CB8AC3E}">
        <p14:creationId xmlns:p14="http://schemas.microsoft.com/office/powerpoint/2010/main" val="2297055351"/>
      </p:ext>
    </p:extLst>
  </p:cSld>
  <p:clrMapOvr>
    <a:masterClrMapping/>
  </p:clrMapOvr>
  <p:transition spd="med">
    <p:fade/>
  </p:transition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AC79B34-25F3-3F76-02D6-88C30A38A6B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ítulo 3">
            <a:extLst>
              <a:ext uri="{FF2B5EF4-FFF2-40B4-BE49-F238E27FC236}">
                <a16:creationId xmlns:a16="http://schemas.microsoft.com/office/drawing/2014/main" id="{F4753FEF-D93F-B673-F07F-D7530EFA1A89}"/>
              </a:ext>
            </a:extLst>
          </p:cNvPr>
          <p:cNvSpPr txBox="1">
            <a:spLocks/>
          </p:cNvSpPr>
          <p:nvPr/>
        </p:nvSpPr>
        <p:spPr>
          <a:xfrm>
            <a:off x="870707" y="411817"/>
            <a:ext cx="10661904" cy="535486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067" kern="1200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s-ES" sz="2800" b="1" dirty="0"/>
              <a:t>Tratamiento con ejercicio físico supervisado</a:t>
            </a:r>
          </a:p>
        </p:txBody>
      </p:sp>
      <p:sp>
        <p:nvSpPr>
          <p:cNvPr id="18" name="CuadroTexto 17">
            <a:extLst>
              <a:ext uri="{FF2B5EF4-FFF2-40B4-BE49-F238E27FC236}">
                <a16:creationId xmlns:a16="http://schemas.microsoft.com/office/drawing/2014/main" id="{3044183D-F57D-65B4-DDEC-139A58A29AF8}"/>
              </a:ext>
            </a:extLst>
          </p:cNvPr>
          <p:cNvSpPr txBox="1"/>
          <p:nvPr/>
        </p:nvSpPr>
        <p:spPr>
          <a:xfrm>
            <a:off x="2364715" y="6493808"/>
            <a:ext cx="8451013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s-ES"/>
            </a:defPPr>
            <a:lvl1pPr algn="ctr">
              <a:defRPr sz="700" b="0" i="1">
                <a:solidFill>
                  <a:schemeClr val="accent1"/>
                </a:solidFill>
                <a:effectLst/>
              </a:defRPr>
            </a:lvl1pPr>
          </a:lstStyle>
          <a:p>
            <a:r>
              <a:rPr lang="es-ES" dirty="0"/>
              <a:t>1. </a:t>
            </a:r>
            <a:r>
              <a:rPr lang="es-ES" dirty="0" err="1"/>
              <a:t>Mazzolai</a:t>
            </a:r>
            <a:r>
              <a:rPr lang="es-ES" dirty="0"/>
              <a:t> L, et al. 2024 ESC </a:t>
            </a:r>
            <a:r>
              <a:rPr lang="es-ES" dirty="0" err="1"/>
              <a:t>Guidelines</a:t>
            </a:r>
            <a:r>
              <a:rPr lang="es-ES" dirty="0"/>
              <a:t> </a:t>
            </a:r>
            <a:r>
              <a:rPr lang="es-ES" dirty="0" err="1"/>
              <a:t>for</a:t>
            </a:r>
            <a:r>
              <a:rPr lang="es-ES" dirty="0"/>
              <a:t> </a:t>
            </a:r>
            <a:r>
              <a:rPr lang="es-ES" dirty="0" err="1"/>
              <a:t>the</a:t>
            </a:r>
            <a:r>
              <a:rPr lang="es-ES" dirty="0"/>
              <a:t> </a:t>
            </a:r>
            <a:r>
              <a:rPr lang="es-ES" dirty="0" err="1"/>
              <a:t>management</a:t>
            </a:r>
            <a:r>
              <a:rPr lang="es-ES" dirty="0"/>
              <a:t> </a:t>
            </a:r>
            <a:r>
              <a:rPr lang="es-ES" dirty="0" err="1"/>
              <a:t>of</a:t>
            </a:r>
            <a:r>
              <a:rPr lang="es-ES" dirty="0"/>
              <a:t> </a:t>
            </a:r>
            <a:r>
              <a:rPr lang="es-ES" dirty="0" err="1"/>
              <a:t>peripheral</a:t>
            </a:r>
            <a:r>
              <a:rPr lang="es-ES" dirty="0"/>
              <a:t> arterial and </a:t>
            </a:r>
            <a:r>
              <a:rPr lang="es-ES" dirty="0" err="1"/>
              <a:t>aortic</a:t>
            </a:r>
            <a:r>
              <a:rPr lang="es-ES" dirty="0"/>
              <a:t> </a:t>
            </a:r>
            <a:r>
              <a:rPr lang="es-ES" dirty="0" err="1"/>
              <a:t>diseases</a:t>
            </a:r>
            <a:r>
              <a:rPr lang="es-ES" dirty="0"/>
              <a:t>. </a:t>
            </a:r>
            <a:r>
              <a:rPr lang="es-ES" dirty="0" err="1"/>
              <a:t>Eur</a:t>
            </a:r>
            <a:r>
              <a:rPr lang="es-ES" dirty="0"/>
              <a:t> Heart J. 2024 </a:t>
            </a:r>
            <a:r>
              <a:rPr lang="es-ES" dirty="0" err="1"/>
              <a:t>Sep</a:t>
            </a:r>
            <a:r>
              <a:rPr lang="es-ES" dirty="0"/>
              <a:t> 29;45(36):3538-3700. </a:t>
            </a:r>
            <a:r>
              <a:rPr lang="es-ES" dirty="0" err="1"/>
              <a:t>doi</a:t>
            </a:r>
            <a:r>
              <a:rPr lang="es-ES" dirty="0"/>
              <a:t>: 10.1093/</a:t>
            </a:r>
            <a:r>
              <a:rPr lang="es-ES" dirty="0" err="1"/>
              <a:t>eurheartj</a:t>
            </a:r>
            <a:r>
              <a:rPr lang="es-ES" dirty="0"/>
              <a:t>/ehae179.</a:t>
            </a:r>
          </a:p>
        </p:txBody>
      </p:sp>
      <p:sp>
        <p:nvSpPr>
          <p:cNvPr id="26" name="CuadroTexto 25">
            <a:extLst>
              <a:ext uri="{FF2B5EF4-FFF2-40B4-BE49-F238E27FC236}">
                <a16:creationId xmlns:a16="http://schemas.microsoft.com/office/drawing/2014/main" id="{25945DE4-8416-28BF-B91E-5CF00197653B}"/>
              </a:ext>
            </a:extLst>
          </p:cNvPr>
          <p:cNvSpPr txBox="1"/>
          <p:nvPr/>
        </p:nvSpPr>
        <p:spPr>
          <a:xfrm>
            <a:off x="8389229" y="4465984"/>
            <a:ext cx="2138213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s-ES"/>
            </a:defPPr>
            <a:lvl1pPr algn="ctr">
              <a:defRPr sz="700" b="0" i="1">
                <a:solidFill>
                  <a:schemeClr val="accent1"/>
                </a:solidFill>
                <a:effectLst/>
              </a:defRPr>
            </a:lvl1pPr>
          </a:lstStyle>
          <a:p>
            <a:pPr algn="r"/>
            <a:r>
              <a:rPr lang="es-ES" dirty="0" err="1"/>
              <a:t>Eur</a:t>
            </a:r>
            <a:r>
              <a:rPr lang="es-ES" dirty="0"/>
              <a:t> Heart J. 2024 </a:t>
            </a:r>
            <a:r>
              <a:rPr lang="es-ES" dirty="0" err="1"/>
              <a:t>Sep</a:t>
            </a:r>
            <a:r>
              <a:rPr lang="es-ES" dirty="0"/>
              <a:t> 29;45(36):3538-3700</a:t>
            </a:r>
          </a:p>
        </p:txBody>
      </p:sp>
      <p:sp>
        <p:nvSpPr>
          <p:cNvPr id="27" name="CuadroTexto 26">
            <a:extLst>
              <a:ext uri="{FF2B5EF4-FFF2-40B4-BE49-F238E27FC236}">
                <a16:creationId xmlns:a16="http://schemas.microsoft.com/office/drawing/2014/main" id="{01ECB847-C2FA-2017-F958-1A34DBAC6282}"/>
              </a:ext>
            </a:extLst>
          </p:cNvPr>
          <p:cNvSpPr txBox="1"/>
          <p:nvPr/>
        </p:nvSpPr>
        <p:spPr>
          <a:xfrm>
            <a:off x="3076482" y="6149211"/>
            <a:ext cx="2138213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s-ES"/>
            </a:defPPr>
            <a:lvl1pPr algn="ctr">
              <a:defRPr sz="700" b="0" i="1">
                <a:solidFill>
                  <a:schemeClr val="accent1"/>
                </a:solidFill>
                <a:effectLst/>
              </a:defRPr>
            </a:lvl1pPr>
          </a:lstStyle>
          <a:p>
            <a:pPr algn="r"/>
            <a:r>
              <a:rPr lang="es-ES" dirty="0" err="1"/>
              <a:t>Eur</a:t>
            </a:r>
            <a:r>
              <a:rPr lang="es-ES" dirty="0"/>
              <a:t> Heart J. 2024 </a:t>
            </a:r>
            <a:r>
              <a:rPr lang="es-ES" dirty="0" err="1"/>
              <a:t>Sep</a:t>
            </a:r>
            <a:r>
              <a:rPr lang="es-ES" dirty="0"/>
              <a:t> 29;45(36):3538-3700</a:t>
            </a:r>
          </a:p>
        </p:txBody>
      </p:sp>
      <p:pic>
        <p:nvPicPr>
          <p:cNvPr id="4" name="Imagen 3">
            <a:extLst>
              <a:ext uri="{FF2B5EF4-FFF2-40B4-BE49-F238E27FC236}">
                <a16:creationId xmlns:a16="http://schemas.microsoft.com/office/drawing/2014/main" id="{4A992E89-DB94-D8BB-D737-41AC4053767B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b="32800"/>
          <a:stretch>
            <a:fillRect/>
          </a:stretch>
        </p:blipFill>
        <p:spPr>
          <a:xfrm>
            <a:off x="1470268" y="1504208"/>
            <a:ext cx="3779230" cy="4608576"/>
          </a:xfrm>
          <a:prstGeom prst="rect">
            <a:avLst/>
          </a:prstGeom>
        </p:spPr>
      </p:pic>
      <p:sp>
        <p:nvSpPr>
          <p:cNvPr id="3" name="CuadroTexto 2">
            <a:extLst>
              <a:ext uri="{FF2B5EF4-FFF2-40B4-BE49-F238E27FC236}">
                <a16:creationId xmlns:a16="http://schemas.microsoft.com/office/drawing/2014/main" id="{80D68A6C-26C5-9141-41AF-1883D2716B03}"/>
              </a:ext>
            </a:extLst>
          </p:cNvPr>
          <p:cNvSpPr txBox="1"/>
          <p:nvPr/>
        </p:nvSpPr>
        <p:spPr>
          <a:xfrm>
            <a:off x="5867400" y="1522559"/>
            <a:ext cx="5189654" cy="523220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>
            <a:defPPr>
              <a:defRPr lang="es-ES"/>
            </a:defPPr>
            <a:lvl1pPr algn="just">
              <a:defRPr sz="1400">
                <a:solidFill>
                  <a:schemeClr val="accent1"/>
                </a:solidFill>
              </a:defRPr>
            </a:lvl1pPr>
          </a:lstStyle>
          <a:p>
            <a:r>
              <a:rPr lang="es-ES" dirty="0"/>
              <a:t>En pacientes con EAP sintomática, se recomienda entrenamiento físico supervisado</a:t>
            </a:r>
            <a:r>
              <a:rPr lang="es-ES" baseline="30000" dirty="0"/>
              <a:t>1</a:t>
            </a:r>
            <a:r>
              <a:rPr lang="es-ES" dirty="0"/>
              <a:t>.</a:t>
            </a:r>
          </a:p>
        </p:txBody>
      </p:sp>
      <p:sp>
        <p:nvSpPr>
          <p:cNvPr id="5" name="CuadroTexto 4">
            <a:extLst>
              <a:ext uri="{FF2B5EF4-FFF2-40B4-BE49-F238E27FC236}">
                <a16:creationId xmlns:a16="http://schemas.microsoft.com/office/drawing/2014/main" id="{0459AA8A-8C0A-392D-EDE0-D2C753339AE1}"/>
              </a:ext>
            </a:extLst>
          </p:cNvPr>
          <p:cNvSpPr txBox="1"/>
          <p:nvPr/>
        </p:nvSpPr>
        <p:spPr>
          <a:xfrm>
            <a:off x="5867400" y="2233351"/>
            <a:ext cx="5189654" cy="738664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>
            <a:defPPr>
              <a:defRPr lang="es-ES"/>
            </a:defPPr>
            <a:lvl1pPr algn="just">
              <a:defRPr sz="1400">
                <a:solidFill>
                  <a:schemeClr val="accent1"/>
                </a:solidFill>
              </a:defRPr>
            </a:lvl1pPr>
          </a:lstStyle>
          <a:p>
            <a:r>
              <a:rPr lang="es-ES" dirty="0"/>
              <a:t>En pacientes en pacientes sometidos a revascularización endovascular, entrenamiento físico supervisado está recomendado como terapia adyuvante</a:t>
            </a:r>
            <a:r>
              <a:rPr lang="es-ES" baseline="30000" dirty="0"/>
              <a:t>1</a:t>
            </a:r>
            <a:r>
              <a:rPr lang="es-ES" dirty="0"/>
              <a:t>.</a:t>
            </a:r>
          </a:p>
        </p:txBody>
      </p:sp>
      <p:pic>
        <p:nvPicPr>
          <p:cNvPr id="6" name="Imagen 5">
            <a:extLst>
              <a:ext uri="{FF2B5EF4-FFF2-40B4-BE49-F238E27FC236}">
                <a16:creationId xmlns:a16="http://schemas.microsoft.com/office/drawing/2014/main" id="{E04510AA-D132-896B-F34C-E0F4B9FD6570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 b="75218"/>
          <a:stretch>
            <a:fillRect/>
          </a:stretch>
        </p:blipFill>
        <p:spPr>
          <a:xfrm>
            <a:off x="6318504" y="3369721"/>
            <a:ext cx="4343069" cy="1051749"/>
          </a:xfrm>
          <a:prstGeom prst="rect">
            <a:avLst/>
          </a:prstGeom>
        </p:spPr>
      </p:pic>
      <p:sp>
        <p:nvSpPr>
          <p:cNvPr id="15" name="CuadroTexto 14">
            <a:extLst>
              <a:ext uri="{FF2B5EF4-FFF2-40B4-BE49-F238E27FC236}">
                <a16:creationId xmlns:a16="http://schemas.microsoft.com/office/drawing/2014/main" id="{49FC4988-FA05-6EDE-1ED4-02B97F7F177B}"/>
              </a:ext>
            </a:extLst>
          </p:cNvPr>
          <p:cNvSpPr txBox="1"/>
          <p:nvPr/>
        </p:nvSpPr>
        <p:spPr>
          <a:xfrm>
            <a:off x="5867400" y="4978375"/>
            <a:ext cx="5189654" cy="738664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>
            <a:defPPr>
              <a:defRPr lang="es-ES"/>
            </a:defPPr>
            <a:lvl1pPr algn="just">
              <a:defRPr sz="1400">
                <a:solidFill>
                  <a:schemeClr val="accent1"/>
                </a:solidFill>
              </a:defRPr>
            </a:lvl1pPr>
          </a:lstStyle>
          <a:p>
            <a:r>
              <a:rPr lang="es-ES" dirty="0"/>
              <a:t>En pacientes con EAP sintomático, tras 3 meses de terapia médica óptima y de ejercicio, se recomienda la evaluación de la calidad de vida de los pacientes</a:t>
            </a:r>
            <a:r>
              <a:rPr lang="es-ES" baseline="30000" dirty="0"/>
              <a:t>1</a:t>
            </a:r>
            <a:r>
              <a:rPr lang="es-ES" dirty="0"/>
              <a:t>.</a:t>
            </a:r>
          </a:p>
        </p:txBody>
      </p:sp>
      <p:sp>
        <p:nvSpPr>
          <p:cNvPr id="2" name="CuadroTexto 1">
            <a:extLst>
              <a:ext uri="{FF2B5EF4-FFF2-40B4-BE49-F238E27FC236}">
                <a16:creationId xmlns:a16="http://schemas.microsoft.com/office/drawing/2014/main" id="{FCA6A1EF-0121-F306-6620-96178DCAAC31}"/>
              </a:ext>
            </a:extLst>
          </p:cNvPr>
          <p:cNvSpPr txBox="1"/>
          <p:nvPr/>
        </p:nvSpPr>
        <p:spPr>
          <a:xfrm rot="16200000">
            <a:off x="10611613" y="3657467"/>
            <a:ext cx="2510028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s-ES" sz="1400" dirty="0">
                <a:solidFill>
                  <a:schemeClr val="bg1">
                    <a:lumMod val="95000"/>
                  </a:schemeClr>
                </a:solidFill>
              </a:rPr>
              <a:t>MA-ES-NOP-2500037</a:t>
            </a:r>
          </a:p>
        </p:txBody>
      </p:sp>
    </p:spTree>
    <p:extLst>
      <p:ext uri="{BB962C8B-B14F-4D97-AF65-F5344CB8AC3E}">
        <p14:creationId xmlns:p14="http://schemas.microsoft.com/office/powerpoint/2010/main" val="3338023713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D6268E9-9584-4FF9-3FA2-3399C0BCA81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ítulo 3">
            <a:extLst>
              <a:ext uri="{FF2B5EF4-FFF2-40B4-BE49-F238E27FC236}">
                <a16:creationId xmlns:a16="http://schemas.microsoft.com/office/drawing/2014/main" id="{110A114A-25BF-E133-27CC-E44214CA2250}"/>
              </a:ext>
            </a:extLst>
          </p:cNvPr>
          <p:cNvSpPr txBox="1">
            <a:spLocks/>
          </p:cNvSpPr>
          <p:nvPr/>
        </p:nvSpPr>
        <p:spPr>
          <a:xfrm>
            <a:off x="812832" y="492208"/>
            <a:ext cx="10661904" cy="535486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067" kern="1200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s-ES" sz="2800" b="1" dirty="0"/>
              <a:t>Tratamiento con ejercicio físico supervisado</a:t>
            </a:r>
          </a:p>
        </p:txBody>
      </p:sp>
      <p:sp>
        <p:nvSpPr>
          <p:cNvPr id="18" name="CuadroTexto 17">
            <a:extLst>
              <a:ext uri="{FF2B5EF4-FFF2-40B4-BE49-F238E27FC236}">
                <a16:creationId xmlns:a16="http://schemas.microsoft.com/office/drawing/2014/main" id="{09935FEB-17BF-4EDB-98FC-D73C577452E0}"/>
              </a:ext>
            </a:extLst>
          </p:cNvPr>
          <p:cNvSpPr txBox="1"/>
          <p:nvPr/>
        </p:nvSpPr>
        <p:spPr>
          <a:xfrm>
            <a:off x="6446749" y="5830317"/>
            <a:ext cx="483890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s-ES"/>
            </a:defPPr>
            <a:lvl1pPr algn="ctr">
              <a:defRPr sz="700" b="0" i="1">
                <a:solidFill>
                  <a:schemeClr val="accent1"/>
                </a:solidFill>
                <a:effectLst/>
              </a:defRPr>
            </a:lvl1pPr>
          </a:lstStyle>
          <a:p>
            <a:r>
              <a:rPr lang="es-ES" dirty="0"/>
              <a:t>1. </a:t>
            </a:r>
            <a:r>
              <a:rPr lang="es-ES" dirty="0" err="1"/>
              <a:t>Mazzolai</a:t>
            </a:r>
            <a:r>
              <a:rPr lang="es-ES" dirty="0"/>
              <a:t> L, et al. 2024 ESC </a:t>
            </a:r>
            <a:r>
              <a:rPr lang="es-ES" dirty="0" err="1"/>
              <a:t>Guidelines</a:t>
            </a:r>
            <a:r>
              <a:rPr lang="es-ES" dirty="0"/>
              <a:t> </a:t>
            </a:r>
            <a:r>
              <a:rPr lang="es-ES" dirty="0" err="1"/>
              <a:t>for</a:t>
            </a:r>
            <a:r>
              <a:rPr lang="es-ES" dirty="0"/>
              <a:t> </a:t>
            </a:r>
            <a:r>
              <a:rPr lang="es-ES" dirty="0" err="1"/>
              <a:t>the</a:t>
            </a:r>
            <a:r>
              <a:rPr lang="es-ES" dirty="0"/>
              <a:t> </a:t>
            </a:r>
            <a:r>
              <a:rPr lang="es-ES" dirty="0" err="1"/>
              <a:t>management</a:t>
            </a:r>
            <a:r>
              <a:rPr lang="es-ES" dirty="0"/>
              <a:t> </a:t>
            </a:r>
            <a:r>
              <a:rPr lang="es-ES" dirty="0" err="1"/>
              <a:t>of</a:t>
            </a:r>
            <a:r>
              <a:rPr lang="es-ES" dirty="0"/>
              <a:t> </a:t>
            </a:r>
            <a:r>
              <a:rPr lang="es-ES" dirty="0" err="1"/>
              <a:t>peripheral</a:t>
            </a:r>
            <a:r>
              <a:rPr lang="es-ES" dirty="0"/>
              <a:t> arterial and </a:t>
            </a:r>
            <a:r>
              <a:rPr lang="es-ES" dirty="0" err="1"/>
              <a:t>aortic</a:t>
            </a:r>
            <a:r>
              <a:rPr lang="es-ES" dirty="0"/>
              <a:t> </a:t>
            </a:r>
            <a:r>
              <a:rPr lang="es-ES" dirty="0" err="1"/>
              <a:t>diseases</a:t>
            </a:r>
            <a:r>
              <a:rPr lang="es-ES" dirty="0"/>
              <a:t>. </a:t>
            </a:r>
            <a:r>
              <a:rPr lang="es-ES" dirty="0" err="1"/>
              <a:t>Eur</a:t>
            </a:r>
            <a:r>
              <a:rPr lang="es-ES" dirty="0"/>
              <a:t> Heart J. 2024 </a:t>
            </a:r>
            <a:r>
              <a:rPr lang="es-ES" dirty="0" err="1"/>
              <a:t>Sep</a:t>
            </a:r>
            <a:r>
              <a:rPr lang="es-ES" dirty="0"/>
              <a:t> 29;45(36):3538-3700. </a:t>
            </a:r>
            <a:r>
              <a:rPr lang="es-ES" dirty="0" err="1"/>
              <a:t>doi</a:t>
            </a:r>
            <a:r>
              <a:rPr lang="es-ES" dirty="0"/>
              <a:t>: 10.1093/</a:t>
            </a:r>
            <a:r>
              <a:rPr lang="es-ES" dirty="0" err="1"/>
              <a:t>eurheartj</a:t>
            </a:r>
            <a:r>
              <a:rPr lang="es-ES" dirty="0"/>
              <a:t>/ehae179.</a:t>
            </a:r>
          </a:p>
        </p:txBody>
      </p:sp>
      <p:sp>
        <p:nvSpPr>
          <p:cNvPr id="28" name="CuadroTexto 27">
            <a:extLst>
              <a:ext uri="{FF2B5EF4-FFF2-40B4-BE49-F238E27FC236}">
                <a16:creationId xmlns:a16="http://schemas.microsoft.com/office/drawing/2014/main" id="{0D20F9F6-70F0-F6AA-CC9F-08A985181A52}"/>
              </a:ext>
            </a:extLst>
          </p:cNvPr>
          <p:cNvSpPr txBox="1"/>
          <p:nvPr/>
        </p:nvSpPr>
        <p:spPr>
          <a:xfrm>
            <a:off x="2719314" y="6427684"/>
            <a:ext cx="2616286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s-ES"/>
            </a:defPPr>
            <a:lvl1pPr algn="ctr">
              <a:defRPr sz="700" b="0" i="1">
                <a:solidFill>
                  <a:schemeClr val="accent1"/>
                </a:solidFill>
                <a:effectLst/>
              </a:defRPr>
            </a:lvl1pPr>
          </a:lstStyle>
          <a:p>
            <a:r>
              <a:rPr lang="es-ES" dirty="0" err="1"/>
              <a:t>Eur</a:t>
            </a:r>
            <a:r>
              <a:rPr lang="es-ES" dirty="0"/>
              <a:t> Heart J. 2024 </a:t>
            </a:r>
            <a:r>
              <a:rPr lang="es-ES" dirty="0" err="1"/>
              <a:t>Sep</a:t>
            </a:r>
            <a:r>
              <a:rPr lang="es-ES" dirty="0"/>
              <a:t> 29;45(36):3538-3700</a:t>
            </a:r>
          </a:p>
        </p:txBody>
      </p:sp>
      <p:pic>
        <p:nvPicPr>
          <p:cNvPr id="2" name="Imagen 1">
            <a:extLst>
              <a:ext uri="{FF2B5EF4-FFF2-40B4-BE49-F238E27FC236}">
                <a16:creationId xmlns:a16="http://schemas.microsoft.com/office/drawing/2014/main" id="{D3965FD8-1DFC-352B-D321-45305C74EF9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94088" y="1265294"/>
            <a:ext cx="4732882" cy="5174434"/>
          </a:xfrm>
          <a:prstGeom prst="rect">
            <a:avLst/>
          </a:prstGeom>
        </p:spPr>
      </p:pic>
      <p:sp>
        <p:nvSpPr>
          <p:cNvPr id="4" name="CuadroTexto 3">
            <a:extLst>
              <a:ext uri="{FF2B5EF4-FFF2-40B4-BE49-F238E27FC236}">
                <a16:creationId xmlns:a16="http://schemas.microsoft.com/office/drawing/2014/main" id="{8750D635-1AF6-30ED-D7E3-25365831BC0A}"/>
              </a:ext>
            </a:extLst>
          </p:cNvPr>
          <p:cNvSpPr txBox="1"/>
          <p:nvPr/>
        </p:nvSpPr>
        <p:spPr>
          <a:xfrm>
            <a:off x="6446750" y="1895371"/>
            <a:ext cx="4651162" cy="738664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>
            <a:defPPr>
              <a:defRPr lang="es-ES"/>
            </a:defPPr>
            <a:lvl1pPr algn="just">
              <a:defRPr sz="1400">
                <a:solidFill>
                  <a:schemeClr val="accent1"/>
                </a:solidFill>
              </a:defRPr>
            </a:lvl1pPr>
          </a:lstStyle>
          <a:p>
            <a:r>
              <a:rPr lang="es-ES" dirty="0"/>
              <a:t>Los pacientes sintomáticos deben ser evaluados antes de iniciar cualquier programa de entrenamiento supervisado</a:t>
            </a:r>
            <a:r>
              <a:rPr lang="es-ES" baseline="30000" dirty="0"/>
              <a:t>1</a:t>
            </a:r>
            <a:r>
              <a:rPr lang="es-ES" dirty="0"/>
              <a:t>.</a:t>
            </a:r>
          </a:p>
        </p:txBody>
      </p:sp>
      <p:sp>
        <p:nvSpPr>
          <p:cNvPr id="5" name="CuadroTexto 4">
            <a:extLst>
              <a:ext uri="{FF2B5EF4-FFF2-40B4-BE49-F238E27FC236}">
                <a16:creationId xmlns:a16="http://schemas.microsoft.com/office/drawing/2014/main" id="{B4F65E6B-F405-268D-4C0E-2B08DAEABEF1}"/>
              </a:ext>
            </a:extLst>
          </p:cNvPr>
          <p:cNvSpPr txBox="1"/>
          <p:nvPr/>
        </p:nvSpPr>
        <p:spPr>
          <a:xfrm>
            <a:off x="6446749" y="2913480"/>
            <a:ext cx="4732882" cy="1338828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>
            <a:defPPr>
              <a:defRPr lang="es-ES"/>
            </a:defPPr>
            <a:lvl1pPr algn="just">
              <a:defRPr sz="1400">
                <a:solidFill>
                  <a:schemeClr val="accent1"/>
                </a:solidFill>
              </a:defRPr>
            </a:lvl1pPr>
          </a:lstStyle>
          <a:p>
            <a:r>
              <a:rPr lang="es-ES" dirty="0"/>
              <a:t>Características del entrenamiento supervisado</a:t>
            </a:r>
            <a:r>
              <a:rPr lang="es-ES" baseline="30000" dirty="0"/>
              <a:t>1</a:t>
            </a:r>
            <a:r>
              <a:rPr lang="es-ES" dirty="0"/>
              <a:t>:</a:t>
            </a:r>
          </a:p>
          <a:p>
            <a:endParaRPr lang="es-ES" sz="1100" dirty="0"/>
          </a:p>
          <a:p>
            <a:pPr marL="285750" indent="-285750">
              <a:buFontTx/>
              <a:buChar char="-"/>
            </a:pPr>
            <a:r>
              <a:rPr lang="es-ES" dirty="0"/>
              <a:t>Al menos 3 veces a la semana</a:t>
            </a:r>
          </a:p>
          <a:p>
            <a:pPr marL="285750" indent="-285750">
              <a:buFontTx/>
              <a:buChar char="-"/>
            </a:pPr>
            <a:r>
              <a:rPr lang="es-ES" dirty="0"/>
              <a:t>Duración mínima 30min/sesión durante al menos 12 semanas</a:t>
            </a:r>
          </a:p>
          <a:p>
            <a:pPr marL="285750" indent="-285750">
              <a:buFontTx/>
              <a:buChar char="-"/>
            </a:pPr>
            <a:r>
              <a:rPr lang="es-ES" dirty="0"/>
              <a:t>Ejercicio de intensidad baja/moderada</a:t>
            </a:r>
          </a:p>
        </p:txBody>
      </p:sp>
      <p:sp>
        <p:nvSpPr>
          <p:cNvPr id="6" name="CuadroTexto 5">
            <a:extLst>
              <a:ext uri="{FF2B5EF4-FFF2-40B4-BE49-F238E27FC236}">
                <a16:creationId xmlns:a16="http://schemas.microsoft.com/office/drawing/2014/main" id="{B85E6C6E-0D30-278D-E702-47A74200A164}"/>
              </a:ext>
            </a:extLst>
          </p:cNvPr>
          <p:cNvSpPr txBox="1"/>
          <p:nvPr/>
        </p:nvSpPr>
        <p:spPr>
          <a:xfrm>
            <a:off x="6446749" y="4538654"/>
            <a:ext cx="4732882" cy="738664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>
            <a:defPPr>
              <a:defRPr lang="es-ES"/>
            </a:defPPr>
            <a:lvl1pPr algn="just">
              <a:defRPr sz="1400">
                <a:solidFill>
                  <a:schemeClr val="accent1"/>
                </a:solidFill>
              </a:defRPr>
            </a:lvl1pPr>
          </a:lstStyle>
          <a:p>
            <a:r>
              <a:rPr lang="es-ES" dirty="0"/>
              <a:t>Los beneficios del entrenamiento se traducen en una reducción de los síntomas y el riesgo CV junto con un aumento en el estatus funcional y la calidad de vida</a:t>
            </a:r>
            <a:r>
              <a:rPr lang="es-ES" baseline="30000" dirty="0"/>
              <a:t>1</a:t>
            </a:r>
            <a:r>
              <a:rPr lang="es-ES" dirty="0"/>
              <a:t>.  </a:t>
            </a:r>
          </a:p>
        </p:txBody>
      </p:sp>
      <p:sp>
        <p:nvSpPr>
          <p:cNvPr id="3" name="CuadroTexto 2">
            <a:extLst>
              <a:ext uri="{FF2B5EF4-FFF2-40B4-BE49-F238E27FC236}">
                <a16:creationId xmlns:a16="http://schemas.microsoft.com/office/drawing/2014/main" id="{3504FEF4-EE4E-D466-D1BD-4AA70ECFD65F}"/>
              </a:ext>
            </a:extLst>
          </p:cNvPr>
          <p:cNvSpPr txBox="1"/>
          <p:nvPr/>
        </p:nvSpPr>
        <p:spPr>
          <a:xfrm rot="16200000">
            <a:off x="10611613" y="3657467"/>
            <a:ext cx="2510028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s-ES" sz="1400" dirty="0">
                <a:solidFill>
                  <a:schemeClr val="bg1">
                    <a:lumMod val="95000"/>
                  </a:schemeClr>
                </a:solidFill>
              </a:rPr>
              <a:t>MA-ES-NOP-2500037</a:t>
            </a:r>
          </a:p>
        </p:txBody>
      </p:sp>
    </p:spTree>
    <p:extLst>
      <p:ext uri="{BB962C8B-B14F-4D97-AF65-F5344CB8AC3E}">
        <p14:creationId xmlns:p14="http://schemas.microsoft.com/office/powerpoint/2010/main" val="3299350218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FF77BF5C-310D-CE51-54BE-0798BB71B87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/>
          <a:p>
            <a:pPr algn="ctr" defTabSz="914377">
              <a:lnSpc>
                <a:spcPct val="90000"/>
              </a:lnSpc>
            </a:pPr>
            <a:r>
              <a:rPr lang="es-ES_tradnl" sz="2800" dirty="0"/>
              <a:t>Modificación de estilo de vida</a:t>
            </a:r>
            <a:endParaRPr lang="es-ES" sz="2800" dirty="0"/>
          </a:p>
        </p:txBody>
      </p:sp>
      <p:grpSp>
        <p:nvGrpSpPr>
          <p:cNvPr id="3" name="Grupo 2">
            <a:extLst>
              <a:ext uri="{FF2B5EF4-FFF2-40B4-BE49-F238E27FC236}">
                <a16:creationId xmlns:a16="http://schemas.microsoft.com/office/drawing/2014/main" id="{CB37E4EB-20BA-1964-19CD-EFF6212EE470}"/>
              </a:ext>
            </a:extLst>
          </p:cNvPr>
          <p:cNvGrpSpPr/>
          <p:nvPr/>
        </p:nvGrpSpPr>
        <p:grpSpPr>
          <a:xfrm>
            <a:off x="6608559" y="1560585"/>
            <a:ext cx="3926533" cy="4336536"/>
            <a:chOff x="4389812" y="1533912"/>
            <a:chExt cx="4499363" cy="4857744"/>
          </a:xfrm>
        </p:grpSpPr>
        <p:pic>
          <p:nvPicPr>
            <p:cNvPr id="4" name="Imagen 3">
              <a:extLst>
                <a:ext uri="{FF2B5EF4-FFF2-40B4-BE49-F238E27FC236}">
                  <a16:creationId xmlns:a16="http://schemas.microsoft.com/office/drawing/2014/main" id="{80EEC8AC-2D55-7997-D370-36A43465BE64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>
            <a:xfrm>
              <a:off x="4389812" y="1533912"/>
              <a:ext cx="4499363" cy="4857744"/>
            </a:xfrm>
            <a:prstGeom prst="rect">
              <a:avLst/>
            </a:prstGeom>
          </p:spPr>
        </p:pic>
        <p:pic>
          <p:nvPicPr>
            <p:cNvPr id="5" name="Imagen 4">
              <a:extLst>
                <a:ext uri="{FF2B5EF4-FFF2-40B4-BE49-F238E27FC236}">
                  <a16:creationId xmlns:a16="http://schemas.microsoft.com/office/drawing/2014/main" id="{130040F0-F4C9-F70D-A052-8FB5B745C51C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rcRect l="19809" t="20063" r="36871" b="77880"/>
            <a:stretch>
              <a:fillRect/>
            </a:stretch>
          </p:blipFill>
          <p:spPr>
            <a:xfrm>
              <a:off x="4526281" y="3493008"/>
              <a:ext cx="2084832" cy="201168"/>
            </a:xfrm>
            <a:prstGeom prst="rect">
              <a:avLst/>
            </a:prstGeom>
          </p:spPr>
        </p:pic>
        <p:pic>
          <p:nvPicPr>
            <p:cNvPr id="6" name="Imagen 5">
              <a:extLst>
                <a:ext uri="{FF2B5EF4-FFF2-40B4-BE49-F238E27FC236}">
                  <a16:creationId xmlns:a16="http://schemas.microsoft.com/office/drawing/2014/main" id="{72183228-979C-C6E7-A292-FCBB1BF62533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rcRect l="19809" t="20063" r="36871" b="77880"/>
            <a:stretch>
              <a:fillRect/>
            </a:stretch>
          </p:blipFill>
          <p:spPr>
            <a:xfrm>
              <a:off x="5044440" y="4404360"/>
              <a:ext cx="2084832" cy="201168"/>
            </a:xfrm>
            <a:prstGeom prst="rect">
              <a:avLst/>
            </a:prstGeom>
          </p:spPr>
        </p:pic>
        <p:pic>
          <p:nvPicPr>
            <p:cNvPr id="7" name="Imagen 6">
              <a:extLst>
                <a:ext uri="{FF2B5EF4-FFF2-40B4-BE49-F238E27FC236}">
                  <a16:creationId xmlns:a16="http://schemas.microsoft.com/office/drawing/2014/main" id="{FC0F299B-2225-FDAB-7B13-E388B0F9EF15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rcRect l="19809" t="20063" r="36871" b="77880"/>
            <a:stretch>
              <a:fillRect/>
            </a:stretch>
          </p:blipFill>
          <p:spPr>
            <a:xfrm>
              <a:off x="5196840" y="5265420"/>
              <a:ext cx="2084832" cy="201168"/>
            </a:xfrm>
            <a:prstGeom prst="rect">
              <a:avLst/>
            </a:prstGeom>
          </p:spPr>
        </p:pic>
        <p:pic>
          <p:nvPicPr>
            <p:cNvPr id="8" name="Imagen 7">
              <a:extLst>
                <a:ext uri="{FF2B5EF4-FFF2-40B4-BE49-F238E27FC236}">
                  <a16:creationId xmlns:a16="http://schemas.microsoft.com/office/drawing/2014/main" id="{343E8E40-A9C1-FD4F-81F2-5FD4FFC18607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rcRect l="19809" t="20063" r="36871" b="77880"/>
            <a:stretch>
              <a:fillRect/>
            </a:stretch>
          </p:blipFill>
          <p:spPr>
            <a:xfrm>
              <a:off x="6735151" y="6141720"/>
              <a:ext cx="817793" cy="201168"/>
            </a:xfrm>
            <a:prstGeom prst="rect">
              <a:avLst/>
            </a:prstGeom>
          </p:spPr>
        </p:pic>
        <p:pic>
          <p:nvPicPr>
            <p:cNvPr id="9" name="Imagen 8">
              <a:extLst>
                <a:ext uri="{FF2B5EF4-FFF2-40B4-BE49-F238E27FC236}">
                  <a16:creationId xmlns:a16="http://schemas.microsoft.com/office/drawing/2014/main" id="{B76B2C95-BA28-1158-5F71-2EF5DA18B953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rcRect l="19809" t="20063" r="36871" b="77880"/>
            <a:stretch>
              <a:fillRect/>
            </a:stretch>
          </p:blipFill>
          <p:spPr>
            <a:xfrm>
              <a:off x="6872775" y="2389632"/>
              <a:ext cx="680169" cy="201168"/>
            </a:xfrm>
            <a:prstGeom prst="rect">
              <a:avLst/>
            </a:prstGeom>
          </p:spPr>
        </p:pic>
        <p:pic>
          <p:nvPicPr>
            <p:cNvPr id="10" name="Imagen 9">
              <a:extLst>
                <a:ext uri="{FF2B5EF4-FFF2-40B4-BE49-F238E27FC236}">
                  <a16:creationId xmlns:a16="http://schemas.microsoft.com/office/drawing/2014/main" id="{2AE5EAE5-910A-AED0-464F-7E0457EECFD0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rcRect l="19809" t="20063" r="36871" b="77880"/>
            <a:stretch>
              <a:fillRect/>
            </a:stretch>
          </p:blipFill>
          <p:spPr>
            <a:xfrm>
              <a:off x="6992786" y="3328416"/>
              <a:ext cx="601538" cy="201168"/>
            </a:xfrm>
            <a:prstGeom prst="rect">
              <a:avLst/>
            </a:prstGeom>
          </p:spPr>
        </p:pic>
      </p:grpSp>
      <p:sp>
        <p:nvSpPr>
          <p:cNvPr id="11" name="CuadroTexto 10">
            <a:extLst>
              <a:ext uri="{FF2B5EF4-FFF2-40B4-BE49-F238E27FC236}">
                <a16:creationId xmlns:a16="http://schemas.microsoft.com/office/drawing/2014/main" id="{8FF1FB4D-EE02-156C-A6C2-214007290BA5}"/>
              </a:ext>
            </a:extLst>
          </p:cNvPr>
          <p:cNvSpPr txBox="1"/>
          <p:nvPr/>
        </p:nvSpPr>
        <p:spPr>
          <a:xfrm>
            <a:off x="2167128" y="6410967"/>
            <a:ext cx="7717535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s-ES"/>
            </a:defPPr>
            <a:lvl1pPr algn="ctr">
              <a:defRPr sz="700" b="0" i="1">
                <a:solidFill>
                  <a:schemeClr val="accent1"/>
                </a:solidFill>
                <a:effectLst/>
              </a:defRPr>
            </a:lvl1pPr>
          </a:lstStyle>
          <a:p>
            <a:r>
              <a:rPr lang="es-ES" dirty="0"/>
              <a:t>1. </a:t>
            </a:r>
            <a:r>
              <a:rPr lang="es-ES" dirty="0" err="1"/>
              <a:t>Mazzolai</a:t>
            </a:r>
            <a:r>
              <a:rPr lang="es-ES" dirty="0"/>
              <a:t> L, et al. 2024 ESC </a:t>
            </a:r>
            <a:r>
              <a:rPr lang="es-ES" dirty="0" err="1"/>
              <a:t>Guidelines</a:t>
            </a:r>
            <a:r>
              <a:rPr lang="es-ES" dirty="0"/>
              <a:t> </a:t>
            </a:r>
            <a:r>
              <a:rPr lang="es-ES" dirty="0" err="1"/>
              <a:t>for</a:t>
            </a:r>
            <a:r>
              <a:rPr lang="es-ES" dirty="0"/>
              <a:t> </a:t>
            </a:r>
            <a:r>
              <a:rPr lang="es-ES" dirty="0" err="1"/>
              <a:t>the</a:t>
            </a:r>
            <a:r>
              <a:rPr lang="es-ES" dirty="0"/>
              <a:t> </a:t>
            </a:r>
            <a:r>
              <a:rPr lang="es-ES" dirty="0" err="1"/>
              <a:t>management</a:t>
            </a:r>
            <a:r>
              <a:rPr lang="es-ES" dirty="0"/>
              <a:t> </a:t>
            </a:r>
            <a:r>
              <a:rPr lang="es-ES" dirty="0" err="1"/>
              <a:t>of</a:t>
            </a:r>
            <a:r>
              <a:rPr lang="es-ES" dirty="0"/>
              <a:t> </a:t>
            </a:r>
            <a:r>
              <a:rPr lang="es-ES" dirty="0" err="1"/>
              <a:t>peripheral</a:t>
            </a:r>
            <a:r>
              <a:rPr lang="es-ES" dirty="0"/>
              <a:t> arterial and </a:t>
            </a:r>
            <a:r>
              <a:rPr lang="es-ES" dirty="0" err="1"/>
              <a:t>aortic</a:t>
            </a:r>
            <a:r>
              <a:rPr lang="es-ES" dirty="0"/>
              <a:t> </a:t>
            </a:r>
            <a:r>
              <a:rPr lang="es-ES" dirty="0" err="1"/>
              <a:t>diseases</a:t>
            </a:r>
            <a:r>
              <a:rPr lang="es-ES" dirty="0"/>
              <a:t>. </a:t>
            </a:r>
            <a:r>
              <a:rPr lang="es-ES" dirty="0" err="1"/>
              <a:t>Eur</a:t>
            </a:r>
            <a:r>
              <a:rPr lang="es-ES" dirty="0"/>
              <a:t> Heart J. 2024 </a:t>
            </a:r>
            <a:r>
              <a:rPr lang="es-ES" dirty="0" err="1"/>
              <a:t>Sep</a:t>
            </a:r>
            <a:r>
              <a:rPr lang="es-ES" dirty="0"/>
              <a:t> 29;45(36):3538-3700. </a:t>
            </a:r>
            <a:r>
              <a:rPr lang="es-ES" dirty="0" err="1"/>
              <a:t>doi</a:t>
            </a:r>
            <a:r>
              <a:rPr lang="es-ES" dirty="0"/>
              <a:t>: 10.1093/</a:t>
            </a:r>
            <a:r>
              <a:rPr lang="es-ES" dirty="0" err="1"/>
              <a:t>eurheartj</a:t>
            </a:r>
            <a:r>
              <a:rPr lang="es-ES" dirty="0"/>
              <a:t>/ehae179.</a:t>
            </a:r>
          </a:p>
        </p:txBody>
      </p:sp>
      <p:sp>
        <p:nvSpPr>
          <p:cNvPr id="12" name="CuadroTexto 11">
            <a:extLst>
              <a:ext uri="{FF2B5EF4-FFF2-40B4-BE49-F238E27FC236}">
                <a16:creationId xmlns:a16="http://schemas.microsoft.com/office/drawing/2014/main" id="{7B46B676-5FB7-7F9B-9A95-A7470192DDF6}"/>
              </a:ext>
            </a:extLst>
          </p:cNvPr>
          <p:cNvSpPr txBox="1"/>
          <p:nvPr/>
        </p:nvSpPr>
        <p:spPr>
          <a:xfrm>
            <a:off x="8315442" y="5926275"/>
            <a:ext cx="2616286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s-ES"/>
            </a:defPPr>
            <a:lvl1pPr algn="ctr">
              <a:defRPr sz="700" b="0" i="1">
                <a:solidFill>
                  <a:schemeClr val="accent1"/>
                </a:solidFill>
                <a:effectLst/>
              </a:defRPr>
            </a:lvl1pPr>
          </a:lstStyle>
          <a:p>
            <a:r>
              <a:rPr lang="es-ES" dirty="0" err="1"/>
              <a:t>Eur</a:t>
            </a:r>
            <a:r>
              <a:rPr lang="es-ES" dirty="0"/>
              <a:t> Heart J. 2024 </a:t>
            </a:r>
            <a:r>
              <a:rPr lang="es-ES" dirty="0" err="1"/>
              <a:t>Sep</a:t>
            </a:r>
            <a:r>
              <a:rPr lang="es-ES" dirty="0"/>
              <a:t> 29;45(36):3538-3700</a:t>
            </a:r>
          </a:p>
        </p:txBody>
      </p:sp>
      <p:grpSp>
        <p:nvGrpSpPr>
          <p:cNvPr id="15" name="Grupo 14">
            <a:extLst>
              <a:ext uri="{FF2B5EF4-FFF2-40B4-BE49-F238E27FC236}">
                <a16:creationId xmlns:a16="http://schemas.microsoft.com/office/drawing/2014/main" id="{598B13E4-4E4F-3F76-D37F-1971741A6392}"/>
              </a:ext>
            </a:extLst>
          </p:cNvPr>
          <p:cNvGrpSpPr/>
          <p:nvPr/>
        </p:nvGrpSpPr>
        <p:grpSpPr>
          <a:xfrm>
            <a:off x="1102807" y="3025736"/>
            <a:ext cx="5220110" cy="2871385"/>
            <a:chOff x="875890" y="3528795"/>
            <a:chExt cx="5220110" cy="2871385"/>
          </a:xfrm>
        </p:grpSpPr>
        <p:pic>
          <p:nvPicPr>
            <p:cNvPr id="13" name="Imagen 12">
              <a:extLst>
                <a:ext uri="{FF2B5EF4-FFF2-40B4-BE49-F238E27FC236}">
                  <a16:creationId xmlns:a16="http://schemas.microsoft.com/office/drawing/2014/main" id="{928AD6EC-AEE8-8294-5D16-90C16C502771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rcRect t="50555"/>
            <a:stretch>
              <a:fillRect/>
            </a:stretch>
          </p:blipFill>
          <p:spPr>
            <a:xfrm>
              <a:off x="875890" y="3657600"/>
              <a:ext cx="5219690" cy="2742580"/>
            </a:xfrm>
            <a:prstGeom prst="rect">
              <a:avLst/>
            </a:prstGeom>
          </p:spPr>
        </p:pic>
        <p:pic>
          <p:nvPicPr>
            <p:cNvPr id="14" name="Imagen 13">
              <a:extLst>
                <a:ext uri="{FF2B5EF4-FFF2-40B4-BE49-F238E27FC236}">
                  <a16:creationId xmlns:a16="http://schemas.microsoft.com/office/drawing/2014/main" id="{68B6F4E1-59E0-AFAF-7B24-F92F26C25371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rcRect b="97678"/>
            <a:stretch>
              <a:fillRect/>
            </a:stretch>
          </p:blipFill>
          <p:spPr>
            <a:xfrm>
              <a:off x="875890" y="3528795"/>
              <a:ext cx="5220110" cy="128805"/>
            </a:xfrm>
            <a:prstGeom prst="rect">
              <a:avLst/>
            </a:prstGeom>
          </p:spPr>
        </p:pic>
      </p:grpSp>
      <p:sp>
        <p:nvSpPr>
          <p:cNvPr id="16" name="CuadroTexto 15">
            <a:extLst>
              <a:ext uri="{FF2B5EF4-FFF2-40B4-BE49-F238E27FC236}">
                <a16:creationId xmlns:a16="http://schemas.microsoft.com/office/drawing/2014/main" id="{D9E80AF1-C14A-A227-0586-3110264EA42B}"/>
              </a:ext>
            </a:extLst>
          </p:cNvPr>
          <p:cNvSpPr txBox="1"/>
          <p:nvPr/>
        </p:nvSpPr>
        <p:spPr>
          <a:xfrm>
            <a:off x="1040054" y="1902031"/>
            <a:ext cx="5219690" cy="738664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>
            <a:defPPr>
              <a:defRPr lang="es-ES"/>
            </a:defPPr>
            <a:lvl1pPr algn="just">
              <a:defRPr sz="1400">
                <a:solidFill>
                  <a:schemeClr val="accent1"/>
                </a:solidFill>
              </a:defRPr>
            </a:lvl1pPr>
          </a:lstStyle>
          <a:p>
            <a:r>
              <a:rPr lang="es-ES" dirty="0"/>
              <a:t>Las recomendaciones de modificación de estilo de vida incluyen entre otros la deshabituación tabáquica, control de peso y dieta sana i equilibrada, además de apoyo psicológico</a:t>
            </a:r>
            <a:r>
              <a:rPr lang="es-ES" baseline="30000" dirty="0"/>
              <a:t>1</a:t>
            </a:r>
            <a:r>
              <a:rPr lang="es-ES" dirty="0"/>
              <a:t>. </a:t>
            </a:r>
          </a:p>
        </p:txBody>
      </p:sp>
      <p:sp>
        <p:nvSpPr>
          <p:cNvPr id="17" name="CuadroTexto 16">
            <a:extLst>
              <a:ext uri="{FF2B5EF4-FFF2-40B4-BE49-F238E27FC236}">
                <a16:creationId xmlns:a16="http://schemas.microsoft.com/office/drawing/2014/main" id="{24B69D05-D17A-1336-A18B-8BAE31B0FB4F}"/>
              </a:ext>
            </a:extLst>
          </p:cNvPr>
          <p:cNvSpPr txBox="1"/>
          <p:nvPr/>
        </p:nvSpPr>
        <p:spPr>
          <a:xfrm>
            <a:off x="3239035" y="5825871"/>
            <a:ext cx="2616286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s-ES"/>
            </a:defPPr>
            <a:lvl1pPr algn="ctr">
              <a:defRPr sz="700" b="0" i="1">
                <a:solidFill>
                  <a:schemeClr val="accent1"/>
                </a:solidFill>
                <a:effectLst/>
              </a:defRPr>
            </a:lvl1pPr>
          </a:lstStyle>
          <a:p>
            <a:r>
              <a:rPr lang="es-ES" dirty="0" err="1"/>
              <a:t>Eur</a:t>
            </a:r>
            <a:r>
              <a:rPr lang="es-ES" dirty="0"/>
              <a:t> Heart J. 2024 </a:t>
            </a:r>
            <a:r>
              <a:rPr lang="es-ES" dirty="0" err="1"/>
              <a:t>Sep</a:t>
            </a:r>
            <a:r>
              <a:rPr lang="es-ES" dirty="0"/>
              <a:t> 29;45(36):3538-3700</a:t>
            </a:r>
          </a:p>
        </p:txBody>
      </p:sp>
      <p:sp>
        <p:nvSpPr>
          <p:cNvPr id="18" name="CuadroTexto 17">
            <a:extLst>
              <a:ext uri="{FF2B5EF4-FFF2-40B4-BE49-F238E27FC236}">
                <a16:creationId xmlns:a16="http://schemas.microsoft.com/office/drawing/2014/main" id="{8F2BA148-7207-B0CF-1537-82556B5EBF67}"/>
              </a:ext>
            </a:extLst>
          </p:cNvPr>
          <p:cNvSpPr txBox="1"/>
          <p:nvPr/>
        </p:nvSpPr>
        <p:spPr>
          <a:xfrm rot="16200000">
            <a:off x="10611613" y="3657467"/>
            <a:ext cx="2510028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s-ES" sz="1400" dirty="0">
                <a:solidFill>
                  <a:schemeClr val="bg1">
                    <a:lumMod val="95000"/>
                  </a:schemeClr>
                </a:solidFill>
              </a:rPr>
              <a:t>MA-ES-NOP-2500037</a:t>
            </a:r>
          </a:p>
        </p:txBody>
      </p:sp>
    </p:spTree>
    <p:extLst>
      <p:ext uri="{BB962C8B-B14F-4D97-AF65-F5344CB8AC3E}">
        <p14:creationId xmlns:p14="http://schemas.microsoft.com/office/powerpoint/2010/main" val="2036209629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142BC0CA-4DD4-354B-54B7-7CFD543FF73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lIns="0" tIns="0" rIns="0" bIns="0" rtlCol="0" anchor="ctr">
            <a:normAutofit/>
          </a:bodyPr>
          <a:lstStyle/>
          <a:p>
            <a:pPr algn="ctr" defTabSz="914377">
              <a:lnSpc>
                <a:spcPct val="90000"/>
              </a:lnSpc>
            </a:pPr>
            <a:r>
              <a:rPr lang="es-ES" sz="2800" dirty="0"/>
              <a:t>Intervención quirúrgica para revascularización </a:t>
            </a:r>
          </a:p>
        </p:txBody>
      </p:sp>
      <p:pic>
        <p:nvPicPr>
          <p:cNvPr id="3" name="Imagen 2">
            <a:extLst>
              <a:ext uri="{FF2B5EF4-FFF2-40B4-BE49-F238E27FC236}">
                <a16:creationId xmlns:a16="http://schemas.microsoft.com/office/drawing/2014/main" id="{2FC232E2-696D-3934-D665-551CABB56FF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440345" y="1475000"/>
            <a:ext cx="4442299" cy="4969206"/>
          </a:xfrm>
          <a:prstGeom prst="rect">
            <a:avLst/>
          </a:prstGeom>
        </p:spPr>
      </p:pic>
      <p:pic>
        <p:nvPicPr>
          <p:cNvPr id="4" name="Imagen 3">
            <a:extLst>
              <a:ext uri="{FF2B5EF4-FFF2-40B4-BE49-F238E27FC236}">
                <a16:creationId xmlns:a16="http://schemas.microsoft.com/office/drawing/2014/main" id="{18F16DDF-9C67-EF42-69FC-677AE1AF115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866175" y="1475000"/>
            <a:ext cx="3813787" cy="4969207"/>
          </a:xfrm>
          <a:prstGeom prst="rect">
            <a:avLst/>
          </a:prstGeom>
        </p:spPr>
      </p:pic>
      <p:sp>
        <p:nvSpPr>
          <p:cNvPr id="5" name="CuadroTexto 4">
            <a:extLst>
              <a:ext uri="{FF2B5EF4-FFF2-40B4-BE49-F238E27FC236}">
                <a16:creationId xmlns:a16="http://schemas.microsoft.com/office/drawing/2014/main" id="{E21C537E-1F23-F861-C4F1-724EAFADAADC}"/>
              </a:ext>
            </a:extLst>
          </p:cNvPr>
          <p:cNvSpPr txBox="1"/>
          <p:nvPr/>
        </p:nvSpPr>
        <p:spPr>
          <a:xfrm>
            <a:off x="533758" y="4147875"/>
            <a:ext cx="2844143" cy="415498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>
            <a:defPPr>
              <a:defRPr lang="es-ES"/>
            </a:defPPr>
            <a:lvl1pPr algn="ctr">
              <a:defRPr sz="700" b="0" i="1">
                <a:solidFill>
                  <a:schemeClr val="accent1"/>
                </a:solidFill>
                <a:effectLst/>
              </a:defRPr>
            </a:lvl1pPr>
          </a:lstStyle>
          <a:p>
            <a:r>
              <a:rPr lang="es-ES" dirty="0"/>
              <a:t>1. </a:t>
            </a:r>
            <a:r>
              <a:rPr lang="es-ES" dirty="0" err="1"/>
              <a:t>Mazzolai</a:t>
            </a:r>
            <a:r>
              <a:rPr lang="es-ES" dirty="0"/>
              <a:t> L, et al. 2024 ESC </a:t>
            </a:r>
            <a:r>
              <a:rPr lang="es-ES" dirty="0" err="1"/>
              <a:t>Guidelines</a:t>
            </a:r>
            <a:r>
              <a:rPr lang="es-ES" dirty="0"/>
              <a:t> </a:t>
            </a:r>
            <a:r>
              <a:rPr lang="es-ES" dirty="0" err="1"/>
              <a:t>for</a:t>
            </a:r>
            <a:r>
              <a:rPr lang="es-ES" dirty="0"/>
              <a:t> </a:t>
            </a:r>
            <a:r>
              <a:rPr lang="es-ES" dirty="0" err="1"/>
              <a:t>the</a:t>
            </a:r>
            <a:r>
              <a:rPr lang="es-ES" dirty="0"/>
              <a:t> </a:t>
            </a:r>
            <a:r>
              <a:rPr lang="es-ES" dirty="0" err="1"/>
              <a:t>management</a:t>
            </a:r>
            <a:r>
              <a:rPr lang="es-ES" dirty="0"/>
              <a:t> </a:t>
            </a:r>
            <a:r>
              <a:rPr lang="es-ES" dirty="0" err="1"/>
              <a:t>of</a:t>
            </a:r>
            <a:r>
              <a:rPr lang="es-ES" dirty="0"/>
              <a:t> </a:t>
            </a:r>
            <a:r>
              <a:rPr lang="es-ES" dirty="0" err="1"/>
              <a:t>peripheral</a:t>
            </a:r>
            <a:r>
              <a:rPr lang="es-ES" dirty="0"/>
              <a:t> arterial and </a:t>
            </a:r>
            <a:r>
              <a:rPr lang="es-ES" dirty="0" err="1"/>
              <a:t>aortic</a:t>
            </a:r>
            <a:r>
              <a:rPr lang="es-ES" dirty="0"/>
              <a:t> </a:t>
            </a:r>
            <a:r>
              <a:rPr lang="es-ES" dirty="0" err="1"/>
              <a:t>diseases</a:t>
            </a:r>
            <a:r>
              <a:rPr lang="es-ES" dirty="0"/>
              <a:t>. </a:t>
            </a:r>
            <a:r>
              <a:rPr lang="es-ES" dirty="0" err="1"/>
              <a:t>Eur</a:t>
            </a:r>
            <a:r>
              <a:rPr lang="es-ES" dirty="0"/>
              <a:t> Heart J. 2024 </a:t>
            </a:r>
            <a:r>
              <a:rPr lang="es-ES" dirty="0" err="1"/>
              <a:t>Sep</a:t>
            </a:r>
            <a:r>
              <a:rPr lang="es-ES" dirty="0"/>
              <a:t> 29;45(36):3538-3700. </a:t>
            </a:r>
            <a:r>
              <a:rPr lang="es-ES" dirty="0" err="1"/>
              <a:t>doi</a:t>
            </a:r>
            <a:r>
              <a:rPr lang="es-ES" dirty="0"/>
              <a:t>: 10.1093/</a:t>
            </a:r>
            <a:r>
              <a:rPr lang="es-ES" dirty="0" err="1"/>
              <a:t>eurheartj</a:t>
            </a:r>
            <a:r>
              <a:rPr lang="es-ES" dirty="0"/>
              <a:t>/ehae179.</a:t>
            </a:r>
          </a:p>
        </p:txBody>
      </p:sp>
      <p:sp>
        <p:nvSpPr>
          <p:cNvPr id="6" name="CuadroTexto 5">
            <a:extLst>
              <a:ext uri="{FF2B5EF4-FFF2-40B4-BE49-F238E27FC236}">
                <a16:creationId xmlns:a16="http://schemas.microsoft.com/office/drawing/2014/main" id="{DEE1A55A-D259-EE3E-68D7-456391445684}"/>
              </a:ext>
            </a:extLst>
          </p:cNvPr>
          <p:cNvSpPr txBox="1"/>
          <p:nvPr/>
        </p:nvSpPr>
        <p:spPr>
          <a:xfrm>
            <a:off x="8464925" y="6444206"/>
            <a:ext cx="2616286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s-ES"/>
            </a:defPPr>
            <a:lvl1pPr algn="ctr">
              <a:defRPr sz="700" b="0" i="1">
                <a:solidFill>
                  <a:schemeClr val="accent1"/>
                </a:solidFill>
                <a:effectLst/>
              </a:defRPr>
            </a:lvl1pPr>
          </a:lstStyle>
          <a:p>
            <a:r>
              <a:rPr lang="es-ES" dirty="0" err="1"/>
              <a:t>Eur</a:t>
            </a:r>
            <a:r>
              <a:rPr lang="es-ES" dirty="0"/>
              <a:t> Heart J. 2024 </a:t>
            </a:r>
            <a:r>
              <a:rPr lang="es-ES" dirty="0" err="1"/>
              <a:t>Sep</a:t>
            </a:r>
            <a:r>
              <a:rPr lang="es-ES" dirty="0"/>
              <a:t> 29;45(36):3538-3700</a:t>
            </a:r>
          </a:p>
        </p:txBody>
      </p:sp>
      <p:sp>
        <p:nvSpPr>
          <p:cNvPr id="7" name="CuadroTexto 6">
            <a:extLst>
              <a:ext uri="{FF2B5EF4-FFF2-40B4-BE49-F238E27FC236}">
                <a16:creationId xmlns:a16="http://schemas.microsoft.com/office/drawing/2014/main" id="{2FF4F1D5-DBD6-5B33-9E64-35830F22D2F9}"/>
              </a:ext>
            </a:extLst>
          </p:cNvPr>
          <p:cNvSpPr txBox="1"/>
          <p:nvPr/>
        </p:nvSpPr>
        <p:spPr>
          <a:xfrm>
            <a:off x="4353351" y="6481823"/>
            <a:ext cx="2616286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s-ES"/>
            </a:defPPr>
            <a:lvl1pPr algn="ctr">
              <a:defRPr sz="700" b="0" i="1">
                <a:solidFill>
                  <a:schemeClr val="accent1"/>
                </a:solidFill>
                <a:effectLst/>
              </a:defRPr>
            </a:lvl1pPr>
          </a:lstStyle>
          <a:p>
            <a:r>
              <a:rPr lang="es-ES" dirty="0" err="1"/>
              <a:t>Eur</a:t>
            </a:r>
            <a:r>
              <a:rPr lang="es-ES" dirty="0"/>
              <a:t> Heart J. 2024 </a:t>
            </a:r>
            <a:r>
              <a:rPr lang="es-ES" dirty="0" err="1"/>
              <a:t>Sep</a:t>
            </a:r>
            <a:r>
              <a:rPr lang="es-ES" dirty="0"/>
              <a:t> 29;45(36):3538-3700</a:t>
            </a:r>
          </a:p>
        </p:txBody>
      </p:sp>
      <p:sp>
        <p:nvSpPr>
          <p:cNvPr id="8" name="CuadroTexto 7">
            <a:extLst>
              <a:ext uri="{FF2B5EF4-FFF2-40B4-BE49-F238E27FC236}">
                <a16:creationId xmlns:a16="http://schemas.microsoft.com/office/drawing/2014/main" id="{BFA166AC-9A6F-B79E-625E-6203CA835B39}"/>
              </a:ext>
            </a:extLst>
          </p:cNvPr>
          <p:cNvSpPr txBox="1"/>
          <p:nvPr/>
        </p:nvSpPr>
        <p:spPr>
          <a:xfrm>
            <a:off x="3422357" y="1236474"/>
            <a:ext cx="4478274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s-ES"/>
            </a:defPPr>
            <a:lvl1pPr algn="just">
              <a:defRPr sz="1200" b="1">
                <a:solidFill>
                  <a:schemeClr val="tx1">
                    <a:lumMod val="50000"/>
                  </a:schemeClr>
                </a:solidFill>
              </a:defRPr>
            </a:lvl1pPr>
          </a:lstStyle>
          <a:p>
            <a:pPr algn="ctr"/>
            <a:r>
              <a:rPr lang="es-ES" dirty="0"/>
              <a:t>EAP sin heridas</a:t>
            </a:r>
            <a:endParaRPr lang="es-ES" baseline="30000" dirty="0"/>
          </a:p>
        </p:txBody>
      </p:sp>
      <p:sp>
        <p:nvSpPr>
          <p:cNvPr id="9" name="CuadroTexto 8">
            <a:extLst>
              <a:ext uri="{FF2B5EF4-FFF2-40B4-BE49-F238E27FC236}">
                <a16:creationId xmlns:a16="http://schemas.microsoft.com/office/drawing/2014/main" id="{1035E82A-506A-373E-ED96-41BAECC08FFB}"/>
              </a:ext>
            </a:extLst>
          </p:cNvPr>
          <p:cNvSpPr txBox="1"/>
          <p:nvPr/>
        </p:nvSpPr>
        <p:spPr>
          <a:xfrm>
            <a:off x="7533931" y="1229576"/>
            <a:ext cx="4478274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s-ES"/>
            </a:defPPr>
            <a:lvl1pPr algn="just">
              <a:defRPr sz="1200" b="1">
                <a:solidFill>
                  <a:schemeClr val="tx1">
                    <a:lumMod val="50000"/>
                  </a:schemeClr>
                </a:solidFill>
              </a:defRPr>
            </a:lvl1pPr>
          </a:lstStyle>
          <a:p>
            <a:pPr algn="ctr"/>
            <a:r>
              <a:rPr lang="es-ES" dirty="0"/>
              <a:t>EAP con heridas</a:t>
            </a:r>
            <a:endParaRPr lang="es-ES" baseline="30000" dirty="0"/>
          </a:p>
        </p:txBody>
      </p:sp>
      <p:sp>
        <p:nvSpPr>
          <p:cNvPr id="10" name="CuadroTexto 9">
            <a:extLst>
              <a:ext uri="{FF2B5EF4-FFF2-40B4-BE49-F238E27FC236}">
                <a16:creationId xmlns:a16="http://schemas.microsoft.com/office/drawing/2014/main" id="{B4A08C79-D200-F0DD-B7D0-FF9A0A37C9D1}"/>
              </a:ext>
            </a:extLst>
          </p:cNvPr>
          <p:cNvSpPr txBox="1"/>
          <p:nvPr/>
        </p:nvSpPr>
        <p:spPr>
          <a:xfrm>
            <a:off x="598543" y="2454970"/>
            <a:ext cx="2716915" cy="1169551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>
            <a:defPPr>
              <a:defRPr lang="es-ES"/>
            </a:defPPr>
            <a:lvl1pPr algn="just">
              <a:defRPr sz="1400">
                <a:solidFill>
                  <a:schemeClr val="accent1"/>
                </a:solidFill>
              </a:defRPr>
            </a:lvl1pPr>
          </a:lstStyle>
          <a:p>
            <a:r>
              <a:rPr lang="es-ES" dirty="0"/>
              <a:t>Tras un periodo de tratamiento médico óptimo y ejercicio, un equipo vascular evalúa la viabilidad de una cirugía de revascularización</a:t>
            </a:r>
            <a:r>
              <a:rPr lang="es-ES" baseline="30000" dirty="0"/>
              <a:t>1</a:t>
            </a:r>
            <a:r>
              <a:rPr lang="es-ES" dirty="0"/>
              <a:t>.</a:t>
            </a:r>
          </a:p>
        </p:txBody>
      </p:sp>
      <p:sp>
        <p:nvSpPr>
          <p:cNvPr id="11" name="CuadroTexto 10">
            <a:extLst>
              <a:ext uri="{FF2B5EF4-FFF2-40B4-BE49-F238E27FC236}">
                <a16:creationId xmlns:a16="http://schemas.microsoft.com/office/drawing/2014/main" id="{EB6E6F4D-9D11-8837-0250-F1D66FB99EBC}"/>
              </a:ext>
            </a:extLst>
          </p:cNvPr>
          <p:cNvSpPr txBox="1"/>
          <p:nvPr/>
        </p:nvSpPr>
        <p:spPr>
          <a:xfrm rot="16200000">
            <a:off x="10611613" y="3657467"/>
            <a:ext cx="2510028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s-ES" sz="1400" dirty="0">
                <a:solidFill>
                  <a:schemeClr val="bg1">
                    <a:lumMod val="95000"/>
                  </a:schemeClr>
                </a:solidFill>
              </a:rPr>
              <a:t>MA-ES-NOP-2500037</a:t>
            </a:r>
          </a:p>
        </p:txBody>
      </p:sp>
    </p:spTree>
    <p:extLst>
      <p:ext uri="{BB962C8B-B14F-4D97-AF65-F5344CB8AC3E}">
        <p14:creationId xmlns:p14="http://schemas.microsoft.com/office/powerpoint/2010/main" val="1049693518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n 2">
            <a:extLst>
              <a:ext uri="{FF2B5EF4-FFF2-40B4-BE49-F238E27FC236}">
                <a16:creationId xmlns:a16="http://schemas.microsoft.com/office/drawing/2014/main" id="{80D9DD21-26A3-0F59-3DB0-E02A2884E3C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981127" y="1302674"/>
            <a:ext cx="4394009" cy="5316580"/>
          </a:xfrm>
          <a:prstGeom prst="rect">
            <a:avLst/>
          </a:prstGeom>
        </p:spPr>
      </p:pic>
      <p:sp>
        <p:nvSpPr>
          <p:cNvPr id="5" name="CuadroTexto 4">
            <a:extLst>
              <a:ext uri="{FF2B5EF4-FFF2-40B4-BE49-F238E27FC236}">
                <a16:creationId xmlns:a16="http://schemas.microsoft.com/office/drawing/2014/main" id="{3F4A7BF2-6B3A-9D51-0032-BE782B008A33}"/>
              </a:ext>
            </a:extLst>
          </p:cNvPr>
          <p:cNvSpPr txBox="1"/>
          <p:nvPr/>
        </p:nvSpPr>
        <p:spPr>
          <a:xfrm>
            <a:off x="1293885" y="1498751"/>
            <a:ext cx="5016551" cy="2462213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>
            <a:defPPr>
              <a:defRPr lang="es-ES"/>
            </a:defPPr>
            <a:lvl1pPr algn="just">
              <a:defRPr sz="1400">
                <a:solidFill>
                  <a:schemeClr val="accent1"/>
                </a:solidFill>
              </a:defRPr>
            </a:lvl1pPr>
          </a:lstStyle>
          <a:p>
            <a:r>
              <a:rPr lang="es-ES" dirty="0"/>
              <a:t>En pacientes con sospecha de isquemia aguda de extremidades, la valoración de:</a:t>
            </a:r>
          </a:p>
          <a:p>
            <a:endParaRPr lang="es-E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s-ES" dirty="0"/>
              <a:t>La pérdida sensorial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s-ES" dirty="0"/>
              <a:t>El llenado capila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s-ES" dirty="0"/>
              <a:t>Biomarcadores musculares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s-ES" dirty="0"/>
          </a:p>
          <a:p>
            <a:r>
              <a:rPr lang="es-ES" dirty="0"/>
              <a:t>ayudan a identificar el grado de amenaza de la isquemia a las extremidades y la necesidad de una revascularización o amputación</a:t>
            </a:r>
            <a:r>
              <a:rPr lang="es-ES" baseline="30000" dirty="0"/>
              <a:t>1</a:t>
            </a:r>
            <a:r>
              <a:rPr lang="es-ES" dirty="0"/>
              <a:t>.</a:t>
            </a:r>
          </a:p>
          <a:p>
            <a:endParaRPr lang="es-ES" dirty="0"/>
          </a:p>
        </p:txBody>
      </p:sp>
      <p:pic>
        <p:nvPicPr>
          <p:cNvPr id="2" name="Imagen 1">
            <a:extLst>
              <a:ext uri="{FF2B5EF4-FFF2-40B4-BE49-F238E27FC236}">
                <a16:creationId xmlns:a16="http://schemas.microsoft.com/office/drawing/2014/main" id="{490D5159-258C-0467-2C21-530A56CFE87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51466" y="3960964"/>
            <a:ext cx="5158970" cy="2158217"/>
          </a:xfrm>
          <a:prstGeom prst="rect">
            <a:avLst/>
          </a:prstGeom>
        </p:spPr>
      </p:pic>
      <p:sp>
        <p:nvSpPr>
          <p:cNvPr id="4" name="Título 1">
            <a:extLst>
              <a:ext uri="{FF2B5EF4-FFF2-40B4-BE49-F238E27FC236}">
                <a16:creationId xmlns:a16="http://schemas.microsoft.com/office/drawing/2014/main" id="{687F2309-DC6B-F12E-14ED-022A7D22C983}"/>
              </a:ext>
            </a:extLst>
          </p:cNvPr>
          <p:cNvSpPr txBox="1">
            <a:spLocks/>
          </p:cNvSpPr>
          <p:nvPr/>
        </p:nvSpPr>
        <p:spPr>
          <a:xfrm>
            <a:off x="394956" y="176122"/>
            <a:ext cx="11402089" cy="760793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933" b="1" kern="1200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s-ES" sz="2800" dirty="0"/>
              <a:t>Intervención quirúrgica para revascularización o amputación </a:t>
            </a:r>
          </a:p>
        </p:txBody>
      </p:sp>
      <p:sp>
        <p:nvSpPr>
          <p:cNvPr id="6" name="CuadroTexto 5">
            <a:extLst>
              <a:ext uri="{FF2B5EF4-FFF2-40B4-BE49-F238E27FC236}">
                <a16:creationId xmlns:a16="http://schemas.microsoft.com/office/drawing/2014/main" id="{E7859B49-A0D6-A868-E3B3-74391629FEEE}"/>
              </a:ext>
            </a:extLst>
          </p:cNvPr>
          <p:cNvSpPr txBox="1"/>
          <p:nvPr/>
        </p:nvSpPr>
        <p:spPr>
          <a:xfrm>
            <a:off x="7869988" y="6568767"/>
            <a:ext cx="2616286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s-ES"/>
            </a:defPPr>
            <a:lvl1pPr algn="ctr">
              <a:defRPr sz="700" b="0" i="1">
                <a:solidFill>
                  <a:schemeClr val="accent1"/>
                </a:solidFill>
                <a:effectLst/>
              </a:defRPr>
            </a:lvl1pPr>
          </a:lstStyle>
          <a:p>
            <a:r>
              <a:rPr lang="es-ES" dirty="0" err="1"/>
              <a:t>Eur</a:t>
            </a:r>
            <a:r>
              <a:rPr lang="es-ES" dirty="0"/>
              <a:t> Heart J. 2024 </a:t>
            </a:r>
            <a:r>
              <a:rPr lang="es-ES" dirty="0" err="1"/>
              <a:t>Sep</a:t>
            </a:r>
            <a:r>
              <a:rPr lang="es-ES" dirty="0"/>
              <a:t> 29;45(36):3538-3700</a:t>
            </a:r>
          </a:p>
        </p:txBody>
      </p:sp>
      <p:sp>
        <p:nvSpPr>
          <p:cNvPr id="7" name="CuadroTexto 6">
            <a:extLst>
              <a:ext uri="{FF2B5EF4-FFF2-40B4-BE49-F238E27FC236}">
                <a16:creationId xmlns:a16="http://schemas.microsoft.com/office/drawing/2014/main" id="{56B9A76E-0F27-44B0-0BC4-98F9977A8748}"/>
              </a:ext>
            </a:extLst>
          </p:cNvPr>
          <p:cNvSpPr txBox="1"/>
          <p:nvPr/>
        </p:nvSpPr>
        <p:spPr>
          <a:xfrm>
            <a:off x="1151466" y="6260990"/>
            <a:ext cx="5158970" cy="30777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>
            <a:defPPr>
              <a:defRPr lang="es-ES"/>
            </a:defPPr>
            <a:lvl1pPr algn="ctr">
              <a:defRPr sz="700" b="0" i="1">
                <a:solidFill>
                  <a:schemeClr val="accent1"/>
                </a:solidFill>
                <a:effectLst/>
              </a:defRPr>
            </a:lvl1pPr>
          </a:lstStyle>
          <a:p>
            <a:r>
              <a:rPr lang="es-ES" dirty="0"/>
              <a:t>1. </a:t>
            </a:r>
            <a:r>
              <a:rPr lang="es-ES" dirty="0" err="1"/>
              <a:t>Mazzolai</a:t>
            </a:r>
            <a:r>
              <a:rPr lang="es-ES" dirty="0"/>
              <a:t> L, et al. 2024 ESC </a:t>
            </a:r>
            <a:r>
              <a:rPr lang="es-ES" dirty="0" err="1"/>
              <a:t>Guidelines</a:t>
            </a:r>
            <a:r>
              <a:rPr lang="es-ES" dirty="0"/>
              <a:t> </a:t>
            </a:r>
            <a:r>
              <a:rPr lang="es-ES" dirty="0" err="1"/>
              <a:t>for</a:t>
            </a:r>
            <a:r>
              <a:rPr lang="es-ES" dirty="0"/>
              <a:t> </a:t>
            </a:r>
            <a:r>
              <a:rPr lang="es-ES" dirty="0" err="1"/>
              <a:t>the</a:t>
            </a:r>
            <a:r>
              <a:rPr lang="es-ES" dirty="0"/>
              <a:t> </a:t>
            </a:r>
            <a:r>
              <a:rPr lang="es-ES" dirty="0" err="1"/>
              <a:t>management</a:t>
            </a:r>
            <a:r>
              <a:rPr lang="es-ES" dirty="0"/>
              <a:t> </a:t>
            </a:r>
            <a:r>
              <a:rPr lang="es-ES" dirty="0" err="1"/>
              <a:t>of</a:t>
            </a:r>
            <a:r>
              <a:rPr lang="es-ES" dirty="0"/>
              <a:t> </a:t>
            </a:r>
            <a:r>
              <a:rPr lang="es-ES" dirty="0" err="1"/>
              <a:t>peripheral</a:t>
            </a:r>
            <a:r>
              <a:rPr lang="es-ES" dirty="0"/>
              <a:t> arterial and </a:t>
            </a:r>
            <a:r>
              <a:rPr lang="es-ES" dirty="0" err="1"/>
              <a:t>aortic</a:t>
            </a:r>
            <a:r>
              <a:rPr lang="es-ES" dirty="0"/>
              <a:t> </a:t>
            </a:r>
            <a:r>
              <a:rPr lang="es-ES" dirty="0" err="1"/>
              <a:t>diseases</a:t>
            </a:r>
            <a:r>
              <a:rPr lang="es-ES" dirty="0"/>
              <a:t>. </a:t>
            </a:r>
            <a:r>
              <a:rPr lang="es-ES" dirty="0" err="1"/>
              <a:t>Eur</a:t>
            </a:r>
            <a:r>
              <a:rPr lang="es-ES" dirty="0"/>
              <a:t> Heart J. 2024 </a:t>
            </a:r>
            <a:r>
              <a:rPr lang="es-ES" dirty="0" err="1"/>
              <a:t>Sep</a:t>
            </a:r>
            <a:r>
              <a:rPr lang="es-ES" dirty="0"/>
              <a:t> 29;45(36):3538-3700. </a:t>
            </a:r>
            <a:r>
              <a:rPr lang="es-ES" dirty="0" err="1"/>
              <a:t>doi</a:t>
            </a:r>
            <a:r>
              <a:rPr lang="es-ES" dirty="0"/>
              <a:t>: 10.1093/</a:t>
            </a:r>
            <a:r>
              <a:rPr lang="es-ES" dirty="0" err="1"/>
              <a:t>eurheartj</a:t>
            </a:r>
            <a:r>
              <a:rPr lang="es-ES" dirty="0"/>
              <a:t>/ehae179.</a:t>
            </a:r>
          </a:p>
        </p:txBody>
      </p:sp>
      <p:sp>
        <p:nvSpPr>
          <p:cNvPr id="8" name="CuadroTexto 7">
            <a:extLst>
              <a:ext uri="{FF2B5EF4-FFF2-40B4-BE49-F238E27FC236}">
                <a16:creationId xmlns:a16="http://schemas.microsoft.com/office/drawing/2014/main" id="{2313EA1B-BAE9-5DEB-E01B-F162C97F6B43}"/>
              </a:ext>
            </a:extLst>
          </p:cNvPr>
          <p:cNvSpPr txBox="1"/>
          <p:nvPr/>
        </p:nvSpPr>
        <p:spPr>
          <a:xfrm rot="16200000">
            <a:off x="10611613" y="3657467"/>
            <a:ext cx="2510028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s-ES" sz="1400" dirty="0">
                <a:solidFill>
                  <a:schemeClr val="bg1">
                    <a:lumMod val="95000"/>
                  </a:schemeClr>
                </a:solidFill>
              </a:rPr>
              <a:t>MA-ES-NOP-2500037</a:t>
            </a:r>
          </a:p>
        </p:txBody>
      </p:sp>
    </p:spTree>
    <p:extLst>
      <p:ext uri="{BB962C8B-B14F-4D97-AF65-F5344CB8AC3E}">
        <p14:creationId xmlns:p14="http://schemas.microsoft.com/office/powerpoint/2010/main" val="2323875920"/>
      </p:ext>
    </p:extLst>
  </p:cSld>
  <p:clrMapOvr>
    <a:masterClrMapping/>
  </p:clrMapOvr>
  <p:transition spd="med">
    <p:fade/>
  </p:transition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n 2">
            <a:extLst>
              <a:ext uri="{FF2B5EF4-FFF2-40B4-BE49-F238E27FC236}">
                <a16:creationId xmlns:a16="http://schemas.microsoft.com/office/drawing/2014/main" id="{1771F786-A5F5-2744-C22A-7634105E1C8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272383" y="1339059"/>
            <a:ext cx="7304924" cy="4494813"/>
          </a:xfrm>
          <a:prstGeom prst="rect">
            <a:avLst/>
          </a:prstGeom>
        </p:spPr>
      </p:pic>
      <p:sp>
        <p:nvSpPr>
          <p:cNvPr id="2" name="Título 1">
            <a:extLst>
              <a:ext uri="{FF2B5EF4-FFF2-40B4-BE49-F238E27FC236}">
                <a16:creationId xmlns:a16="http://schemas.microsoft.com/office/drawing/2014/main" id="{6C8D7F6C-2514-E4E1-7938-F6344E2CC97F}"/>
              </a:ext>
            </a:extLst>
          </p:cNvPr>
          <p:cNvSpPr txBox="1">
            <a:spLocks/>
          </p:cNvSpPr>
          <p:nvPr/>
        </p:nvSpPr>
        <p:spPr>
          <a:xfrm>
            <a:off x="394956" y="176122"/>
            <a:ext cx="11402089" cy="760793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933" b="1" kern="1200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s-ES" sz="2800" dirty="0"/>
              <a:t>Intervención quirúrgica para amputación </a:t>
            </a:r>
          </a:p>
        </p:txBody>
      </p:sp>
      <p:sp>
        <p:nvSpPr>
          <p:cNvPr id="4" name="CuadroTexto 3">
            <a:extLst>
              <a:ext uri="{FF2B5EF4-FFF2-40B4-BE49-F238E27FC236}">
                <a16:creationId xmlns:a16="http://schemas.microsoft.com/office/drawing/2014/main" id="{F556D52F-D9D9-EE43-FCF9-D9604F9F9664}"/>
              </a:ext>
            </a:extLst>
          </p:cNvPr>
          <p:cNvSpPr txBox="1"/>
          <p:nvPr/>
        </p:nvSpPr>
        <p:spPr>
          <a:xfrm>
            <a:off x="9269020" y="5908272"/>
            <a:ext cx="2616286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s-ES"/>
            </a:defPPr>
            <a:lvl1pPr algn="ctr">
              <a:defRPr sz="700" b="0" i="1">
                <a:solidFill>
                  <a:schemeClr val="accent1"/>
                </a:solidFill>
                <a:effectLst/>
              </a:defRPr>
            </a:lvl1pPr>
          </a:lstStyle>
          <a:p>
            <a:r>
              <a:rPr lang="es-ES" dirty="0" err="1"/>
              <a:t>Eur</a:t>
            </a:r>
            <a:r>
              <a:rPr lang="es-ES" dirty="0"/>
              <a:t> Heart J. 2024 </a:t>
            </a:r>
            <a:r>
              <a:rPr lang="es-ES" dirty="0" err="1"/>
              <a:t>Sep</a:t>
            </a:r>
            <a:r>
              <a:rPr lang="es-ES" dirty="0"/>
              <a:t> 29;45(36):3538-3700</a:t>
            </a:r>
          </a:p>
        </p:txBody>
      </p:sp>
      <p:sp>
        <p:nvSpPr>
          <p:cNvPr id="7" name="CuadroTexto 6">
            <a:extLst>
              <a:ext uri="{FF2B5EF4-FFF2-40B4-BE49-F238E27FC236}">
                <a16:creationId xmlns:a16="http://schemas.microsoft.com/office/drawing/2014/main" id="{AE63B7F4-C929-88B5-DC19-CA785F05F825}"/>
              </a:ext>
            </a:extLst>
          </p:cNvPr>
          <p:cNvSpPr txBox="1"/>
          <p:nvPr/>
        </p:nvSpPr>
        <p:spPr>
          <a:xfrm>
            <a:off x="806958" y="1856892"/>
            <a:ext cx="3337409" cy="2246769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>
            <a:defPPr>
              <a:defRPr lang="es-ES"/>
            </a:defPPr>
            <a:lvl1pPr algn="just">
              <a:defRPr sz="1400">
                <a:solidFill>
                  <a:schemeClr val="accent1"/>
                </a:solidFill>
              </a:defRPr>
            </a:lvl1pPr>
          </a:lstStyle>
          <a:p>
            <a:r>
              <a:rPr lang="es-ES" dirty="0"/>
              <a:t>La clasificación de Herida, Isquemia e Infección del Pie (</a:t>
            </a:r>
            <a:r>
              <a:rPr lang="es-ES" dirty="0" err="1"/>
              <a:t>WIfI</a:t>
            </a:r>
            <a:r>
              <a:rPr lang="es-ES" dirty="0"/>
              <a:t>) permite la evaluación del riesgo individual de amputación en pacientes con PAD: comprende puntuaciones para el tamaño de la herida (W), grado de isquemia (I), evaluada por el ABI, presión del tobillo y presión de los dedos del pie o TcPO2, y grado de infección del pie (</a:t>
            </a:r>
            <a:r>
              <a:rPr lang="es-ES" dirty="0" err="1"/>
              <a:t>fI</a:t>
            </a:r>
            <a:r>
              <a:rPr lang="es-ES" dirty="0"/>
              <a:t>)</a:t>
            </a:r>
            <a:r>
              <a:rPr lang="es-ES" baseline="30000" dirty="0"/>
              <a:t>1</a:t>
            </a:r>
            <a:r>
              <a:rPr lang="es-ES" dirty="0"/>
              <a:t>.</a:t>
            </a:r>
          </a:p>
        </p:txBody>
      </p:sp>
      <p:sp>
        <p:nvSpPr>
          <p:cNvPr id="9" name="CuadroTexto 8">
            <a:extLst>
              <a:ext uri="{FF2B5EF4-FFF2-40B4-BE49-F238E27FC236}">
                <a16:creationId xmlns:a16="http://schemas.microsoft.com/office/drawing/2014/main" id="{75C27251-5F13-1584-BB2C-F11D13E62592}"/>
              </a:ext>
            </a:extLst>
          </p:cNvPr>
          <p:cNvSpPr txBox="1"/>
          <p:nvPr/>
        </p:nvSpPr>
        <p:spPr>
          <a:xfrm>
            <a:off x="843534" y="4643890"/>
            <a:ext cx="3211678" cy="954107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>
            <a:defPPr>
              <a:defRPr lang="es-ES"/>
            </a:defPPr>
            <a:lvl1pPr algn="just">
              <a:defRPr sz="1400">
                <a:solidFill>
                  <a:schemeClr val="accent1"/>
                </a:solidFill>
              </a:defRPr>
            </a:lvl1pPr>
          </a:lstStyle>
          <a:p>
            <a:r>
              <a:rPr lang="es-ES" dirty="0"/>
              <a:t>La combinación de los 3 componentes resulta en la estratificación del riesgo de amputación (VL = muy bajo, L = bajo, M = moderado, H = alto)1.</a:t>
            </a:r>
          </a:p>
        </p:txBody>
      </p:sp>
      <p:sp>
        <p:nvSpPr>
          <p:cNvPr id="11" name="CuadroTexto 10">
            <a:extLst>
              <a:ext uri="{FF2B5EF4-FFF2-40B4-BE49-F238E27FC236}">
                <a16:creationId xmlns:a16="http://schemas.microsoft.com/office/drawing/2014/main" id="{F764A215-8FB2-D3A5-8F34-FF29BF890FF5}"/>
              </a:ext>
            </a:extLst>
          </p:cNvPr>
          <p:cNvSpPr txBox="1"/>
          <p:nvPr/>
        </p:nvSpPr>
        <p:spPr>
          <a:xfrm>
            <a:off x="2475662" y="6374101"/>
            <a:ext cx="7930210" cy="200055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>
            <a:defPPr>
              <a:defRPr lang="es-ES"/>
            </a:defPPr>
            <a:lvl1pPr algn="ctr">
              <a:defRPr sz="700" b="0" i="1">
                <a:solidFill>
                  <a:schemeClr val="accent1"/>
                </a:solidFill>
                <a:effectLst/>
              </a:defRPr>
            </a:lvl1pPr>
          </a:lstStyle>
          <a:p>
            <a:r>
              <a:rPr lang="es-ES" dirty="0"/>
              <a:t>1. </a:t>
            </a:r>
            <a:r>
              <a:rPr lang="es-ES" dirty="0" err="1"/>
              <a:t>Mazzolai</a:t>
            </a:r>
            <a:r>
              <a:rPr lang="es-ES" dirty="0"/>
              <a:t> L, et al. 2024 ESC </a:t>
            </a:r>
            <a:r>
              <a:rPr lang="es-ES" dirty="0" err="1"/>
              <a:t>Guidelines</a:t>
            </a:r>
            <a:r>
              <a:rPr lang="es-ES" dirty="0"/>
              <a:t> </a:t>
            </a:r>
            <a:r>
              <a:rPr lang="es-ES" dirty="0" err="1"/>
              <a:t>for</a:t>
            </a:r>
            <a:r>
              <a:rPr lang="es-ES" dirty="0"/>
              <a:t> </a:t>
            </a:r>
            <a:r>
              <a:rPr lang="es-ES" dirty="0" err="1"/>
              <a:t>the</a:t>
            </a:r>
            <a:r>
              <a:rPr lang="es-ES" dirty="0"/>
              <a:t> </a:t>
            </a:r>
            <a:r>
              <a:rPr lang="es-ES" dirty="0" err="1"/>
              <a:t>management</a:t>
            </a:r>
            <a:r>
              <a:rPr lang="es-ES" dirty="0"/>
              <a:t> </a:t>
            </a:r>
            <a:r>
              <a:rPr lang="es-ES" dirty="0" err="1"/>
              <a:t>of</a:t>
            </a:r>
            <a:r>
              <a:rPr lang="es-ES" dirty="0"/>
              <a:t> </a:t>
            </a:r>
            <a:r>
              <a:rPr lang="es-ES" dirty="0" err="1"/>
              <a:t>peripheral</a:t>
            </a:r>
            <a:r>
              <a:rPr lang="es-ES" dirty="0"/>
              <a:t> arterial and </a:t>
            </a:r>
            <a:r>
              <a:rPr lang="es-ES" dirty="0" err="1"/>
              <a:t>aortic</a:t>
            </a:r>
            <a:r>
              <a:rPr lang="es-ES" dirty="0"/>
              <a:t> </a:t>
            </a:r>
            <a:r>
              <a:rPr lang="es-ES" dirty="0" err="1"/>
              <a:t>diseases</a:t>
            </a:r>
            <a:r>
              <a:rPr lang="es-ES" dirty="0"/>
              <a:t>. </a:t>
            </a:r>
            <a:r>
              <a:rPr lang="es-ES" dirty="0" err="1"/>
              <a:t>Eur</a:t>
            </a:r>
            <a:r>
              <a:rPr lang="es-ES" dirty="0"/>
              <a:t> Heart J. 2024 </a:t>
            </a:r>
            <a:r>
              <a:rPr lang="es-ES" dirty="0" err="1"/>
              <a:t>Sep</a:t>
            </a:r>
            <a:r>
              <a:rPr lang="es-ES" dirty="0"/>
              <a:t> 29;45(36):3538-3700. </a:t>
            </a:r>
            <a:r>
              <a:rPr lang="es-ES" dirty="0" err="1"/>
              <a:t>doi</a:t>
            </a:r>
            <a:r>
              <a:rPr lang="es-ES" dirty="0"/>
              <a:t>: 10.1093/</a:t>
            </a:r>
            <a:r>
              <a:rPr lang="es-ES" dirty="0" err="1"/>
              <a:t>eurheartj</a:t>
            </a:r>
            <a:r>
              <a:rPr lang="es-ES" dirty="0"/>
              <a:t>/ehae179.</a:t>
            </a:r>
          </a:p>
        </p:txBody>
      </p:sp>
      <p:sp>
        <p:nvSpPr>
          <p:cNvPr id="5" name="CuadroTexto 4">
            <a:extLst>
              <a:ext uri="{FF2B5EF4-FFF2-40B4-BE49-F238E27FC236}">
                <a16:creationId xmlns:a16="http://schemas.microsoft.com/office/drawing/2014/main" id="{CD46C268-AA42-09A4-DC29-E6E14D9179E1}"/>
              </a:ext>
            </a:extLst>
          </p:cNvPr>
          <p:cNvSpPr txBox="1"/>
          <p:nvPr/>
        </p:nvSpPr>
        <p:spPr>
          <a:xfrm rot="16200000">
            <a:off x="10611613" y="3657467"/>
            <a:ext cx="2510028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s-ES" sz="1400" dirty="0">
                <a:solidFill>
                  <a:schemeClr val="bg1">
                    <a:lumMod val="95000"/>
                  </a:schemeClr>
                </a:solidFill>
              </a:rPr>
              <a:t>MA-ES-NOP-2500037</a:t>
            </a:r>
          </a:p>
        </p:txBody>
      </p:sp>
    </p:spTree>
    <p:extLst>
      <p:ext uri="{BB962C8B-B14F-4D97-AF65-F5344CB8AC3E}">
        <p14:creationId xmlns:p14="http://schemas.microsoft.com/office/powerpoint/2010/main" val="3488787307"/>
      </p:ext>
    </p:extLst>
  </p:cSld>
  <p:clrMapOvr>
    <a:masterClrMapping/>
  </p:clrMapOvr>
  <p:transition spd="med">
    <p:fade/>
  </p:transition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n 2">
            <a:extLst>
              <a:ext uri="{FF2B5EF4-FFF2-40B4-BE49-F238E27FC236}">
                <a16:creationId xmlns:a16="http://schemas.microsoft.com/office/drawing/2014/main" id="{B1C8A61D-ADAE-2982-074B-B7BF77591EB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096000" y="1455544"/>
            <a:ext cx="5383861" cy="4622873"/>
          </a:xfrm>
          <a:prstGeom prst="rect">
            <a:avLst/>
          </a:prstGeom>
        </p:spPr>
      </p:pic>
      <p:sp>
        <p:nvSpPr>
          <p:cNvPr id="5" name="CuadroTexto 4">
            <a:extLst>
              <a:ext uri="{FF2B5EF4-FFF2-40B4-BE49-F238E27FC236}">
                <a16:creationId xmlns:a16="http://schemas.microsoft.com/office/drawing/2014/main" id="{53C99434-74B3-0836-56B2-3FFD6750B05C}"/>
              </a:ext>
            </a:extLst>
          </p:cNvPr>
          <p:cNvSpPr txBox="1"/>
          <p:nvPr/>
        </p:nvSpPr>
        <p:spPr>
          <a:xfrm>
            <a:off x="1186805" y="2368492"/>
            <a:ext cx="4495779" cy="738664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>
            <a:defPPr>
              <a:defRPr lang="es-ES"/>
            </a:defPPr>
            <a:lvl1pPr algn="just">
              <a:defRPr sz="14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Un </a:t>
            </a:r>
            <a:r>
              <a:rPr lang="en-US" dirty="0" err="1"/>
              <a:t>tratamiento</a:t>
            </a:r>
            <a:r>
              <a:rPr lang="en-US" dirty="0"/>
              <a:t> </a:t>
            </a:r>
            <a:r>
              <a:rPr lang="en-US" dirty="0" err="1"/>
              <a:t>óptimo</a:t>
            </a:r>
            <a:r>
              <a:rPr lang="en-US" dirty="0"/>
              <a:t> de la EAP require </a:t>
            </a:r>
            <a:r>
              <a:rPr lang="en-US" dirty="0" err="1"/>
              <a:t>manejo</a:t>
            </a:r>
            <a:r>
              <a:rPr lang="en-US" dirty="0"/>
              <a:t> del </a:t>
            </a:r>
            <a:r>
              <a:rPr lang="en-US" dirty="0" err="1"/>
              <a:t>riesgo</a:t>
            </a:r>
            <a:r>
              <a:rPr lang="en-US" dirty="0"/>
              <a:t> cardiovascular junto con </a:t>
            </a:r>
            <a:r>
              <a:rPr lang="en-US" dirty="0" err="1"/>
              <a:t>el</a:t>
            </a:r>
            <a:r>
              <a:rPr lang="en-US" dirty="0"/>
              <a:t> </a:t>
            </a:r>
            <a:r>
              <a:rPr lang="en-US" dirty="0" err="1"/>
              <a:t>manejo</a:t>
            </a:r>
            <a:r>
              <a:rPr lang="en-US" dirty="0"/>
              <a:t> de </a:t>
            </a:r>
            <a:r>
              <a:rPr lang="es-ES" dirty="0"/>
              <a:t>síntomas relacionados con las extremidades inferiores</a:t>
            </a:r>
            <a:r>
              <a:rPr lang="es-ES" baseline="30000" dirty="0"/>
              <a:t>1</a:t>
            </a:r>
            <a:r>
              <a:rPr lang="es-ES" dirty="0"/>
              <a:t>. </a:t>
            </a:r>
            <a:endParaRPr lang="en-US" dirty="0"/>
          </a:p>
        </p:txBody>
      </p:sp>
      <p:sp>
        <p:nvSpPr>
          <p:cNvPr id="2" name="Título 3">
            <a:extLst>
              <a:ext uri="{FF2B5EF4-FFF2-40B4-BE49-F238E27FC236}">
                <a16:creationId xmlns:a16="http://schemas.microsoft.com/office/drawing/2014/main" id="{A4F5AB40-E211-AEE7-3210-D3FFFCF79F01}"/>
              </a:ext>
            </a:extLst>
          </p:cNvPr>
          <p:cNvSpPr txBox="1">
            <a:spLocks/>
          </p:cNvSpPr>
          <p:nvPr/>
        </p:nvSpPr>
        <p:spPr>
          <a:xfrm>
            <a:off x="237744" y="313642"/>
            <a:ext cx="11704320" cy="646331"/>
          </a:xfrm>
          <a:prstGeom prst="rect">
            <a:avLst/>
          </a:prstGeom>
        </p:spPr>
        <p:txBody>
          <a:bodyPr lIns="0" tIns="0" rIns="0" bIns="0" anchor="ctr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067" kern="1200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s-ES_tradnl" sz="2600" b="1" dirty="0"/>
              <a:t>Resumen del manejo holístico de la enfermedad arterial periférica</a:t>
            </a:r>
            <a:endParaRPr lang="es-ES" sz="2600" b="1" dirty="0"/>
          </a:p>
        </p:txBody>
      </p:sp>
      <p:sp>
        <p:nvSpPr>
          <p:cNvPr id="4" name="CuadroTexto 3">
            <a:extLst>
              <a:ext uri="{FF2B5EF4-FFF2-40B4-BE49-F238E27FC236}">
                <a16:creationId xmlns:a16="http://schemas.microsoft.com/office/drawing/2014/main" id="{BD781758-815B-9885-CE98-B2F7D697F8AF}"/>
              </a:ext>
            </a:extLst>
          </p:cNvPr>
          <p:cNvSpPr txBox="1"/>
          <p:nvPr/>
        </p:nvSpPr>
        <p:spPr>
          <a:xfrm>
            <a:off x="1256890" y="4954944"/>
            <a:ext cx="442569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s-ES"/>
            </a:defPPr>
            <a:lvl1pPr algn="ctr">
              <a:defRPr sz="700" b="0" i="1">
                <a:solidFill>
                  <a:schemeClr val="accent1"/>
                </a:solidFill>
                <a:effectLst/>
              </a:defRPr>
            </a:lvl1pPr>
          </a:lstStyle>
          <a:p>
            <a:r>
              <a:rPr lang="es-ES" dirty="0"/>
              <a:t>1. </a:t>
            </a:r>
            <a:r>
              <a:rPr lang="es-ES" dirty="0" err="1"/>
              <a:t>Mazzolai</a:t>
            </a:r>
            <a:r>
              <a:rPr lang="es-ES" dirty="0"/>
              <a:t> L, et al. 2024 ESC </a:t>
            </a:r>
            <a:r>
              <a:rPr lang="es-ES" dirty="0" err="1"/>
              <a:t>Guidelines</a:t>
            </a:r>
            <a:r>
              <a:rPr lang="es-ES" dirty="0"/>
              <a:t> </a:t>
            </a:r>
            <a:r>
              <a:rPr lang="es-ES" dirty="0" err="1"/>
              <a:t>for</a:t>
            </a:r>
            <a:r>
              <a:rPr lang="es-ES" dirty="0"/>
              <a:t> </a:t>
            </a:r>
            <a:r>
              <a:rPr lang="es-ES" dirty="0" err="1"/>
              <a:t>the</a:t>
            </a:r>
            <a:r>
              <a:rPr lang="es-ES" dirty="0"/>
              <a:t> </a:t>
            </a:r>
            <a:r>
              <a:rPr lang="es-ES" dirty="0" err="1"/>
              <a:t>management</a:t>
            </a:r>
            <a:r>
              <a:rPr lang="es-ES" dirty="0"/>
              <a:t> </a:t>
            </a:r>
            <a:r>
              <a:rPr lang="es-ES" dirty="0" err="1"/>
              <a:t>of</a:t>
            </a:r>
            <a:r>
              <a:rPr lang="es-ES" dirty="0"/>
              <a:t> </a:t>
            </a:r>
            <a:r>
              <a:rPr lang="es-ES" dirty="0" err="1"/>
              <a:t>peripheral</a:t>
            </a:r>
            <a:r>
              <a:rPr lang="es-ES" dirty="0"/>
              <a:t> arterial and </a:t>
            </a:r>
            <a:r>
              <a:rPr lang="es-ES" dirty="0" err="1"/>
              <a:t>aortic</a:t>
            </a:r>
            <a:r>
              <a:rPr lang="es-ES" dirty="0"/>
              <a:t> </a:t>
            </a:r>
            <a:r>
              <a:rPr lang="es-ES" dirty="0" err="1"/>
              <a:t>diseases</a:t>
            </a:r>
            <a:r>
              <a:rPr lang="es-ES" dirty="0"/>
              <a:t>. </a:t>
            </a:r>
            <a:r>
              <a:rPr lang="es-ES" dirty="0" err="1"/>
              <a:t>Eur</a:t>
            </a:r>
            <a:r>
              <a:rPr lang="es-ES" dirty="0"/>
              <a:t> Heart J. 2024 </a:t>
            </a:r>
            <a:r>
              <a:rPr lang="es-ES" dirty="0" err="1"/>
              <a:t>Sep</a:t>
            </a:r>
            <a:r>
              <a:rPr lang="es-ES" dirty="0"/>
              <a:t> 29;45(36):3538-3700. </a:t>
            </a:r>
            <a:r>
              <a:rPr lang="es-ES" dirty="0" err="1"/>
              <a:t>doi</a:t>
            </a:r>
            <a:r>
              <a:rPr lang="es-ES" dirty="0"/>
              <a:t>: 10.1093/</a:t>
            </a:r>
            <a:r>
              <a:rPr lang="es-ES" dirty="0" err="1"/>
              <a:t>eurheartj</a:t>
            </a:r>
            <a:r>
              <a:rPr lang="es-ES" dirty="0"/>
              <a:t>/ehae179.</a:t>
            </a:r>
          </a:p>
        </p:txBody>
      </p:sp>
      <p:sp>
        <p:nvSpPr>
          <p:cNvPr id="6" name="CuadroTexto 5">
            <a:extLst>
              <a:ext uri="{FF2B5EF4-FFF2-40B4-BE49-F238E27FC236}">
                <a16:creationId xmlns:a16="http://schemas.microsoft.com/office/drawing/2014/main" id="{0395CE70-5FD2-F7D7-7532-A7AEF31F7D16}"/>
              </a:ext>
            </a:extLst>
          </p:cNvPr>
          <p:cNvSpPr txBox="1"/>
          <p:nvPr/>
        </p:nvSpPr>
        <p:spPr>
          <a:xfrm>
            <a:off x="8337892" y="6078417"/>
            <a:ext cx="2616286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s-ES"/>
            </a:defPPr>
            <a:lvl1pPr algn="ctr">
              <a:defRPr sz="700" b="0" i="1">
                <a:solidFill>
                  <a:schemeClr val="accent1"/>
                </a:solidFill>
                <a:effectLst/>
              </a:defRPr>
            </a:lvl1pPr>
          </a:lstStyle>
          <a:p>
            <a:r>
              <a:rPr lang="es-ES" dirty="0" err="1"/>
              <a:t>Eur</a:t>
            </a:r>
            <a:r>
              <a:rPr lang="es-ES" dirty="0"/>
              <a:t> Heart J. 2024 </a:t>
            </a:r>
            <a:r>
              <a:rPr lang="es-ES" dirty="0" err="1"/>
              <a:t>Sep</a:t>
            </a:r>
            <a:r>
              <a:rPr lang="es-ES" dirty="0"/>
              <a:t> 29;45(36):3538-3700</a:t>
            </a:r>
          </a:p>
        </p:txBody>
      </p:sp>
      <p:sp>
        <p:nvSpPr>
          <p:cNvPr id="7" name="CuadroTexto 6">
            <a:extLst>
              <a:ext uri="{FF2B5EF4-FFF2-40B4-BE49-F238E27FC236}">
                <a16:creationId xmlns:a16="http://schemas.microsoft.com/office/drawing/2014/main" id="{1A2137DD-1BBF-40AA-BCBB-ABDEBC46DB38}"/>
              </a:ext>
            </a:extLst>
          </p:cNvPr>
          <p:cNvSpPr txBox="1"/>
          <p:nvPr/>
        </p:nvSpPr>
        <p:spPr>
          <a:xfrm>
            <a:off x="1186806" y="3502152"/>
            <a:ext cx="4495779" cy="954107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>
            <a:defPPr>
              <a:defRPr lang="es-ES"/>
            </a:defPPr>
            <a:lvl1pPr algn="just">
              <a:defRPr sz="1400">
                <a:solidFill>
                  <a:schemeClr val="accent1"/>
                </a:solidFill>
              </a:defRPr>
            </a:lvl1pPr>
          </a:lstStyle>
          <a:p>
            <a:r>
              <a:rPr lang="es-ES_tradnl" dirty="0"/>
              <a:t>El manejo holístico de la EAP consiste de una combinación de cambios de estilo de vida, entrenamiento físico supervisado y tratamiento farmacológico</a:t>
            </a:r>
            <a:r>
              <a:rPr lang="es-ES_tradnl" baseline="30000" dirty="0"/>
              <a:t>1</a:t>
            </a:r>
            <a:r>
              <a:rPr lang="es-ES_tradnl" dirty="0"/>
              <a:t>. </a:t>
            </a:r>
            <a:endParaRPr lang="en-US" dirty="0"/>
          </a:p>
        </p:txBody>
      </p:sp>
      <p:sp>
        <p:nvSpPr>
          <p:cNvPr id="8" name="CuadroTexto 7">
            <a:extLst>
              <a:ext uri="{FF2B5EF4-FFF2-40B4-BE49-F238E27FC236}">
                <a16:creationId xmlns:a16="http://schemas.microsoft.com/office/drawing/2014/main" id="{579086D0-8706-4B19-3A6A-168934F0C9DB}"/>
              </a:ext>
            </a:extLst>
          </p:cNvPr>
          <p:cNvSpPr txBox="1"/>
          <p:nvPr/>
        </p:nvSpPr>
        <p:spPr>
          <a:xfrm rot="16200000">
            <a:off x="10611613" y="3657467"/>
            <a:ext cx="2510028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s-ES" sz="1400" dirty="0">
                <a:solidFill>
                  <a:schemeClr val="bg1">
                    <a:lumMod val="95000"/>
                  </a:schemeClr>
                </a:solidFill>
              </a:rPr>
              <a:t>MA-ES-NOP-2500037</a:t>
            </a:r>
          </a:p>
        </p:txBody>
      </p:sp>
    </p:spTree>
    <p:extLst>
      <p:ext uri="{BB962C8B-B14F-4D97-AF65-F5344CB8AC3E}">
        <p14:creationId xmlns:p14="http://schemas.microsoft.com/office/powerpoint/2010/main" val="2300926860"/>
      </p:ext>
    </p:extLst>
  </p:cSld>
  <p:clrMapOvr>
    <a:masterClrMapping/>
  </p:clrMapOvr>
  <p:transition spd="med">
    <p:fade/>
  </p:transition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7" name="Imagen 36">
            <a:extLst>
              <a:ext uri="{FF2B5EF4-FFF2-40B4-BE49-F238E27FC236}">
                <a16:creationId xmlns:a16="http://schemas.microsoft.com/office/drawing/2014/main" id="{5CF9E698-285C-037C-D16A-AC5D7047E6EA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l="3174" t="1507" r="81130" b="1090"/>
          <a:stretch>
            <a:fillRect/>
          </a:stretch>
        </p:blipFill>
        <p:spPr>
          <a:xfrm>
            <a:off x="5688022" y="1834329"/>
            <a:ext cx="979792" cy="975844"/>
          </a:xfrm>
          <a:prstGeom prst="rect">
            <a:avLst/>
          </a:prstGeom>
        </p:spPr>
      </p:pic>
      <p:sp>
        <p:nvSpPr>
          <p:cNvPr id="8" name="Rectángulo 7">
            <a:extLst>
              <a:ext uri="{FF2B5EF4-FFF2-40B4-BE49-F238E27FC236}">
                <a16:creationId xmlns:a16="http://schemas.microsoft.com/office/drawing/2014/main" id="{08D67CC5-6191-4A6C-2678-71D3432CEE9F}"/>
              </a:ext>
            </a:extLst>
          </p:cNvPr>
          <p:cNvSpPr/>
          <p:nvPr/>
        </p:nvSpPr>
        <p:spPr>
          <a:xfrm>
            <a:off x="0" y="5334000"/>
            <a:ext cx="2139950" cy="152399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" name="CuadroTexto 2">
            <a:extLst>
              <a:ext uri="{FF2B5EF4-FFF2-40B4-BE49-F238E27FC236}">
                <a16:creationId xmlns:a16="http://schemas.microsoft.com/office/drawing/2014/main" id="{FDBE2AE2-7820-5074-E312-83ECEB3AEE59}"/>
              </a:ext>
            </a:extLst>
          </p:cNvPr>
          <p:cNvSpPr txBox="1"/>
          <p:nvPr/>
        </p:nvSpPr>
        <p:spPr>
          <a:xfrm>
            <a:off x="452742" y="938301"/>
            <a:ext cx="3905250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_tradnl" sz="18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¿Sabes que la marca, cuida de ti </a:t>
            </a:r>
            <a:r>
              <a:rPr kumimoji="0" lang="es-ES_tradnl" sz="24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 de tus pacientes?</a:t>
            </a:r>
            <a:endParaRPr kumimoji="0" lang="es-ES" sz="180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" name="CuadroTexto 3">
            <a:extLst>
              <a:ext uri="{FF2B5EF4-FFF2-40B4-BE49-F238E27FC236}">
                <a16:creationId xmlns:a16="http://schemas.microsoft.com/office/drawing/2014/main" id="{0912561E-DB8C-2D72-773C-A1687F716A88}"/>
              </a:ext>
            </a:extLst>
          </p:cNvPr>
          <p:cNvSpPr txBox="1"/>
          <p:nvPr/>
        </p:nvSpPr>
        <p:spPr>
          <a:xfrm>
            <a:off x="452742" y="1867465"/>
            <a:ext cx="4525658" cy="26807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_tradnl" sz="1400" b="0" i="0" u="none" strike="noStrike" kern="1200" cap="none" spc="0" normalizeH="0" baseline="0" noProof="0" dirty="0">
                <a:ln>
                  <a:noFill/>
                </a:ln>
                <a:solidFill>
                  <a:srgbClr val="6F6F6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a dispensación por MARCA aporta las siguientes ventajas significativas</a:t>
            </a:r>
            <a:r>
              <a:rPr kumimoji="0" lang="es-ES_tradnl" sz="1400" b="0" i="0" u="none" strike="noStrike" kern="1200" cap="none" spc="0" normalizeH="0" baseline="30000" noProof="0" dirty="0">
                <a:ln>
                  <a:noFill/>
                </a:ln>
                <a:solidFill>
                  <a:srgbClr val="6F6F6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</a:t>
            </a:r>
          </a:p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_tradnl" sz="1400" b="0" i="0" u="none" strike="noStrike" kern="1200" cap="none" spc="0" normalizeH="0" baseline="0" noProof="0" dirty="0">
              <a:ln>
                <a:noFill/>
              </a:ln>
              <a:solidFill>
                <a:srgbClr val="6F6F6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just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_tradnl" sz="1400" b="0" i="0" u="none" strike="noStrike" kern="1200" cap="none" spc="0" normalizeH="0" baseline="0" noProof="0" dirty="0">
                <a:ln>
                  <a:noFill/>
                </a:ln>
                <a:solidFill>
                  <a:srgbClr val="6F6F6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n un estudio retrospectivo realizado en España con más de 13.000 pacientes durante 5 años en el que se analizó la persistencia y adherencia al tratamiento con estatinas de marca vs. estatinas genéricas, se observó que </a:t>
            </a:r>
            <a:r>
              <a:rPr kumimoji="0" lang="es-ES_tradnl" sz="14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a prescripción por marca fue más eficaz en el control de los factores de riesgo cardiovascular y consiguió mayor reducción del riesgo de episodios cardiovasculares y de muerte por cualquier causa</a:t>
            </a:r>
            <a:r>
              <a:rPr kumimoji="0" lang="es-ES_tradnl" sz="1400" b="1" i="0" u="none" strike="noStrike" kern="1200" cap="none" spc="0" normalizeH="0" baseline="3000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</a:t>
            </a:r>
            <a:r>
              <a:rPr kumimoji="0" lang="es-ES_tradnl" sz="1400" b="0" i="0" u="none" strike="noStrike" kern="1200" cap="none" spc="0" normalizeH="0" baseline="0" noProof="0" dirty="0">
                <a:ln>
                  <a:noFill/>
                </a:ln>
                <a:solidFill>
                  <a:srgbClr val="6F6F6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.</a:t>
            </a:r>
            <a:endParaRPr kumimoji="0" lang="es-ES" sz="1400" b="0" i="0" u="none" strike="noStrike" kern="1200" cap="none" spc="0" normalizeH="0" baseline="0" noProof="0" dirty="0">
              <a:ln>
                <a:noFill/>
              </a:ln>
              <a:solidFill>
                <a:srgbClr val="6F6F6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" name="CuadroTexto 5">
            <a:extLst>
              <a:ext uri="{FF2B5EF4-FFF2-40B4-BE49-F238E27FC236}">
                <a16:creationId xmlns:a16="http://schemas.microsoft.com/office/drawing/2014/main" id="{1D086724-C935-2F37-7A73-E0085A7A52CC}"/>
              </a:ext>
            </a:extLst>
          </p:cNvPr>
          <p:cNvSpPr txBox="1"/>
          <p:nvPr/>
        </p:nvSpPr>
        <p:spPr>
          <a:xfrm>
            <a:off x="508000" y="4659094"/>
            <a:ext cx="10966450" cy="646986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chemeClr val="accent2"/>
            </a:solidFill>
          </a:ln>
        </p:spPr>
        <p:txBody>
          <a:bodyPr wrap="square" rtlCol="0">
            <a:spAutoFit/>
          </a:bodyPr>
          <a:lstStyle/>
          <a:p>
            <a:pPr marL="1371600" marR="0" lvl="3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_tradnl" sz="16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l medicamento de marca </a:t>
            </a:r>
            <a:r>
              <a:rPr kumimoji="0" lang="es-ES_tradnl" sz="16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acilita el reconocimiento por parte del paciente y permite </a:t>
            </a:r>
            <a:br>
              <a:rPr kumimoji="0" lang="es-ES_tradnl" sz="16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s-ES_tradnl" sz="16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tablecer una vinculación continuada con el medicamento</a:t>
            </a:r>
            <a:r>
              <a:rPr kumimoji="0" lang="es-ES_tradnl" sz="1600" b="1" i="0" u="none" strike="noStrike" kern="1200" cap="none" spc="0" normalizeH="0" baseline="3000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</a:t>
            </a:r>
            <a:r>
              <a:rPr kumimoji="0" lang="es-ES_tradnl" sz="16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.</a:t>
            </a:r>
            <a:endParaRPr kumimoji="0" lang="es-ES" sz="16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" name="CuadroTexto 6">
            <a:extLst>
              <a:ext uri="{FF2B5EF4-FFF2-40B4-BE49-F238E27FC236}">
                <a16:creationId xmlns:a16="http://schemas.microsoft.com/office/drawing/2014/main" id="{792EB41D-B4B1-0CAE-0CF0-B4793BE84EFA}"/>
              </a:ext>
            </a:extLst>
          </p:cNvPr>
          <p:cNvSpPr txBox="1"/>
          <p:nvPr/>
        </p:nvSpPr>
        <p:spPr>
          <a:xfrm>
            <a:off x="508000" y="5431521"/>
            <a:ext cx="10966450" cy="646986"/>
          </a:xfrm>
          <a:prstGeom prst="roundRect">
            <a:avLst/>
          </a:prstGeom>
          <a:noFill/>
          <a:ln>
            <a:solidFill>
              <a:schemeClr val="accent2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_tradnl" sz="1600" b="0" i="0" u="none" strike="noStrike" kern="1200" cap="none" spc="0" normalizeH="0" baseline="0" noProof="0" dirty="0">
                <a:ln>
                  <a:noFill/>
                </a:ln>
                <a:solidFill>
                  <a:srgbClr val="6F6F6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a continuidad del tratamiento mediante el </a:t>
            </a:r>
            <a:br>
              <a:rPr kumimoji="0" lang="es-ES_tradnl" sz="1600" b="0" i="0" u="none" strike="noStrike" kern="1200" cap="none" spc="0" normalizeH="0" baseline="0" noProof="0" dirty="0">
                <a:ln>
                  <a:noFill/>
                </a:ln>
                <a:solidFill>
                  <a:srgbClr val="6F6F6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s-ES_tradnl" sz="16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edicamento de marca es lo más aconsejable para mantener adecuadamente la medicación pautada</a:t>
            </a:r>
            <a:r>
              <a:rPr kumimoji="0" lang="es-ES_tradnl" sz="1600" b="1" i="0" u="none" strike="noStrike" kern="1200" cap="none" spc="0" normalizeH="0" baseline="3000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</a:t>
            </a:r>
            <a:r>
              <a:rPr kumimoji="0" lang="es-ES_tradnl" sz="16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.</a:t>
            </a:r>
            <a:endParaRPr kumimoji="0" lang="es-ES" sz="160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9" name="Picture 2" descr="Ocupació | ALMIRALL">
            <a:extLst>
              <a:ext uri="{FF2B5EF4-FFF2-40B4-BE49-F238E27FC236}">
                <a16:creationId xmlns:a16="http://schemas.microsoft.com/office/drawing/2014/main" id="{D76704C1-F6FD-D600-526A-4225FD388357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0384" r="74873" b="18548"/>
          <a:stretch>
            <a:fillRect/>
          </a:stretch>
        </p:blipFill>
        <p:spPr bwMode="auto">
          <a:xfrm>
            <a:off x="116665" y="4549403"/>
            <a:ext cx="1091254" cy="16545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6" name="Picture 2" descr="Ocupació | ALMIRALL">
            <a:extLst>
              <a:ext uri="{FF2B5EF4-FFF2-40B4-BE49-F238E27FC236}">
                <a16:creationId xmlns:a16="http://schemas.microsoft.com/office/drawing/2014/main" id="{ED12C46C-69D8-D6F9-558A-B10D07290B97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0384" r="74873" b="18548"/>
          <a:stretch>
            <a:fillRect/>
          </a:stretch>
        </p:blipFill>
        <p:spPr bwMode="auto">
          <a:xfrm>
            <a:off x="4368800" y="811492"/>
            <a:ext cx="609600" cy="9242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2" descr="Ocupació | ALMIRALL">
            <a:extLst>
              <a:ext uri="{FF2B5EF4-FFF2-40B4-BE49-F238E27FC236}">
                <a16:creationId xmlns:a16="http://schemas.microsoft.com/office/drawing/2014/main" id="{2DC24C59-5009-113C-5C9F-C3C5834DD35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0384" r="74873" b="18548"/>
          <a:stretch>
            <a:fillRect/>
          </a:stretch>
        </p:blipFill>
        <p:spPr bwMode="auto">
          <a:xfrm>
            <a:off x="10980096" y="81214"/>
            <a:ext cx="1091254" cy="16545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CuadroTexto 11">
            <a:extLst>
              <a:ext uri="{FF2B5EF4-FFF2-40B4-BE49-F238E27FC236}">
                <a16:creationId xmlns:a16="http://schemas.microsoft.com/office/drawing/2014/main" id="{75AACDC3-FF10-4FFE-2203-DD9467F7933F}"/>
              </a:ext>
            </a:extLst>
          </p:cNvPr>
          <p:cNvSpPr txBox="1"/>
          <p:nvPr/>
        </p:nvSpPr>
        <p:spPr>
          <a:xfrm>
            <a:off x="508000" y="6203949"/>
            <a:ext cx="104013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_tradnl" sz="8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. </a:t>
            </a:r>
            <a:r>
              <a:rPr kumimoji="0" lang="es-ES_tradnl" sz="8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armaindustria.es El valor de la marca [citado el 17 de diciembre de 2025]. Disponible en: https://www.farmaindustria.es/web/wp-content/uploads/sites/2/2019/12/Decalogo-El-valor-de-la-marca_Farmaindustria_2024_ok.pdf </a:t>
            </a:r>
            <a:r>
              <a:rPr kumimoji="0" lang="es-ES_tradnl" sz="8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.</a:t>
            </a:r>
            <a:r>
              <a:rPr kumimoji="0" lang="es-ES_tradnl" sz="8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s-ES_tradnl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icras-Mainar</a:t>
            </a:r>
            <a:r>
              <a:rPr kumimoji="0" lang="es-ES_tradnl" sz="8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A, Sánchez-Álvarez L, Navarro-Artieda R, </a:t>
            </a:r>
            <a:r>
              <a:rPr kumimoji="0" lang="es-ES_tradnl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arbà</a:t>
            </a:r>
            <a:r>
              <a:rPr kumimoji="0" lang="es-ES_tradnl" sz="8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J. </a:t>
            </a:r>
            <a:r>
              <a:rPr kumimoji="0" lang="es-ES_tradnl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reatment</a:t>
            </a:r>
            <a:r>
              <a:rPr kumimoji="0" lang="es-ES_tradnl" sz="8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s-ES_tradnl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ersistence</a:t>
            </a:r>
            <a:r>
              <a:rPr kumimoji="0" lang="es-ES_tradnl" sz="8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and </a:t>
            </a:r>
            <a:r>
              <a:rPr kumimoji="0" lang="es-ES_tradnl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dherence</a:t>
            </a:r>
            <a:r>
              <a:rPr kumimoji="0" lang="es-ES_tradnl" sz="8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and </a:t>
            </a:r>
            <a:r>
              <a:rPr kumimoji="0" lang="es-ES_tradnl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heir</a:t>
            </a:r>
            <a:r>
              <a:rPr kumimoji="0" lang="es-ES_tradnl" sz="8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s-ES_tradnl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nsequences</a:t>
            </a:r>
            <a:r>
              <a:rPr kumimoji="0" lang="es-ES_tradnl" sz="8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s-ES_tradnl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n</a:t>
            </a:r>
            <a:r>
              <a:rPr kumimoji="0" lang="es-ES_tradnl" sz="8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s-ES_tradnl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atient</a:t>
            </a:r>
            <a:r>
              <a:rPr kumimoji="0" lang="es-ES_tradnl" sz="8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s-ES_tradnl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utcomes</a:t>
            </a:r>
            <a:r>
              <a:rPr kumimoji="0" lang="es-ES_tradnl" sz="8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s-ES_tradnl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f</a:t>
            </a:r>
            <a:r>
              <a:rPr kumimoji="0" lang="es-ES_tradnl" sz="8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s-ES_tradnl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eneric</a:t>
            </a:r>
            <a:r>
              <a:rPr kumimoji="0" lang="es-ES_tradnl" sz="8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versus Brand-</a:t>
            </a:r>
            <a:r>
              <a:rPr kumimoji="0" lang="es-ES_tradnl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ame</a:t>
            </a:r>
            <a:r>
              <a:rPr kumimoji="0" lang="es-ES_tradnl" sz="8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s-ES_tradnl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tatins</a:t>
            </a:r>
            <a:r>
              <a:rPr kumimoji="0" lang="es-ES_tradnl" sz="8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s-ES_tradnl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outinely</a:t>
            </a:r>
            <a:r>
              <a:rPr kumimoji="0" lang="es-ES_tradnl" sz="8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s-ES_tradnl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used</a:t>
            </a:r>
            <a:r>
              <a:rPr kumimoji="0" lang="es-ES_tradnl" sz="8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s-ES_tradnl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</a:t>
            </a:r>
            <a:r>
              <a:rPr kumimoji="0" lang="es-ES_tradnl" sz="8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s-ES_tradnl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reat</a:t>
            </a:r>
            <a:r>
              <a:rPr kumimoji="0" lang="es-ES_tradnl" sz="8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s-ES_tradnl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high</a:t>
            </a:r>
            <a:r>
              <a:rPr kumimoji="0" lang="es-ES_tradnl" sz="8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colesterol </a:t>
            </a:r>
            <a:r>
              <a:rPr kumimoji="0" lang="es-ES_tradnl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evels</a:t>
            </a:r>
            <a:r>
              <a:rPr kumimoji="0" lang="es-ES_tradnl" sz="8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in Spain: a retrospective </a:t>
            </a:r>
            <a:r>
              <a:rPr kumimoji="0" lang="es-ES_tradnl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stconsequences</a:t>
            </a:r>
            <a:r>
              <a:rPr kumimoji="0" lang="es-ES_tradnl" sz="8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análisis. </a:t>
            </a:r>
            <a:r>
              <a:rPr kumimoji="0" lang="es-ES_tradnl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ipids</a:t>
            </a:r>
            <a:r>
              <a:rPr kumimoji="0" lang="es-ES_tradnl" sz="8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s-ES_tradnl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Health</a:t>
            </a:r>
            <a:r>
              <a:rPr kumimoji="0" lang="es-ES_tradnl" sz="8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Dis.2018;17(1):277.</a:t>
            </a:r>
            <a:endParaRPr kumimoji="0" lang="es-ES" sz="8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35" name="Grupo 34">
            <a:extLst>
              <a:ext uri="{FF2B5EF4-FFF2-40B4-BE49-F238E27FC236}">
                <a16:creationId xmlns:a16="http://schemas.microsoft.com/office/drawing/2014/main" id="{E548041B-97BA-B296-BCE8-9EF5F14BE084}"/>
              </a:ext>
            </a:extLst>
          </p:cNvPr>
          <p:cNvGrpSpPr/>
          <p:nvPr/>
        </p:nvGrpSpPr>
        <p:grpSpPr>
          <a:xfrm>
            <a:off x="5340090" y="938301"/>
            <a:ext cx="6208972" cy="3521944"/>
            <a:chOff x="5340090" y="938301"/>
            <a:chExt cx="6208972" cy="3521944"/>
          </a:xfrm>
        </p:grpSpPr>
        <p:sp>
          <p:nvSpPr>
            <p:cNvPr id="10" name="Rectángulo: esquinas redondeadas 9">
              <a:extLst>
                <a:ext uri="{FF2B5EF4-FFF2-40B4-BE49-F238E27FC236}">
                  <a16:creationId xmlns:a16="http://schemas.microsoft.com/office/drawing/2014/main" id="{287E2F6C-7222-48EB-A0D5-74154FB26546}"/>
                </a:ext>
              </a:extLst>
            </p:cNvPr>
            <p:cNvSpPr/>
            <p:nvPr/>
          </p:nvSpPr>
          <p:spPr>
            <a:xfrm>
              <a:off x="5429250" y="938301"/>
              <a:ext cx="6045200" cy="3521944"/>
            </a:xfrm>
            <a:prstGeom prst="roundRect">
              <a:avLst/>
            </a:prstGeom>
            <a:noFill/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" name="CuadroTexto 4">
              <a:extLst>
                <a:ext uri="{FF2B5EF4-FFF2-40B4-BE49-F238E27FC236}">
                  <a16:creationId xmlns:a16="http://schemas.microsoft.com/office/drawing/2014/main" id="{BDF2AAC3-9094-9FA7-FA64-848CB8682282}"/>
                </a:ext>
              </a:extLst>
            </p:cNvPr>
            <p:cNvSpPr txBox="1"/>
            <p:nvPr/>
          </p:nvSpPr>
          <p:spPr>
            <a:xfrm>
              <a:off x="6223000" y="1136640"/>
              <a:ext cx="4603750" cy="658297"/>
            </a:xfrm>
            <a:prstGeom prst="roundRect">
              <a:avLst>
                <a:gd name="adj" fmla="val 19611"/>
              </a:avLst>
            </a:prstGeom>
            <a:solidFill>
              <a:schemeClr val="accent2">
                <a:lumMod val="20000"/>
                <a:lumOff val="80000"/>
              </a:schemeClr>
            </a:solidFill>
            <a:ln>
              <a:solidFill>
                <a:schemeClr val="accent2"/>
              </a:solidFill>
            </a:ln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_tradnl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En comparación con la marca, </a:t>
              </a:r>
              <a:r>
                <a:rPr kumimoji="0" lang="es-ES_tradnl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os pacientes con una estatina genérica </a:t>
              </a:r>
              <a:r>
                <a:rPr kumimoji="0" lang="es-ES_tradnl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presentaron</a:t>
              </a:r>
              <a:r>
                <a:rPr kumimoji="0" lang="es-ES_tradnl" sz="1600" b="0" i="0" u="none" strike="noStrike" kern="1200" cap="none" spc="0" normalizeH="0" baseline="3000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2</a:t>
              </a:r>
              <a:r>
                <a:rPr kumimoji="0" lang="es-ES_tradnl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:</a:t>
              </a:r>
              <a:endParaRPr kumimoji="0" lang="es-ES" sz="16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3" name="CuadroTexto 12">
              <a:extLst>
                <a:ext uri="{FF2B5EF4-FFF2-40B4-BE49-F238E27FC236}">
                  <a16:creationId xmlns:a16="http://schemas.microsoft.com/office/drawing/2014/main" id="{118E3CD5-99C6-02F8-8FF1-6598198968BE}"/>
                </a:ext>
              </a:extLst>
            </p:cNvPr>
            <p:cNvSpPr txBox="1"/>
            <p:nvPr/>
          </p:nvSpPr>
          <p:spPr>
            <a:xfrm>
              <a:off x="5479266" y="2729388"/>
              <a:ext cx="1444625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_tradnl" sz="3200" b="1" i="0" u="none" strike="noStrike" kern="120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 Black" panose="020B0A04020102020204" pitchFamily="34" charset="0"/>
                  <a:ea typeface="+mn-ea"/>
                  <a:cs typeface="+mn-cs"/>
                </a:rPr>
                <a:t>14%</a:t>
              </a:r>
              <a:endParaRPr kumimoji="0" lang="es-ES" sz="14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 Black" panose="020B0A04020102020204" pitchFamily="34" charset="0"/>
                <a:ea typeface="+mn-ea"/>
                <a:cs typeface="+mn-cs"/>
              </a:endParaRPr>
            </a:p>
          </p:txBody>
        </p:sp>
        <p:sp>
          <p:nvSpPr>
            <p:cNvPr id="17" name="CuadroTexto 16">
              <a:extLst>
                <a:ext uri="{FF2B5EF4-FFF2-40B4-BE49-F238E27FC236}">
                  <a16:creationId xmlns:a16="http://schemas.microsoft.com/office/drawing/2014/main" id="{14CE0934-B379-030C-542C-5F80B3F54E64}"/>
                </a:ext>
              </a:extLst>
            </p:cNvPr>
            <p:cNvSpPr txBox="1"/>
            <p:nvPr/>
          </p:nvSpPr>
          <p:spPr>
            <a:xfrm>
              <a:off x="6934145" y="2732289"/>
              <a:ext cx="1444625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_tradnl" sz="3200" b="1" i="0" u="none" strike="noStrike" kern="120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 Black" panose="020B0A04020102020204" pitchFamily="34" charset="0"/>
                  <a:ea typeface="+mn-ea"/>
                  <a:cs typeface="+mn-cs"/>
                </a:rPr>
                <a:t>13%</a:t>
              </a:r>
              <a:endParaRPr kumimoji="0" lang="es-ES" sz="14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 Black" panose="020B0A04020102020204" pitchFamily="34" charset="0"/>
                <a:ea typeface="+mn-ea"/>
                <a:cs typeface="+mn-cs"/>
              </a:endParaRPr>
            </a:p>
          </p:txBody>
        </p:sp>
        <p:sp>
          <p:nvSpPr>
            <p:cNvPr id="18" name="CuadroTexto 17">
              <a:extLst>
                <a:ext uri="{FF2B5EF4-FFF2-40B4-BE49-F238E27FC236}">
                  <a16:creationId xmlns:a16="http://schemas.microsoft.com/office/drawing/2014/main" id="{1B242AA6-D441-937F-4B80-A392440AB659}"/>
                </a:ext>
              </a:extLst>
            </p:cNvPr>
            <p:cNvSpPr txBox="1"/>
            <p:nvPr/>
          </p:nvSpPr>
          <p:spPr>
            <a:xfrm>
              <a:off x="8542019" y="2746046"/>
              <a:ext cx="1444625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_tradnl" sz="3200" b="1" i="0" u="none" strike="noStrike" kern="120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 Black" panose="020B0A04020102020204" pitchFamily="34" charset="0"/>
                  <a:ea typeface="+mn-ea"/>
                  <a:cs typeface="+mn-cs"/>
                </a:rPr>
                <a:t>31%</a:t>
              </a:r>
              <a:endParaRPr kumimoji="0" lang="es-ES" sz="14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 Black" panose="020B0A04020102020204" pitchFamily="34" charset="0"/>
                <a:ea typeface="+mn-ea"/>
                <a:cs typeface="+mn-cs"/>
              </a:endParaRPr>
            </a:p>
          </p:txBody>
        </p:sp>
        <p:sp>
          <p:nvSpPr>
            <p:cNvPr id="19" name="CuadroTexto 18">
              <a:extLst>
                <a:ext uri="{FF2B5EF4-FFF2-40B4-BE49-F238E27FC236}">
                  <a16:creationId xmlns:a16="http://schemas.microsoft.com/office/drawing/2014/main" id="{707339CE-96C6-E86D-075D-DFDAFEEC664C}"/>
                </a:ext>
              </a:extLst>
            </p:cNvPr>
            <p:cNvSpPr txBox="1"/>
            <p:nvPr/>
          </p:nvSpPr>
          <p:spPr>
            <a:xfrm>
              <a:off x="10104437" y="2734643"/>
              <a:ext cx="1444625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_tradnl" sz="3200" b="1" i="0" u="none" strike="noStrike" kern="120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 Black" panose="020B0A04020102020204" pitchFamily="34" charset="0"/>
                  <a:ea typeface="+mn-ea"/>
                  <a:cs typeface="+mn-cs"/>
                </a:rPr>
                <a:t>36%</a:t>
              </a:r>
              <a:endParaRPr kumimoji="0" lang="es-ES" sz="14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 Black" panose="020B0A04020102020204" pitchFamily="34" charset="0"/>
                <a:ea typeface="+mn-ea"/>
                <a:cs typeface="+mn-cs"/>
              </a:endParaRPr>
            </a:p>
          </p:txBody>
        </p:sp>
        <p:sp>
          <p:nvSpPr>
            <p:cNvPr id="20" name="CuadroTexto 19">
              <a:extLst>
                <a:ext uri="{FF2B5EF4-FFF2-40B4-BE49-F238E27FC236}">
                  <a16:creationId xmlns:a16="http://schemas.microsoft.com/office/drawing/2014/main" id="{D3317286-3E47-E644-C495-5D5CDAE5155F}"/>
                </a:ext>
              </a:extLst>
            </p:cNvPr>
            <p:cNvSpPr txBox="1"/>
            <p:nvPr/>
          </p:nvSpPr>
          <p:spPr>
            <a:xfrm>
              <a:off x="5456593" y="3076857"/>
              <a:ext cx="1444625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_tradnl" sz="2000" b="1" i="0" u="none" strike="noStrike" kern="120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menos</a:t>
              </a:r>
              <a:endParaRPr kumimoji="0" lang="es-ES" sz="20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1" name="CuadroTexto 20">
              <a:extLst>
                <a:ext uri="{FF2B5EF4-FFF2-40B4-BE49-F238E27FC236}">
                  <a16:creationId xmlns:a16="http://schemas.microsoft.com/office/drawing/2014/main" id="{DEE43B66-6D5B-FBB9-FCAB-B9CA7E4C43EE}"/>
                </a:ext>
              </a:extLst>
            </p:cNvPr>
            <p:cNvSpPr txBox="1"/>
            <p:nvPr/>
          </p:nvSpPr>
          <p:spPr>
            <a:xfrm>
              <a:off x="6917599" y="3076198"/>
              <a:ext cx="1444625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_tradnl" sz="2000" b="1" i="0" u="none" strike="noStrike" kern="120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menos</a:t>
              </a:r>
              <a:endParaRPr kumimoji="0" lang="es-ES" sz="20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2" name="CuadroTexto 21">
              <a:extLst>
                <a:ext uri="{FF2B5EF4-FFF2-40B4-BE49-F238E27FC236}">
                  <a16:creationId xmlns:a16="http://schemas.microsoft.com/office/drawing/2014/main" id="{2FBF5007-6E12-E027-4C0E-811A85F0B431}"/>
                </a:ext>
              </a:extLst>
            </p:cNvPr>
            <p:cNvSpPr txBox="1"/>
            <p:nvPr/>
          </p:nvSpPr>
          <p:spPr>
            <a:xfrm>
              <a:off x="8470624" y="3114108"/>
              <a:ext cx="1444625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_tradnl" sz="2000" b="1" i="0" u="none" strike="noStrike" kern="120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más</a:t>
              </a:r>
              <a:endParaRPr kumimoji="0" lang="es-ES" sz="20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3" name="CuadroTexto 22">
              <a:extLst>
                <a:ext uri="{FF2B5EF4-FFF2-40B4-BE49-F238E27FC236}">
                  <a16:creationId xmlns:a16="http://schemas.microsoft.com/office/drawing/2014/main" id="{7349C465-B835-DDF7-1C72-50866A4C09F9}"/>
                </a:ext>
              </a:extLst>
            </p:cNvPr>
            <p:cNvSpPr txBox="1"/>
            <p:nvPr/>
          </p:nvSpPr>
          <p:spPr>
            <a:xfrm>
              <a:off x="10008234" y="3118049"/>
              <a:ext cx="1444625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_tradnl" sz="2000" b="1" i="0" u="none" strike="noStrike" kern="120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más</a:t>
              </a:r>
              <a:endParaRPr kumimoji="0" lang="es-ES" sz="20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4" name="CuadroTexto 23">
              <a:extLst>
                <a:ext uri="{FF2B5EF4-FFF2-40B4-BE49-F238E27FC236}">
                  <a16:creationId xmlns:a16="http://schemas.microsoft.com/office/drawing/2014/main" id="{9810A210-6AE6-6C3B-0402-D19B0142C1BE}"/>
                </a:ext>
              </a:extLst>
            </p:cNvPr>
            <p:cNvSpPr txBox="1"/>
            <p:nvPr/>
          </p:nvSpPr>
          <p:spPr>
            <a:xfrm>
              <a:off x="5340090" y="3479394"/>
              <a:ext cx="1675656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_tradnl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de probabilidades de mantener el tratamiento</a:t>
              </a:r>
              <a:endParaRPr kumimoji="0" lang="es-ES" sz="12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5" name="CuadroTexto 24">
              <a:extLst>
                <a:ext uri="{FF2B5EF4-FFF2-40B4-BE49-F238E27FC236}">
                  <a16:creationId xmlns:a16="http://schemas.microsoft.com/office/drawing/2014/main" id="{EF5321FD-3817-E32B-76AE-5DEAD3ADB004}"/>
                </a:ext>
              </a:extLst>
            </p:cNvPr>
            <p:cNvSpPr txBox="1"/>
            <p:nvPr/>
          </p:nvSpPr>
          <p:spPr>
            <a:xfrm>
              <a:off x="6879338" y="3480053"/>
              <a:ext cx="1554238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_tradnl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de probabilidades de alcanzar los objetivos c-LDL</a:t>
              </a:r>
              <a:endParaRPr kumimoji="0" lang="es-ES" sz="12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6" name="CuadroTexto 25">
              <a:extLst>
                <a:ext uri="{FF2B5EF4-FFF2-40B4-BE49-F238E27FC236}">
                  <a16:creationId xmlns:a16="http://schemas.microsoft.com/office/drawing/2014/main" id="{34EE5EAD-4581-958F-74ED-611C5FDB8EAA}"/>
                </a:ext>
              </a:extLst>
            </p:cNvPr>
            <p:cNvSpPr txBox="1"/>
            <p:nvPr/>
          </p:nvSpPr>
          <p:spPr>
            <a:xfrm>
              <a:off x="8383814" y="3476308"/>
              <a:ext cx="1634056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_tradnl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de probabilidades de sufrir episodios cardiovasculares</a:t>
              </a:r>
              <a:endParaRPr kumimoji="0" lang="es-ES" sz="12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7" name="CuadroTexto 26">
              <a:extLst>
                <a:ext uri="{FF2B5EF4-FFF2-40B4-BE49-F238E27FC236}">
                  <a16:creationId xmlns:a16="http://schemas.microsoft.com/office/drawing/2014/main" id="{12BA62F1-64F6-0E2C-BDCE-4E5AB7C93888}"/>
                </a:ext>
              </a:extLst>
            </p:cNvPr>
            <p:cNvSpPr txBox="1"/>
            <p:nvPr/>
          </p:nvSpPr>
          <p:spPr>
            <a:xfrm>
              <a:off x="9876092" y="3478662"/>
              <a:ext cx="1634056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_tradnl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de probabilidades de morir por cualquier causa</a:t>
              </a:r>
              <a:endParaRPr kumimoji="0" lang="es-ES" sz="12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pic>
        <p:nvPicPr>
          <p:cNvPr id="30" name="Imagen 29" descr="Icono&#10;&#10;El contenido generado por IA puede ser incorrecto.">
            <a:extLst>
              <a:ext uri="{FF2B5EF4-FFF2-40B4-BE49-F238E27FC236}">
                <a16:creationId xmlns:a16="http://schemas.microsoft.com/office/drawing/2014/main" id="{F4351877-78D0-07A4-4CCE-834CE0769839}"/>
              </a:ext>
            </a:extLst>
          </p:cNvPr>
          <p:cNvPicPr>
            <a:picLocks noChangeAspect="1"/>
          </p:cNvPicPr>
          <p:nvPr/>
        </p:nvPicPr>
        <p:blipFill>
          <a:blip r:embed="rId4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07919" y="4709773"/>
            <a:ext cx="545627" cy="545627"/>
          </a:xfrm>
          <a:prstGeom prst="rect">
            <a:avLst/>
          </a:prstGeom>
        </p:spPr>
      </p:pic>
      <p:grpSp>
        <p:nvGrpSpPr>
          <p:cNvPr id="32" name="Grupo 31">
            <a:extLst>
              <a:ext uri="{FF2B5EF4-FFF2-40B4-BE49-F238E27FC236}">
                <a16:creationId xmlns:a16="http://schemas.microsoft.com/office/drawing/2014/main" id="{6405FEF0-A8F4-E8C3-8894-099125ABCCE5}"/>
              </a:ext>
            </a:extLst>
          </p:cNvPr>
          <p:cNvGrpSpPr/>
          <p:nvPr/>
        </p:nvGrpSpPr>
        <p:grpSpPr>
          <a:xfrm>
            <a:off x="0" y="1"/>
            <a:ext cx="3435350" cy="654050"/>
            <a:chOff x="1207919" y="3436464"/>
            <a:chExt cx="3435350" cy="654050"/>
          </a:xfrm>
        </p:grpSpPr>
        <p:sp>
          <p:nvSpPr>
            <p:cNvPr id="33" name="Rectángulo: una sola esquina redondeada 32">
              <a:extLst>
                <a:ext uri="{FF2B5EF4-FFF2-40B4-BE49-F238E27FC236}">
                  <a16:creationId xmlns:a16="http://schemas.microsoft.com/office/drawing/2014/main" id="{51A9D1BB-B735-0EBB-7951-A651878CF9ED}"/>
                </a:ext>
              </a:extLst>
            </p:cNvPr>
            <p:cNvSpPr/>
            <p:nvPr/>
          </p:nvSpPr>
          <p:spPr>
            <a:xfrm rot="10800000" flipH="1">
              <a:off x="1207919" y="3436464"/>
              <a:ext cx="3435350" cy="654050"/>
            </a:xfrm>
            <a:prstGeom prst="round1Rect">
              <a:avLst>
                <a:gd name="adj" fmla="val 50000"/>
              </a:avLst>
            </a:prstGeom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>
              <a:normAutofit/>
            </a:bodyPr>
            <a:lstStyle/>
            <a:p>
              <a:pPr marL="0" marR="0" lvl="0" indent="0" algn="l" defTabSz="1219139" rtl="0" eaLnBrk="1" fontAlgn="auto" latinLnBrk="0" hangingPunct="1">
                <a:lnSpc>
                  <a:spcPct val="90000"/>
                </a:lnSpc>
                <a:spcBef>
                  <a:spcPts val="1333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2933" b="1" i="0" u="none" strike="noStrike" kern="1200" cap="none" spc="0" normalizeH="0" baseline="0" noProof="0" dirty="0">
                <a:ln>
                  <a:noFill/>
                </a:ln>
                <a:solidFill>
                  <a:srgbClr val="00F0BE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34" name="CuadroTexto 33">
              <a:extLst>
                <a:ext uri="{FF2B5EF4-FFF2-40B4-BE49-F238E27FC236}">
                  <a16:creationId xmlns:a16="http://schemas.microsoft.com/office/drawing/2014/main" id="{27F14601-0A2F-00F0-8136-BF6E3763CEDB}"/>
                </a:ext>
              </a:extLst>
            </p:cNvPr>
            <p:cNvSpPr txBox="1"/>
            <p:nvPr/>
          </p:nvSpPr>
          <p:spPr>
            <a:xfrm>
              <a:off x="1293813" y="3510354"/>
              <a:ext cx="2998787" cy="49853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l" defTabSz="1219139" rtl="0" eaLnBrk="1" fontAlgn="auto" latinLnBrk="0" hangingPunct="1">
                <a:lnSpc>
                  <a:spcPct val="90000"/>
                </a:lnSpc>
                <a:spcBef>
                  <a:spcPts val="1333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" sz="2933" b="1" i="0" u="none" strike="noStrike" kern="1200" cap="none" spc="0" normalizeH="0" baseline="0" noProof="0" dirty="0">
                  <a:ln>
                    <a:noFill/>
                  </a:ln>
                  <a:solidFill>
                    <a:srgbClr val="00F0BE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rPr>
                <a:t>Valor de marca</a:t>
              </a:r>
            </a:p>
          </p:txBody>
        </p:sp>
      </p:grpSp>
      <p:pic>
        <p:nvPicPr>
          <p:cNvPr id="38" name="Imagen 37">
            <a:extLst>
              <a:ext uri="{FF2B5EF4-FFF2-40B4-BE49-F238E27FC236}">
                <a16:creationId xmlns:a16="http://schemas.microsoft.com/office/drawing/2014/main" id="{0294770A-8725-E5BE-A13F-113E4632E851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l="56611" r="27254"/>
          <a:stretch>
            <a:fillRect/>
          </a:stretch>
        </p:blipFill>
        <p:spPr>
          <a:xfrm>
            <a:off x="8776701" y="1922902"/>
            <a:ext cx="891353" cy="886612"/>
          </a:xfrm>
          <a:prstGeom prst="rect">
            <a:avLst/>
          </a:prstGeom>
        </p:spPr>
      </p:pic>
      <p:pic>
        <p:nvPicPr>
          <p:cNvPr id="39" name="Imagen 38">
            <a:extLst>
              <a:ext uri="{FF2B5EF4-FFF2-40B4-BE49-F238E27FC236}">
                <a16:creationId xmlns:a16="http://schemas.microsoft.com/office/drawing/2014/main" id="{47CF7EF3-E5A7-C752-729B-E6C9E7287D46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l="28747" t="-1455" r="50585" b="1455"/>
          <a:stretch>
            <a:fillRect/>
          </a:stretch>
        </p:blipFill>
        <p:spPr>
          <a:xfrm>
            <a:off x="7132647" y="1922902"/>
            <a:ext cx="1141817" cy="886612"/>
          </a:xfrm>
          <a:prstGeom prst="rect">
            <a:avLst/>
          </a:prstGeom>
        </p:spPr>
      </p:pic>
      <p:pic>
        <p:nvPicPr>
          <p:cNvPr id="40" name="Imagen 39">
            <a:extLst>
              <a:ext uri="{FF2B5EF4-FFF2-40B4-BE49-F238E27FC236}">
                <a16:creationId xmlns:a16="http://schemas.microsoft.com/office/drawing/2014/main" id="{A0977CD4-8A18-6E70-2432-352CB6A6D75F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l="83865"/>
          <a:stretch>
            <a:fillRect/>
          </a:stretch>
        </p:blipFill>
        <p:spPr>
          <a:xfrm>
            <a:off x="10405836" y="1919458"/>
            <a:ext cx="879037" cy="8743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4972987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n 2">
            <a:extLst>
              <a:ext uri="{FF2B5EF4-FFF2-40B4-BE49-F238E27FC236}">
                <a16:creationId xmlns:a16="http://schemas.microsoft.com/office/drawing/2014/main" id="{9E26BC82-7F4B-8B8B-1292-37778CBC152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00100" y="0"/>
            <a:ext cx="10591800" cy="6858000"/>
          </a:xfrm>
          <a:prstGeom prst="rect">
            <a:avLst/>
          </a:prstGeom>
        </p:spPr>
      </p:pic>
      <p:sp>
        <p:nvSpPr>
          <p:cNvPr id="2" name="CuadroTexto 1">
            <a:extLst>
              <a:ext uri="{FF2B5EF4-FFF2-40B4-BE49-F238E27FC236}">
                <a16:creationId xmlns:a16="http://schemas.microsoft.com/office/drawing/2014/main" id="{E8F8C797-BA04-CCF1-57C5-B783FF461D43}"/>
              </a:ext>
            </a:extLst>
          </p:cNvPr>
          <p:cNvSpPr txBox="1"/>
          <p:nvPr/>
        </p:nvSpPr>
        <p:spPr>
          <a:xfrm rot="16200000">
            <a:off x="10611613" y="3657467"/>
            <a:ext cx="2510028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s-ES" sz="1400" dirty="0">
                <a:solidFill>
                  <a:schemeClr val="bg1">
                    <a:lumMod val="95000"/>
                  </a:schemeClr>
                </a:solidFill>
              </a:rPr>
              <a:t>MA-ES-NOP-2500037</a:t>
            </a:r>
          </a:p>
        </p:txBody>
      </p:sp>
    </p:spTree>
    <p:extLst>
      <p:ext uri="{BB962C8B-B14F-4D97-AF65-F5344CB8AC3E}">
        <p14:creationId xmlns:p14="http://schemas.microsoft.com/office/powerpoint/2010/main" val="513819002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B0C5695-E0EC-0206-32A2-64DC555D817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7" name="Grupo 46">
            <a:extLst>
              <a:ext uri="{FF2B5EF4-FFF2-40B4-BE49-F238E27FC236}">
                <a16:creationId xmlns:a16="http://schemas.microsoft.com/office/drawing/2014/main" id="{3D73C5C7-AC1C-8545-AA2D-3C1336AA3433}"/>
              </a:ext>
            </a:extLst>
          </p:cNvPr>
          <p:cNvGrpSpPr/>
          <p:nvPr/>
        </p:nvGrpSpPr>
        <p:grpSpPr>
          <a:xfrm>
            <a:off x="409315" y="1638118"/>
            <a:ext cx="5178686" cy="2906398"/>
            <a:chOff x="6520762" y="2032462"/>
            <a:chExt cx="4220523" cy="1563556"/>
          </a:xfrm>
        </p:grpSpPr>
        <p:sp>
          <p:nvSpPr>
            <p:cNvPr id="48" name="Rectángulo: esquinas redondeadas 47">
              <a:extLst>
                <a:ext uri="{FF2B5EF4-FFF2-40B4-BE49-F238E27FC236}">
                  <a16:creationId xmlns:a16="http://schemas.microsoft.com/office/drawing/2014/main" id="{C5DE66C4-5D60-291C-3A71-0D3E479F2BFE}"/>
                </a:ext>
              </a:extLst>
            </p:cNvPr>
            <p:cNvSpPr/>
            <p:nvPr/>
          </p:nvSpPr>
          <p:spPr>
            <a:xfrm>
              <a:off x="6520762" y="2032462"/>
              <a:ext cx="4220523" cy="1563556"/>
            </a:xfrm>
            <a:prstGeom prst="roundRect">
              <a:avLst/>
            </a:prstGeom>
            <a:solidFill>
              <a:schemeClr val="accent2">
                <a:lumMod val="20000"/>
                <a:lumOff val="80000"/>
              </a:schemeClr>
            </a:solidFill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0" name="CuadroTexto 49">
              <a:extLst>
                <a:ext uri="{FF2B5EF4-FFF2-40B4-BE49-F238E27FC236}">
                  <a16:creationId xmlns:a16="http://schemas.microsoft.com/office/drawing/2014/main" id="{7553D5A2-7149-FF18-A866-775309D309D2}"/>
                </a:ext>
              </a:extLst>
            </p:cNvPr>
            <p:cNvSpPr txBox="1"/>
            <p:nvPr/>
          </p:nvSpPr>
          <p:spPr>
            <a:xfrm>
              <a:off x="6601188" y="2085300"/>
              <a:ext cx="3854380" cy="30786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_tradnl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Tratamiento de la hipercolesterolemia </a:t>
              </a:r>
              <a:br>
                <a:rPr kumimoji="0" lang="es-ES_tradnl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</a:br>
              <a:r>
                <a:rPr kumimoji="0" lang="es-ES_tradnl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(sola o en combinación con </a:t>
              </a:r>
              <a:r>
                <a:rPr kumimoji="0" lang="es-ES_tradnl" sz="1400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ezetimiba</a:t>
              </a:r>
              <a:r>
                <a:rPr kumimoji="0" lang="es-ES_tradnl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)</a:t>
              </a:r>
              <a:endParaRPr kumimoji="0" lang="es-ES" sz="16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9" name="CuadroTexto 48">
              <a:extLst>
                <a:ext uri="{FF2B5EF4-FFF2-40B4-BE49-F238E27FC236}">
                  <a16:creationId xmlns:a16="http://schemas.microsoft.com/office/drawing/2014/main" id="{621D5BE5-3F24-FE58-33EF-A788BF68EF16}"/>
                </a:ext>
              </a:extLst>
            </p:cNvPr>
            <p:cNvSpPr txBox="1"/>
            <p:nvPr/>
          </p:nvSpPr>
          <p:spPr>
            <a:xfrm>
              <a:off x="6601189" y="2397032"/>
              <a:ext cx="1505959" cy="932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_tradnl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Estudios que evalúan la potencia y/o efecto de </a:t>
              </a:r>
              <a:r>
                <a:rPr kumimoji="0" lang="es-ES_tradnl" sz="14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rosu</a:t>
              </a:r>
              <a:r>
                <a:rPr kumimoji="0" lang="es-ES_tradnl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 vs otros comparadores en la </a:t>
              </a:r>
              <a:r>
                <a:rPr kumimoji="0" lang="es-ES_tradnl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disminución de lipoproteínas, niveles de c-LDL…</a:t>
              </a:r>
              <a:endParaRPr kumimoji="0" lang="es-ES" sz="14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43" name="Grupo 42">
            <a:extLst>
              <a:ext uri="{FF2B5EF4-FFF2-40B4-BE49-F238E27FC236}">
                <a16:creationId xmlns:a16="http://schemas.microsoft.com/office/drawing/2014/main" id="{56B23E9F-AED6-0540-3B3F-7C24FF83796B}"/>
              </a:ext>
            </a:extLst>
          </p:cNvPr>
          <p:cNvGrpSpPr/>
          <p:nvPr/>
        </p:nvGrpSpPr>
        <p:grpSpPr>
          <a:xfrm>
            <a:off x="7363536" y="4384222"/>
            <a:ext cx="4507931" cy="1476038"/>
            <a:chOff x="6604000" y="2035178"/>
            <a:chExt cx="4507931" cy="1563556"/>
          </a:xfrm>
        </p:grpSpPr>
        <p:sp>
          <p:nvSpPr>
            <p:cNvPr id="44" name="Rectángulo: esquinas redondeadas 43">
              <a:extLst>
                <a:ext uri="{FF2B5EF4-FFF2-40B4-BE49-F238E27FC236}">
                  <a16:creationId xmlns:a16="http://schemas.microsoft.com/office/drawing/2014/main" id="{E570DE9D-E96C-6B4F-DA3C-94E27BAB53B6}"/>
                </a:ext>
              </a:extLst>
            </p:cNvPr>
            <p:cNvSpPr/>
            <p:nvPr/>
          </p:nvSpPr>
          <p:spPr>
            <a:xfrm>
              <a:off x="6604000" y="2035178"/>
              <a:ext cx="4220523" cy="1563556"/>
            </a:xfrm>
            <a:prstGeom prst="roundRect">
              <a:avLst/>
            </a:prstGeom>
            <a:solidFill>
              <a:schemeClr val="accent2">
                <a:lumMod val="20000"/>
                <a:lumOff val="80000"/>
              </a:schemeClr>
            </a:solidFill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5" name="CuadroTexto 44">
              <a:extLst>
                <a:ext uri="{FF2B5EF4-FFF2-40B4-BE49-F238E27FC236}">
                  <a16:creationId xmlns:a16="http://schemas.microsoft.com/office/drawing/2014/main" id="{60234A6E-A9F2-0AB0-1427-E3299796A34B}"/>
                </a:ext>
              </a:extLst>
            </p:cNvPr>
            <p:cNvSpPr txBox="1"/>
            <p:nvPr/>
          </p:nvSpPr>
          <p:spPr>
            <a:xfrm>
              <a:off x="7752785" y="2688614"/>
              <a:ext cx="3157838" cy="83143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_tradnl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Estudios que evalúan el efecto de </a:t>
              </a:r>
              <a:r>
                <a:rPr kumimoji="0" lang="es-ES_tradnl" sz="14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rosu</a:t>
              </a:r>
              <a:r>
                <a:rPr kumimoji="0" lang="es-ES_tradnl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 vs placebo en eventos clínicos CV, </a:t>
              </a:r>
              <a:r>
                <a:rPr kumimoji="0" lang="es-ES_tradnl" sz="14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morbi</a:t>
              </a:r>
              <a:r>
                <a:rPr kumimoji="0" lang="es-ES_tradnl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-mortalidad, </a:t>
              </a:r>
              <a:r>
                <a:rPr kumimoji="0" lang="es-ES_tradnl" sz="14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etc</a:t>
              </a:r>
              <a:r>
                <a:rPr kumimoji="0" lang="es-ES_tradnl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…</a:t>
              </a:r>
              <a:endParaRPr kumimoji="0" lang="es-ES" sz="14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6" name="CuadroTexto 45">
              <a:extLst>
                <a:ext uri="{FF2B5EF4-FFF2-40B4-BE49-F238E27FC236}">
                  <a16:creationId xmlns:a16="http://schemas.microsoft.com/office/drawing/2014/main" id="{32D33AA3-FB2F-3373-D922-2D3AC7A08063}"/>
                </a:ext>
              </a:extLst>
            </p:cNvPr>
            <p:cNvSpPr txBox="1"/>
            <p:nvPr/>
          </p:nvSpPr>
          <p:spPr>
            <a:xfrm>
              <a:off x="7954093" y="2103839"/>
              <a:ext cx="3157838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_tradnl" sz="1600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Morbi</a:t>
              </a:r>
              <a:r>
                <a:rPr kumimoji="0" lang="es-ES_tradnl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-mortalidad cardiovascular</a:t>
              </a:r>
              <a:endParaRPr kumimoji="0" lang="es-ES" sz="16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42" name="Grupo 41">
            <a:extLst>
              <a:ext uri="{FF2B5EF4-FFF2-40B4-BE49-F238E27FC236}">
                <a16:creationId xmlns:a16="http://schemas.microsoft.com/office/drawing/2014/main" id="{8920975B-AF84-E3EE-6066-254DE0AF06BE}"/>
              </a:ext>
            </a:extLst>
          </p:cNvPr>
          <p:cNvGrpSpPr/>
          <p:nvPr/>
        </p:nvGrpSpPr>
        <p:grpSpPr>
          <a:xfrm>
            <a:off x="7170434" y="1910177"/>
            <a:ext cx="4513565" cy="1636300"/>
            <a:chOff x="6604000" y="2035178"/>
            <a:chExt cx="4513565" cy="1636300"/>
          </a:xfrm>
        </p:grpSpPr>
        <p:sp>
          <p:nvSpPr>
            <p:cNvPr id="38" name="Rectángulo: esquinas redondeadas 37">
              <a:extLst>
                <a:ext uri="{FF2B5EF4-FFF2-40B4-BE49-F238E27FC236}">
                  <a16:creationId xmlns:a16="http://schemas.microsoft.com/office/drawing/2014/main" id="{0F7B9AC0-78D8-CC3A-D7FC-5C7BF09AEC56}"/>
                </a:ext>
              </a:extLst>
            </p:cNvPr>
            <p:cNvSpPr/>
            <p:nvPr/>
          </p:nvSpPr>
          <p:spPr>
            <a:xfrm>
              <a:off x="6604000" y="2035178"/>
              <a:ext cx="4376096" cy="1636300"/>
            </a:xfrm>
            <a:prstGeom prst="roundRect">
              <a:avLst/>
            </a:prstGeom>
            <a:solidFill>
              <a:schemeClr val="accent2">
                <a:lumMod val="20000"/>
                <a:lumOff val="80000"/>
              </a:schemeClr>
            </a:solidFill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0" name="CuadroTexto 39">
              <a:extLst>
                <a:ext uri="{FF2B5EF4-FFF2-40B4-BE49-F238E27FC236}">
                  <a16:creationId xmlns:a16="http://schemas.microsoft.com/office/drawing/2014/main" id="{B76D0E3B-7DF0-7B1C-6BA8-8AAB35187031}"/>
                </a:ext>
              </a:extLst>
            </p:cNvPr>
            <p:cNvSpPr txBox="1"/>
            <p:nvPr/>
          </p:nvSpPr>
          <p:spPr>
            <a:xfrm>
              <a:off x="7908358" y="2511054"/>
              <a:ext cx="2931092" cy="102188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_tradnl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Estudios que evalúan el efecto de </a:t>
              </a:r>
              <a:r>
                <a:rPr kumimoji="0" lang="es-ES_tradnl" sz="14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rosu</a:t>
              </a:r>
              <a:r>
                <a:rPr kumimoji="0" lang="es-ES_tradnl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 vs otros comparadores solo o en combinación en disminución de placa de ateroma</a:t>
              </a:r>
              <a:endParaRPr kumimoji="0" lang="es-ES" sz="14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1" name="CuadroTexto 40">
              <a:extLst>
                <a:ext uri="{FF2B5EF4-FFF2-40B4-BE49-F238E27FC236}">
                  <a16:creationId xmlns:a16="http://schemas.microsoft.com/office/drawing/2014/main" id="{922DB974-1C2C-BE58-4712-5A7A2B76D416}"/>
                </a:ext>
              </a:extLst>
            </p:cNvPr>
            <p:cNvSpPr txBox="1"/>
            <p:nvPr/>
          </p:nvSpPr>
          <p:spPr>
            <a:xfrm>
              <a:off x="6759573" y="2103839"/>
              <a:ext cx="4357992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_tradnl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Tratamiento de la aterosclerosis</a:t>
              </a:r>
              <a:endParaRPr kumimoji="0" lang="es-ES" sz="16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8" name="Rectángulo 7">
            <a:extLst>
              <a:ext uri="{FF2B5EF4-FFF2-40B4-BE49-F238E27FC236}">
                <a16:creationId xmlns:a16="http://schemas.microsoft.com/office/drawing/2014/main" id="{3B3FCDB2-23A1-E625-774C-AA920BAC373F}"/>
              </a:ext>
            </a:extLst>
          </p:cNvPr>
          <p:cNvSpPr/>
          <p:nvPr/>
        </p:nvSpPr>
        <p:spPr>
          <a:xfrm>
            <a:off x="0" y="5334000"/>
            <a:ext cx="2139950" cy="152399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" name="CuadroTexto 2">
            <a:extLst>
              <a:ext uri="{FF2B5EF4-FFF2-40B4-BE49-F238E27FC236}">
                <a16:creationId xmlns:a16="http://schemas.microsoft.com/office/drawing/2014/main" id="{B5746A2F-65CC-FDFB-514F-B932C14550E7}"/>
              </a:ext>
            </a:extLst>
          </p:cNvPr>
          <p:cNvSpPr txBox="1"/>
          <p:nvPr/>
        </p:nvSpPr>
        <p:spPr>
          <a:xfrm>
            <a:off x="508000" y="816115"/>
            <a:ext cx="435799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_tradnl" sz="20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Universo de la evidencia con rosuvastatina: Programa GALAXY</a:t>
            </a:r>
            <a:endParaRPr kumimoji="0" lang="es-ES" sz="200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" name="CuadroTexto 3">
            <a:extLst>
              <a:ext uri="{FF2B5EF4-FFF2-40B4-BE49-F238E27FC236}">
                <a16:creationId xmlns:a16="http://schemas.microsoft.com/office/drawing/2014/main" id="{F41546EB-C3A1-EB02-1BF7-A1F0CAC35AFB}"/>
              </a:ext>
            </a:extLst>
          </p:cNvPr>
          <p:cNvSpPr txBox="1"/>
          <p:nvPr/>
        </p:nvSpPr>
        <p:spPr>
          <a:xfrm>
            <a:off x="5837542" y="754285"/>
            <a:ext cx="5071758" cy="883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_tradnl" sz="16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mplia evidencia en distintos contextos clínicos para disminuir los eventos cardiovasculares, el RCV, la hipercolesterolemia c-LDL y tratar la aterosclerosis.</a:t>
            </a:r>
            <a:endParaRPr kumimoji="0" lang="es-ES" sz="16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9" name="Picture 2" descr="Ocupació | ALMIRALL">
            <a:extLst>
              <a:ext uri="{FF2B5EF4-FFF2-40B4-BE49-F238E27FC236}">
                <a16:creationId xmlns:a16="http://schemas.microsoft.com/office/drawing/2014/main" id="{85C25494-B44E-757E-29EB-6B5306C691E6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0384" r="74873" b="18548"/>
          <a:stretch>
            <a:fillRect/>
          </a:stretch>
        </p:blipFill>
        <p:spPr bwMode="auto">
          <a:xfrm>
            <a:off x="116665" y="4549403"/>
            <a:ext cx="1091254" cy="16545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2" descr="Ocupació | ALMIRALL">
            <a:extLst>
              <a:ext uri="{FF2B5EF4-FFF2-40B4-BE49-F238E27FC236}">
                <a16:creationId xmlns:a16="http://schemas.microsoft.com/office/drawing/2014/main" id="{4E11ABCB-26FB-1368-6C80-1A0D52154B1F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0384" r="74873" b="18548"/>
          <a:stretch>
            <a:fillRect/>
          </a:stretch>
        </p:blipFill>
        <p:spPr bwMode="auto">
          <a:xfrm>
            <a:off x="10980096" y="81214"/>
            <a:ext cx="1091254" cy="16545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CuadroTexto 11">
            <a:extLst>
              <a:ext uri="{FF2B5EF4-FFF2-40B4-BE49-F238E27FC236}">
                <a16:creationId xmlns:a16="http://schemas.microsoft.com/office/drawing/2014/main" id="{86F4B722-753C-C6F8-43D7-066D27189FCA}"/>
              </a:ext>
            </a:extLst>
          </p:cNvPr>
          <p:cNvSpPr txBox="1"/>
          <p:nvPr/>
        </p:nvSpPr>
        <p:spPr>
          <a:xfrm>
            <a:off x="1069975" y="6208836"/>
            <a:ext cx="29972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_tradnl" sz="8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tros estudios con </a:t>
            </a:r>
            <a:r>
              <a:rPr kumimoji="0" lang="es-ES_tradnl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restor</a:t>
            </a:r>
            <a:r>
              <a:rPr kumimoji="0" lang="es-ES_tradnl" sz="8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: HOPE-3, SPACE-ROCKET… Expert </a:t>
            </a:r>
            <a:r>
              <a:rPr kumimoji="0" lang="es-ES_tradnl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v</a:t>
            </a:r>
            <a:r>
              <a:rPr kumimoji="0" lang="es-ES_tradnl" sz="8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s-ES_tradnl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ardiovasc</a:t>
            </a:r>
            <a:r>
              <a:rPr kumimoji="0" lang="es-ES_tradnl" sz="8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s-ES_tradnl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her</a:t>
            </a:r>
            <a:r>
              <a:rPr kumimoji="0" lang="es-ES_tradnl" sz="8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. 2007 Mar;5(2):177-93. doi:10.1586/14779072.5.2177.</a:t>
            </a:r>
            <a:endParaRPr kumimoji="0" lang="es-ES" sz="8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36" name="Picture 2">
            <a:extLst>
              <a:ext uri="{FF2B5EF4-FFF2-40B4-BE49-F238E27FC236}">
                <a16:creationId xmlns:a16="http://schemas.microsoft.com/office/drawing/2014/main" id="{F999CC66-D1FA-2748-C697-62A10D6FE98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70535" y="2195603"/>
            <a:ext cx="6924609" cy="39081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33" name="Grupo 32">
            <a:extLst>
              <a:ext uri="{FF2B5EF4-FFF2-40B4-BE49-F238E27FC236}">
                <a16:creationId xmlns:a16="http://schemas.microsoft.com/office/drawing/2014/main" id="{FECADE8C-B2CD-E234-71ED-6C052D559418}"/>
              </a:ext>
            </a:extLst>
          </p:cNvPr>
          <p:cNvGrpSpPr/>
          <p:nvPr/>
        </p:nvGrpSpPr>
        <p:grpSpPr>
          <a:xfrm>
            <a:off x="0" y="1"/>
            <a:ext cx="3435350" cy="654050"/>
            <a:chOff x="1207919" y="3436464"/>
            <a:chExt cx="3435350" cy="654050"/>
          </a:xfrm>
        </p:grpSpPr>
        <p:sp>
          <p:nvSpPr>
            <p:cNvPr id="34" name="Rectángulo: una sola esquina redondeada 33">
              <a:extLst>
                <a:ext uri="{FF2B5EF4-FFF2-40B4-BE49-F238E27FC236}">
                  <a16:creationId xmlns:a16="http://schemas.microsoft.com/office/drawing/2014/main" id="{A47869D6-6865-F70D-DFAF-5455991764FE}"/>
                </a:ext>
              </a:extLst>
            </p:cNvPr>
            <p:cNvSpPr/>
            <p:nvPr/>
          </p:nvSpPr>
          <p:spPr>
            <a:xfrm rot="10800000" flipH="1">
              <a:off x="1207919" y="3436464"/>
              <a:ext cx="3435350" cy="654050"/>
            </a:xfrm>
            <a:prstGeom prst="round1Rect">
              <a:avLst>
                <a:gd name="adj" fmla="val 50000"/>
              </a:avLst>
            </a:prstGeom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>
              <a:normAutofit/>
            </a:bodyPr>
            <a:lstStyle/>
            <a:p>
              <a:pPr marL="0" marR="0" lvl="0" indent="0" algn="l" defTabSz="1219139" rtl="0" eaLnBrk="1" fontAlgn="auto" latinLnBrk="0" hangingPunct="1">
                <a:lnSpc>
                  <a:spcPct val="90000"/>
                </a:lnSpc>
                <a:spcBef>
                  <a:spcPts val="1333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2933" b="1" i="0" u="none" strike="noStrike" kern="1200" cap="none" spc="0" normalizeH="0" baseline="0" noProof="0" dirty="0">
                <a:ln>
                  <a:noFill/>
                </a:ln>
                <a:solidFill>
                  <a:srgbClr val="00F0BE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35" name="CuadroTexto 34">
              <a:extLst>
                <a:ext uri="{FF2B5EF4-FFF2-40B4-BE49-F238E27FC236}">
                  <a16:creationId xmlns:a16="http://schemas.microsoft.com/office/drawing/2014/main" id="{D63F167E-B9FD-EF14-7D09-03CDE0BA0A9A}"/>
                </a:ext>
              </a:extLst>
            </p:cNvPr>
            <p:cNvSpPr txBox="1"/>
            <p:nvPr/>
          </p:nvSpPr>
          <p:spPr>
            <a:xfrm>
              <a:off x="1293813" y="3510354"/>
              <a:ext cx="2998787" cy="49853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l" defTabSz="1219139" rtl="0" eaLnBrk="1" fontAlgn="auto" latinLnBrk="0" hangingPunct="1">
                <a:lnSpc>
                  <a:spcPct val="90000"/>
                </a:lnSpc>
                <a:spcBef>
                  <a:spcPts val="1333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" sz="2933" b="1" i="0" u="none" strike="noStrike" kern="1200" cap="none" spc="0" normalizeH="0" baseline="0" noProof="0" dirty="0">
                  <a:ln>
                    <a:noFill/>
                  </a:ln>
                  <a:solidFill>
                    <a:srgbClr val="00F0BE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rPr>
                <a:t>Valor de marca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980358209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F2E15D6-7BE0-EFED-3F7C-6D201E1E5DC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64385" name="Object 1153" hidden="1">
            <a:extLst>
              <a:ext uri="{FF2B5EF4-FFF2-40B4-BE49-F238E27FC236}">
                <a16:creationId xmlns:a16="http://schemas.microsoft.com/office/drawing/2014/main" id="{5F50C7DF-1695-EBB3-3611-66711B221F1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5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864385" name="Object 1153" hidden="1">
                        <a:extLst>
                          <a:ext uri="{FF2B5EF4-FFF2-40B4-BE49-F238E27FC236}">
                            <a16:creationId xmlns:a16="http://schemas.microsoft.com/office/drawing/2014/main" id="{5F50C7DF-1695-EBB3-3611-66711B221F18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5589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09E3B79-760D-B1F4-9B94-B8892FB357DA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524001" y="1"/>
            <a:ext cx="158751" cy="15875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anchor="ctr" anchorCtr="0">
            <a:noAutofit/>
          </a:bodyPr>
          <a:lstStyle/>
          <a:p>
            <a:pPr marL="0" marR="0" lvl="0" indent="0" algn="ctr" defTabSz="914377" rtl="0" eaLnBrk="1" fontAlgn="base" latinLnBrk="0" hangingPunct="1">
              <a:lnSpc>
                <a:spcPts val="3551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56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grpSp>
        <p:nvGrpSpPr>
          <p:cNvPr id="2" name="Grupo 1">
            <a:extLst>
              <a:ext uri="{FF2B5EF4-FFF2-40B4-BE49-F238E27FC236}">
                <a16:creationId xmlns:a16="http://schemas.microsoft.com/office/drawing/2014/main" id="{C76C0EAC-0992-29FA-6EEC-D245B4B337C5}"/>
              </a:ext>
            </a:extLst>
          </p:cNvPr>
          <p:cNvGrpSpPr/>
          <p:nvPr/>
        </p:nvGrpSpPr>
        <p:grpSpPr>
          <a:xfrm>
            <a:off x="-8330" y="0"/>
            <a:ext cx="12192000" cy="6858000"/>
            <a:chOff x="3329" y="0"/>
            <a:chExt cx="9144000" cy="5143500"/>
          </a:xfrm>
        </p:grpSpPr>
        <p:pic>
          <p:nvPicPr>
            <p:cNvPr id="7" name="Imagen 6" descr="Imagen que contiene persona, hombre, azul, sostener&#10;&#10;Descripción generada automáticamente">
              <a:extLst>
                <a:ext uri="{FF2B5EF4-FFF2-40B4-BE49-F238E27FC236}">
                  <a16:creationId xmlns:a16="http://schemas.microsoft.com/office/drawing/2014/main" id="{37C59494-DD1E-FD3F-C0FE-93CAC62D3E70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3329" y="0"/>
              <a:ext cx="9144000" cy="5143500"/>
            </a:xfrm>
            <a:prstGeom prst="rect">
              <a:avLst/>
            </a:prstGeom>
          </p:spPr>
        </p:pic>
        <p:grpSp>
          <p:nvGrpSpPr>
            <p:cNvPr id="5" name="Grupo 4">
              <a:extLst>
                <a:ext uri="{FF2B5EF4-FFF2-40B4-BE49-F238E27FC236}">
                  <a16:creationId xmlns:a16="http://schemas.microsoft.com/office/drawing/2014/main" id="{AD1ADEF5-BE7B-3A02-D46C-327F9AA435F5}"/>
                </a:ext>
              </a:extLst>
            </p:cNvPr>
            <p:cNvGrpSpPr/>
            <p:nvPr/>
          </p:nvGrpSpPr>
          <p:grpSpPr>
            <a:xfrm>
              <a:off x="483338" y="574159"/>
              <a:ext cx="1334830" cy="413518"/>
              <a:chOff x="7785861" y="4639396"/>
              <a:chExt cx="1111660" cy="344382"/>
            </a:xfrm>
          </p:grpSpPr>
          <p:sp>
            <p:nvSpPr>
              <p:cNvPr id="11" name="Forma libre 10">
                <a:extLst>
                  <a:ext uri="{FF2B5EF4-FFF2-40B4-BE49-F238E27FC236}">
                    <a16:creationId xmlns:a16="http://schemas.microsoft.com/office/drawing/2014/main" id="{CE44BE49-8349-2FA3-A93E-B99D50294575}"/>
                  </a:ext>
                </a:extLst>
              </p:cNvPr>
              <p:cNvSpPr/>
              <p:nvPr/>
            </p:nvSpPr>
            <p:spPr>
              <a:xfrm>
                <a:off x="7785861" y="4639396"/>
                <a:ext cx="256158" cy="344382"/>
              </a:xfrm>
              <a:custGeom>
                <a:avLst/>
                <a:gdLst>
                  <a:gd name="connsiteX0" fmla="*/ 107295 w 139455"/>
                  <a:gd name="connsiteY0" fmla="*/ 11790 h 187485"/>
                  <a:gd name="connsiteX1" fmla="*/ 107295 w 139455"/>
                  <a:gd name="connsiteY1" fmla="*/ 0 h 187485"/>
                  <a:gd name="connsiteX2" fmla="*/ 46294 w 139455"/>
                  <a:gd name="connsiteY2" fmla="*/ 32046 h 187485"/>
                  <a:gd name="connsiteX3" fmla="*/ 39296 w 139455"/>
                  <a:gd name="connsiteY3" fmla="*/ 43610 h 187485"/>
                  <a:gd name="connsiteX4" fmla="*/ 39296 w 139455"/>
                  <a:gd name="connsiteY4" fmla="*/ 55400 h 187485"/>
                  <a:gd name="connsiteX5" fmla="*/ 100310 w 139455"/>
                  <a:gd name="connsiteY5" fmla="*/ 23353 h 187485"/>
                  <a:gd name="connsiteX6" fmla="*/ 107295 w 139455"/>
                  <a:gd name="connsiteY6" fmla="*/ 11790 h 187485"/>
                  <a:gd name="connsiteX7" fmla="*/ 107466 w 139455"/>
                  <a:gd name="connsiteY7" fmla="*/ 39279 h 187485"/>
                  <a:gd name="connsiteX8" fmla="*/ 46459 w 139455"/>
                  <a:gd name="connsiteY8" fmla="*/ 71325 h 187485"/>
                  <a:gd name="connsiteX9" fmla="*/ 39466 w 139455"/>
                  <a:gd name="connsiteY9" fmla="*/ 82889 h 187485"/>
                  <a:gd name="connsiteX10" fmla="*/ 39466 w 139455"/>
                  <a:gd name="connsiteY10" fmla="*/ 94678 h 187485"/>
                  <a:gd name="connsiteX11" fmla="*/ 100475 w 139455"/>
                  <a:gd name="connsiteY11" fmla="*/ 62638 h 187485"/>
                  <a:gd name="connsiteX12" fmla="*/ 107466 w 139455"/>
                  <a:gd name="connsiteY12" fmla="*/ 51069 h 187485"/>
                  <a:gd name="connsiteX13" fmla="*/ 107466 w 139455"/>
                  <a:gd name="connsiteY13" fmla="*/ 39279 h 187485"/>
                  <a:gd name="connsiteX14" fmla="*/ 39466 w 139455"/>
                  <a:gd name="connsiteY14" fmla="*/ 122167 h 187485"/>
                  <a:gd name="connsiteX15" fmla="*/ 39466 w 139455"/>
                  <a:gd name="connsiteY15" fmla="*/ 133951 h 187485"/>
                  <a:gd name="connsiteX16" fmla="*/ 100475 w 139455"/>
                  <a:gd name="connsiteY16" fmla="*/ 101905 h 187485"/>
                  <a:gd name="connsiteX17" fmla="*/ 107466 w 139455"/>
                  <a:gd name="connsiteY17" fmla="*/ 90347 h 187485"/>
                  <a:gd name="connsiteX18" fmla="*/ 107466 w 139455"/>
                  <a:gd name="connsiteY18" fmla="*/ 78558 h 187485"/>
                  <a:gd name="connsiteX19" fmla="*/ 46459 w 139455"/>
                  <a:gd name="connsiteY19" fmla="*/ 110598 h 187485"/>
                  <a:gd name="connsiteX20" fmla="*/ 39466 w 139455"/>
                  <a:gd name="connsiteY20" fmla="*/ 122167 h 187485"/>
                  <a:gd name="connsiteX21" fmla="*/ 135911 w 139455"/>
                  <a:gd name="connsiteY21" fmla="*/ 95809 h 187485"/>
                  <a:gd name="connsiteX22" fmla="*/ 133008 w 139455"/>
                  <a:gd name="connsiteY22" fmla="*/ 94672 h 187485"/>
                  <a:gd name="connsiteX23" fmla="*/ 121920 w 139455"/>
                  <a:gd name="connsiteY23" fmla="*/ 100488 h 187485"/>
                  <a:gd name="connsiteX24" fmla="*/ 120729 w 139455"/>
                  <a:gd name="connsiteY24" fmla="*/ 103347 h 187485"/>
                  <a:gd name="connsiteX25" fmla="*/ 122428 w 139455"/>
                  <a:gd name="connsiteY25" fmla="*/ 123475 h 187485"/>
                  <a:gd name="connsiteX26" fmla="*/ 73087 w 139455"/>
                  <a:gd name="connsiteY26" fmla="*/ 170658 h 187485"/>
                  <a:gd name="connsiteX27" fmla="*/ 16725 w 139455"/>
                  <a:gd name="connsiteY27" fmla="*/ 117788 h 187485"/>
                  <a:gd name="connsiteX28" fmla="*/ 24499 w 139455"/>
                  <a:gd name="connsiteY28" fmla="*/ 90170 h 187485"/>
                  <a:gd name="connsiteX29" fmla="*/ 24602 w 139455"/>
                  <a:gd name="connsiteY29" fmla="*/ 87171 h 187485"/>
                  <a:gd name="connsiteX30" fmla="*/ 18094 w 139455"/>
                  <a:gd name="connsiteY30" fmla="*/ 75345 h 187485"/>
                  <a:gd name="connsiteX31" fmla="*/ 14640 w 139455"/>
                  <a:gd name="connsiteY31" fmla="*/ 75088 h 187485"/>
                  <a:gd name="connsiteX32" fmla="*/ 94 w 139455"/>
                  <a:gd name="connsiteY32" fmla="*/ 121483 h 187485"/>
                  <a:gd name="connsiteX33" fmla="*/ 66994 w 139455"/>
                  <a:gd name="connsiteY33" fmla="*/ 187433 h 187485"/>
                  <a:gd name="connsiteX34" fmla="*/ 139455 w 139455"/>
                  <a:gd name="connsiteY34" fmla="*/ 117794 h 187485"/>
                  <a:gd name="connsiteX35" fmla="*/ 135911 w 139455"/>
                  <a:gd name="connsiteY35" fmla="*/ 95809 h 1874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</a:cxnLst>
                <a:rect l="l" t="t" r="r" b="b"/>
                <a:pathLst>
                  <a:path w="139455" h="187485">
                    <a:moveTo>
                      <a:pt x="107295" y="11790"/>
                    </a:moveTo>
                    <a:lnTo>
                      <a:pt x="107295" y="0"/>
                    </a:lnTo>
                    <a:lnTo>
                      <a:pt x="46294" y="32046"/>
                    </a:lnTo>
                    <a:cubicBezTo>
                      <a:pt x="41997" y="34300"/>
                      <a:pt x="39296" y="38760"/>
                      <a:pt x="39296" y="43610"/>
                    </a:cubicBezTo>
                    <a:lnTo>
                      <a:pt x="39296" y="55400"/>
                    </a:lnTo>
                    <a:lnTo>
                      <a:pt x="100310" y="23353"/>
                    </a:lnTo>
                    <a:cubicBezTo>
                      <a:pt x="104612" y="21093"/>
                      <a:pt x="107295" y="16640"/>
                      <a:pt x="107295" y="11790"/>
                    </a:cubicBezTo>
                    <a:moveTo>
                      <a:pt x="107466" y="39279"/>
                    </a:moveTo>
                    <a:lnTo>
                      <a:pt x="46459" y="71325"/>
                    </a:lnTo>
                    <a:cubicBezTo>
                      <a:pt x="42168" y="73585"/>
                      <a:pt x="39466" y="78038"/>
                      <a:pt x="39466" y="82889"/>
                    </a:cubicBezTo>
                    <a:lnTo>
                      <a:pt x="39466" y="94678"/>
                    </a:lnTo>
                    <a:lnTo>
                      <a:pt x="100475" y="62638"/>
                    </a:lnTo>
                    <a:cubicBezTo>
                      <a:pt x="104771" y="60378"/>
                      <a:pt x="107466" y="55919"/>
                      <a:pt x="107466" y="51069"/>
                    </a:cubicBezTo>
                    <a:lnTo>
                      <a:pt x="107466" y="39279"/>
                    </a:lnTo>
                    <a:close/>
                    <a:moveTo>
                      <a:pt x="39466" y="122167"/>
                    </a:moveTo>
                    <a:lnTo>
                      <a:pt x="39466" y="133951"/>
                    </a:lnTo>
                    <a:lnTo>
                      <a:pt x="100475" y="101905"/>
                    </a:lnTo>
                    <a:cubicBezTo>
                      <a:pt x="104771" y="99651"/>
                      <a:pt x="107466" y="95198"/>
                      <a:pt x="107466" y="90347"/>
                    </a:cubicBezTo>
                    <a:lnTo>
                      <a:pt x="107466" y="78558"/>
                    </a:lnTo>
                    <a:lnTo>
                      <a:pt x="46459" y="110598"/>
                    </a:lnTo>
                    <a:cubicBezTo>
                      <a:pt x="42162" y="112864"/>
                      <a:pt x="39466" y="117317"/>
                      <a:pt x="39466" y="122167"/>
                    </a:cubicBezTo>
                    <a:moveTo>
                      <a:pt x="135911" y="95809"/>
                    </a:moveTo>
                    <a:cubicBezTo>
                      <a:pt x="135520" y="94617"/>
                      <a:pt x="134126" y="94086"/>
                      <a:pt x="133008" y="94672"/>
                    </a:cubicBezTo>
                    <a:lnTo>
                      <a:pt x="121920" y="100488"/>
                    </a:lnTo>
                    <a:cubicBezTo>
                      <a:pt x="120888" y="101038"/>
                      <a:pt x="120411" y="102223"/>
                      <a:pt x="120729" y="103347"/>
                    </a:cubicBezTo>
                    <a:cubicBezTo>
                      <a:pt x="122514" y="109651"/>
                      <a:pt x="123174" y="116438"/>
                      <a:pt x="122428" y="123475"/>
                    </a:cubicBezTo>
                    <a:cubicBezTo>
                      <a:pt x="119739" y="148942"/>
                      <a:pt x="98653" y="169082"/>
                      <a:pt x="73087" y="170658"/>
                    </a:cubicBezTo>
                    <a:cubicBezTo>
                      <a:pt x="42290" y="172564"/>
                      <a:pt x="16725" y="148154"/>
                      <a:pt x="16725" y="117788"/>
                    </a:cubicBezTo>
                    <a:cubicBezTo>
                      <a:pt x="16725" y="107665"/>
                      <a:pt x="19572" y="98203"/>
                      <a:pt x="24499" y="90170"/>
                    </a:cubicBezTo>
                    <a:cubicBezTo>
                      <a:pt x="25061" y="89248"/>
                      <a:pt x="25116" y="88112"/>
                      <a:pt x="24602" y="87171"/>
                    </a:cubicBezTo>
                    <a:lnTo>
                      <a:pt x="18094" y="75345"/>
                    </a:lnTo>
                    <a:cubicBezTo>
                      <a:pt x="17372" y="74037"/>
                      <a:pt x="15557" y="73915"/>
                      <a:pt x="14640" y="75088"/>
                    </a:cubicBezTo>
                    <a:cubicBezTo>
                      <a:pt x="4782" y="87782"/>
                      <a:pt x="-804" y="103964"/>
                      <a:pt x="94" y="121483"/>
                    </a:cubicBezTo>
                    <a:cubicBezTo>
                      <a:pt x="1953" y="157213"/>
                      <a:pt x="31228" y="186064"/>
                      <a:pt x="66994" y="187433"/>
                    </a:cubicBezTo>
                    <a:cubicBezTo>
                      <a:pt x="106751" y="188953"/>
                      <a:pt x="139455" y="157189"/>
                      <a:pt x="139455" y="117794"/>
                    </a:cubicBezTo>
                    <a:cubicBezTo>
                      <a:pt x="139455" y="110103"/>
                      <a:pt x="138209" y="102711"/>
                      <a:pt x="135911" y="95809"/>
                    </a:cubicBezTo>
                  </a:path>
                </a:pathLst>
              </a:custGeom>
              <a:solidFill>
                <a:schemeClr val="accent2"/>
              </a:solidFill>
              <a:ln w="611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_tradnl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6F6F6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2" name="Forma libre 11">
                <a:extLst>
                  <a:ext uri="{FF2B5EF4-FFF2-40B4-BE49-F238E27FC236}">
                    <a16:creationId xmlns:a16="http://schemas.microsoft.com/office/drawing/2014/main" id="{8F861332-6C1A-1FEC-0FEE-7F9A7FE432A8}"/>
                  </a:ext>
                </a:extLst>
              </p:cNvPr>
              <p:cNvSpPr/>
              <p:nvPr/>
            </p:nvSpPr>
            <p:spPr>
              <a:xfrm>
                <a:off x="8098546" y="4754028"/>
                <a:ext cx="798975" cy="174628"/>
              </a:xfrm>
              <a:custGeom>
                <a:avLst/>
                <a:gdLst>
                  <a:gd name="connsiteX0" fmla="*/ 418218 w 434970"/>
                  <a:gd name="connsiteY0" fmla="*/ 7990 h 95069"/>
                  <a:gd name="connsiteX1" fmla="*/ 418218 w 434970"/>
                  <a:gd name="connsiteY1" fmla="*/ 93781 h 95069"/>
                  <a:gd name="connsiteX2" fmla="*/ 434970 w 434970"/>
                  <a:gd name="connsiteY2" fmla="*/ 93781 h 95069"/>
                  <a:gd name="connsiteX3" fmla="*/ 434970 w 434970"/>
                  <a:gd name="connsiteY3" fmla="*/ 3617 h 95069"/>
                  <a:gd name="connsiteX4" fmla="*/ 418218 w 434970"/>
                  <a:gd name="connsiteY4" fmla="*/ 7990 h 95069"/>
                  <a:gd name="connsiteX5" fmla="*/ 279670 w 434970"/>
                  <a:gd name="connsiteY5" fmla="*/ 37617 h 95069"/>
                  <a:gd name="connsiteX6" fmla="*/ 279670 w 434970"/>
                  <a:gd name="connsiteY6" fmla="*/ 31307 h 95069"/>
                  <a:gd name="connsiteX7" fmla="*/ 263565 w 434970"/>
                  <a:gd name="connsiteY7" fmla="*/ 31307 h 95069"/>
                  <a:gd name="connsiteX8" fmla="*/ 263565 w 434970"/>
                  <a:gd name="connsiteY8" fmla="*/ 93787 h 95069"/>
                  <a:gd name="connsiteX9" fmla="*/ 280306 w 434970"/>
                  <a:gd name="connsiteY9" fmla="*/ 93787 h 95069"/>
                  <a:gd name="connsiteX10" fmla="*/ 280306 w 434970"/>
                  <a:gd name="connsiteY10" fmla="*/ 54490 h 95069"/>
                  <a:gd name="connsiteX11" fmla="*/ 295518 w 434970"/>
                  <a:gd name="connsiteY11" fmla="*/ 45473 h 95069"/>
                  <a:gd name="connsiteX12" fmla="*/ 301575 w 434970"/>
                  <a:gd name="connsiteY12" fmla="*/ 46121 h 95069"/>
                  <a:gd name="connsiteX13" fmla="*/ 303512 w 434970"/>
                  <a:gd name="connsiteY13" fmla="*/ 30525 h 95069"/>
                  <a:gd name="connsiteX14" fmla="*/ 297834 w 434970"/>
                  <a:gd name="connsiteY14" fmla="*/ 30012 h 95069"/>
                  <a:gd name="connsiteX15" fmla="*/ 279670 w 434970"/>
                  <a:gd name="connsiteY15" fmla="*/ 37617 h 95069"/>
                  <a:gd name="connsiteX16" fmla="*/ 353776 w 434970"/>
                  <a:gd name="connsiteY16" fmla="*/ 71881 h 95069"/>
                  <a:gd name="connsiteX17" fmla="*/ 338698 w 434970"/>
                  <a:gd name="connsiteY17" fmla="*/ 79608 h 95069"/>
                  <a:gd name="connsiteX18" fmla="*/ 322196 w 434970"/>
                  <a:gd name="connsiteY18" fmla="*/ 62608 h 95069"/>
                  <a:gd name="connsiteX19" fmla="*/ 338313 w 434970"/>
                  <a:gd name="connsiteY19" fmla="*/ 45473 h 95069"/>
                  <a:gd name="connsiteX20" fmla="*/ 353776 w 434970"/>
                  <a:gd name="connsiteY20" fmla="*/ 53201 h 95069"/>
                  <a:gd name="connsiteX21" fmla="*/ 353776 w 434970"/>
                  <a:gd name="connsiteY21" fmla="*/ 71881 h 95069"/>
                  <a:gd name="connsiteX22" fmla="*/ 354423 w 434970"/>
                  <a:gd name="connsiteY22" fmla="*/ 36328 h 95069"/>
                  <a:gd name="connsiteX23" fmla="*/ 336124 w 434970"/>
                  <a:gd name="connsiteY23" fmla="*/ 30018 h 95069"/>
                  <a:gd name="connsiteX24" fmla="*/ 305443 w 434970"/>
                  <a:gd name="connsiteY24" fmla="*/ 62608 h 95069"/>
                  <a:gd name="connsiteX25" fmla="*/ 313444 w 434970"/>
                  <a:gd name="connsiteY25" fmla="*/ 84508 h 95069"/>
                  <a:gd name="connsiteX26" fmla="*/ 337023 w 434970"/>
                  <a:gd name="connsiteY26" fmla="*/ 95070 h 95069"/>
                  <a:gd name="connsiteX27" fmla="*/ 354423 w 434970"/>
                  <a:gd name="connsiteY27" fmla="*/ 88759 h 95069"/>
                  <a:gd name="connsiteX28" fmla="*/ 354423 w 434970"/>
                  <a:gd name="connsiteY28" fmla="*/ 93781 h 95069"/>
                  <a:gd name="connsiteX29" fmla="*/ 370534 w 434970"/>
                  <a:gd name="connsiteY29" fmla="*/ 93781 h 95069"/>
                  <a:gd name="connsiteX30" fmla="*/ 370534 w 434970"/>
                  <a:gd name="connsiteY30" fmla="*/ 31301 h 95069"/>
                  <a:gd name="connsiteX31" fmla="*/ 354423 w 434970"/>
                  <a:gd name="connsiteY31" fmla="*/ 31301 h 95069"/>
                  <a:gd name="connsiteX32" fmla="*/ 354423 w 434970"/>
                  <a:gd name="connsiteY32" fmla="*/ 36328 h 95069"/>
                  <a:gd name="connsiteX33" fmla="*/ 385997 w 434970"/>
                  <a:gd name="connsiteY33" fmla="*/ 93781 h 95069"/>
                  <a:gd name="connsiteX34" fmla="*/ 402749 w 434970"/>
                  <a:gd name="connsiteY34" fmla="*/ 93781 h 95069"/>
                  <a:gd name="connsiteX35" fmla="*/ 402749 w 434970"/>
                  <a:gd name="connsiteY35" fmla="*/ 3617 h 95069"/>
                  <a:gd name="connsiteX36" fmla="*/ 385997 w 434970"/>
                  <a:gd name="connsiteY36" fmla="*/ 7996 h 95069"/>
                  <a:gd name="connsiteX37" fmla="*/ 385997 w 434970"/>
                  <a:gd name="connsiteY37" fmla="*/ 93781 h 95069"/>
                  <a:gd name="connsiteX38" fmla="*/ 239717 w 434970"/>
                  <a:gd name="connsiteY38" fmla="*/ 0 h 95069"/>
                  <a:gd name="connsiteX39" fmla="*/ 228765 w 434970"/>
                  <a:gd name="connsiteY39" fmla="*/ 10690 h 95069"/>
                  <a:gd name="connsiteX40" fmla="*/ 239717 w 434970"/>
                  <a:gd name="connsiteY40" fmla="*/ 21387 h 95069"/>
                  <a:gd name="connsiteX41" fmla="*/ 250676 w 434970"/>
                  <a:gd name="connsiteY41" fmla="*/ 10690 h 95069"/>
                  <a:gd name="connsiteX42" fmla="*/ 239717 w 434970"/>
                  <a:gd name="connsiteY42" fmla="*/ 0 h 95069"/>
                  <a:gd name="connsiteX43" fmla="*/ 48332 w 434970"/>
                  <a:gd name="connsiteY43" fmla="*/ 71881 h 95069"/>
                  <a:gd name="connsiteX44" fmla="*/ 33248 w 434970"/>
                  <a:gd name="connsiteY44" fmla="*/ 79608 h 95069"/>
                  <a:gd name="connsiteX45" fmla="*/ 16752 w 434970"/>
                  <a:gd name="connsiteY45" fmla="*/ 62608 h 95069"/>
                  <a:gd name="connsiteX46" fmla="*/ 32870 w 434970"/>
                  <a:gd name="connsiteY46" fmla="*/ 45473 h 95069"/>
                  <a:gd name="connsiteX47" fmla="*/ 48332 w 434970"/>
                  <a:gd name="connsiteY47" fmla="*/ 53201 h 95069"/>
                  <a:gd name="connsiteX48" fmla="*/ 48332 w 434970"/>
                  <a:gd name="connsiteY48" fmla="*/ 71881 h 95069"/>
                  <a:gd name="connsiteX49" fmla="*/ 48973 w 434970"/>
                  <a:gd name="connsiteY49" fmla="*/ 36328 h 95069"/>
                  <a:gd name="connsiteX50" fmla="*/ 30675 w 434970"/>
                  <a:gd name="connsiteY50" fmla="*/ 30018 h 95069"/>
                  <a:gd name="connsiteX51" fmla="*/ 0 w 434970"/>
                  <a:gd name="connsiteY51" fmla="*/ 62608 h 95069"/>
                  <a:gd name="connsiteX52" fmla="*/ 7988 w 434970"/>
                  <a:gd name="connsiteY52" fmla="*/ 84508 h 95069"/>
                  <a:gd name="connsiteX53" fmla="*/ 31574 w 434970"/>
                  <a:gd name="connsiteY53" fmla="*/ 95070 h 95069"/>
                  <a:gd name="connsiteX54" fmla="*/ 48973 w 434970"/>
                  <a:gd name="connsiteY54" fmla="*/ 88759 h 95069"/>
                  <a:gd name="connsiteX55" fmla="*/ 48973 w 434970"/>
                  <a:gd name="connsiteY55" fmla="*/ 93781 h 95069"/>
                  <a:gd name="connsiteX56" fmla="*/ 65085 w 434970"/>
                  <a:gd name="connsiteY56" fmla="*/ 93781 h 95069"/>
                  <a:gd name="connsiteX57" fmla="*/ 65085 w 434970"/>
                  <a:gd name="connsiteY57" fmla="*/ 31301 h 95069"/>
                  <a:gd name="connsiteX58" fmla="*/ 48973 w 434970"/>
                  <a:gd name="connsiteY58" fmla="*/ 31301 h 95069"/>
                  <a:gd name="connsiteX59" fmla="*/ 48973 w 434970"/>
                  <a:gd name="connsiteY59" fmla="*/ 36328 h 95069"/>
                  <a:gd name="connsiteX60" fmla="*/ 80547 w 434970"/>
                  <a:gd name="connsiteY60" fmla="*/ 93781 h 95069"/>
                  <a:gd name="connsiteX61" fmla="*/ 97306 w 434970"/>
                  <a:gd name="connsiteY61" fmla="*/ 93781 h 95069"/>
                  <a:gd name="connsiteX62" fmla="*/ 97306 w 434970"/>
                  <a:gd name="connsiteY62" fmla="*/ 3617 h 95069"/>
                  <a:gd name="connsiteX63" fmla="*/ 80547 w 434970"/>
                  <a:gd name="connsiteY63" fmla="*/ 7996 h 95069"/>
                  <a:gd name="connsiteX64" fmla="*/ 80547 w 434970"/>
                  <a:gd name="connsiteY64" fmla="*/ 93781 h 95069"/>
                  <a:gd name="connsiteX65" fmla="*/ 188934 w 434970"/>
                  <a:gd name="connsiteY65" fmla="*/ 30012 h 95069"/>
                  <a:gd name="connsiteX66" fmla="*/ 166767 w 434970"/>
                  <a:gd name="connsiteY66" fmla="*/ 39810 h 95069"/>
                  <a:gd name="connsiteX67" fmla="*/ 145760 w 434970"/>
                  <a:gd name="connsiteY67" fmla="*/ 30012 h 95069"/>
                  <a:gd name="connsiteX68" fmla="*/ 128874 w 434970"/>
                  <a:gd name="connsiteY68" fmla="*/ 36328 h 95069"/>
                  <a:gd name="connsiteX69" fmla="*/ 128874 w 434970"/>
                  <a:gd name="connsiteY69" fmla="*/ 31307 h 95069"/>
                  <a:gd name="connsiteX70" fmla="*/ 112756 w 434970"/>
                  <a:gd name="connsiteY70" fmla="*/ 31307 h 95069"/>
                  <a:gd name="connsiteX71" fmla="*/ 112756 w 434970"/>
                  <a:gd name="connsiteY71" fmla="*/ 93787 h 95069"/>
                  <a:gd name="connsiteX72" fmla="*/ 129515 w 434970"/>
                  <a:gd name="connsiteY72" fmla="*/ 93787 h 95069"/>
                  <a:gd name="connsiteX73" fmla="*/ 129515 w 434970"/>
                  <a:gd name="connsiteY73" fmla="*/ 53201 h 95069"/>
                  <a:gd name="connsiteX74" fmla="*/ 144079 w 434970"/>
                  <a:gd name="connsiteY74" fmla="*/ 45473 h 95069"/>
                  <a:gd name="connsiteX75" fmla="*/ 153486 w 434970"/>
                  <a:gd name="connsiteY75" fmla="*/ 49340 h 95069"/>
                  <a:gd name="connsiteX76" fmla="*/ 156578 w 434970"/>
                  <a:gd name="connsiteY76" fmla="*/ 60030 h 95069"/>
                  <a:gd name="connsiteX77" fmla="*/ 156578 w 434970"/>
                  <a:gd name="connsiteY77" fmla="*/ 93781 h 95069"/>
                  <a:gd name="connsiteX78" fmla="*/ 173331 w 434970"/>
                  <a:gd name="connsiteY78" fmla="*/ 93781 h 95069"/>
                  <a:gd name="connsiteX79" fmla="*/ 173331 w 434970"/>
                  <a:gd name="connsiteY79" fmla="*/ 60678 h 95069"/>
                  <a:gd name="connsiteX80" fmla="*/ 172817 w 434970"/>
                  <a:gd name="connsiteY80" fmla="*/ 53714 h 95069"/>
                  <a:gd name="connsiteX81" fmla="*/ 187901 w 434970"/>
                  <a:gd name="connsiteY81" fmla="*/ 45467 h 95069"/>
                  <a:gd name="connsiteX82" fmla="*/ 197307 w 434970"/>
                  <a:gd name="connsiteY82" fmla="*/ 49334 h 95069"/>
                  <a:gd name="connsiteX83" fmla="*/ 200406 w 434970"/>
                  <a:gd name="connsiteY83" fmla="*/ 60024 h 95069"/>
                  <a:gd name="connsiteX84" fmla="*/ 200406 w 434970"/>
                  <a:gd name="connsiteY84" fmla="*/ 93774 h 95069"/>
                  <a:gd name="connsiteX85" fmla="*/ 217152 w 434970"/>
                  <a:gd name="connsiteY85" fmla="*/ 93774 h 95069"/>
                  <a:gd name="connsiteX86" fmla="*/ 217152 w 434970"/>
                  <a:gd name="connsiteY86" fmla="*/ 60671 h 95069"/>
                  <a:gd name="connsiteX87" fmla="*/ 210845 w 434970"/>
                  <a:gd name="connsiteY87" fmla="*/ 40055 h 95069"/>
                  <a:gd name="connsiteX88" fmla="*/ 188934 w 434970"/>
                  <a:gd name="connsiteY88" fmla="*/ 30012 h 95069"/>
                  <a:gd name="connsiteX89" fmla="*/ 231344 w 434970"/>
                  <a:gd name="connsiteY89" fmla="*/ 93781 h 95069"/>
                  <a:gd name="connsiteX90" fmla="*/ 248096 w 434970"/>
                  <a:gd name="connsiteY90" fmla="*/ 93781 h 95069"/>
                  <a:gd name="connsiteX91" fmla="*/ 248096 w 434970"/>
                  <a:gd name="connsiteY91" fmla="*/ 31301 h 95069"/>
                  <a:gd name="connsiteX92" fmla="*/ 231344 w 434970"/>
                  <a:gd name="connsiteY92" fmla="*/ 31301 h 95069"/>
                  <a:gd name="connsiteX93" fmla="*/ 231344 w 434970"/>
                  <a:gd name="connsiteY93" fmla="*/ 93781 h 950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</a:cxnLst>
                <a:rect l="l" t="t" r="r" b="b"/>
                <a:pathLst>
                  <a:path w="434970" h="95069">
                    <a:moveTo>
                      <a:pt x="418218" y="7990"/>
                    </a:moveTo>
                    <a:lnTo>
                      <a:pt x="418218" y="93781"/>
                    </a:lnTo>
                    <a:lnTo>
                      <a:pt x="434970" y="93781"/>
                    </a:lnTo>
                    <a:lnTo>
                      <a:pt x="434970" y="3617"/>
                    </a:lnTo>
                    <a:lnTo>
                      <a:pt x="418218" y="7990"/>
                    </a:lnTo>
                    <a:close/>
                    <a:moveTo>
                      <a:pt x="279670" y="37617"/>
                    </a:moveTo>
                    <a:lnTo>
                      <a:pt x="279670" y="31307"/>
                    </a:lnTo>
                    <a:lnTo>
                      <a:pt x="263565" y="31307"/>
                    </a:lnTo>
                    <a:lnTo>
                      <a:pt x="263565" y="93787"/>
                    </a:lnTo>
                    <a:lnTo>
                      <a:pt x="280306" y="93787"/>
                    </a:lnTo>
                    <a:lnTo>
                      <a:pt x="280306" y="54490"/>
                    </a:lnTo>
                    <a:cubicBezTo>
                      <a:pt x="282365" y="50763"/>
                      <a:pt x="288172" y="45473"/>
                      <a:pt x="295518" y="45473"/>
                    </a:cubicBezTo>
                    <a:cubicBezTo>
                      <a:pt x="297962" y="45473"/>
                      <a:pt x="300413" y="45736"/>
                      <a:pt x="301575" y="46121"/>
                    </a:cubicBezTo>
                    <a:lnTo>
                      <a:pt x="303512" y="30525"/>
                    </a:lnTo>
                    <a:cubicBezTo>
                      <a:pt x="301697" y="30269"/>
                      <a:pt x="300285" y="30012"/>
                      <a:pt x="297834" y="30012"/>
                    </a:cubicBezTo>
                    <a:cubicBezTo>
                      <a:pt x="290237" y="30018"/>
                      <a:pt x="283404" y="32981"/>
                      <a:pt x="279670" y="37617"/>
                    </a:cubicBezTo>
                    <a:moveTo>
                      <a:pt x="353776" y="71881"/>
                    </a:moveTo>
                    <a:cubicBezTo>
                      <a:pt x="350555" y="76517"/>
                      <a:pt x="345005" y="79608"/>
                      <a:pt x="338698" y="79608"/>
                    </a:cubicBezTo>
                    <a:cubicBezTo>
                      <a:pt x="329285" y="79608"/>
                      <a:pt x="322196" y="72394"/>
                      <a:pt x="322196" y="62608"/>
                    </a:cubicBezTo>
                    <a:cubicBezTo>
                      <a:pt x="322196" y="53591"/>
                      <a:pt x="328515" y="45473"/>
                      <a:pt x="338313" y="45473"/>
                    </a:cubicBezTo>
                    <a:cubicBezTo>
                      <a:pt x="344754" y="45473"/>
                      <a:pt x="350297" y="48564"/>
                      <a:pt x="353776" y="53201"/>
                    </a:cubicBezTo>
                    <a:lnTo>
                      <a:pt x="353776" y="71881"/>
                    </a:lnTo>
                    <a:close/>
                    <a:moveTo>
                      <a:pt x="354423" y="36328"/>
                    </a:moveTo>
                    <a:cubicBezTo>
                      <a:pt x="349522" y="32333"/>
                      <a:pt x="343208" y="30018"/>
                      <a:pt x="336124" y="30018"/>
                    </a:cubicBezTo>
                    <a:cubicBezTo>
                      <a:pt x="319110" y="30018"/>
                      <a:pt x="305443" y="44184"/>
                      <a:pt x="305443" y="62608"/>
                    </a:cubicBezTo>
                    <a:cubicBezTo>
                      <a:pt x="305443" y="71117"/>
                      <a:pt x="308536" y="78839"/>
                      <a:pt x="313444" y="84508"/>
                    </a:cubicBezTo>
                    <a:cubicBezTo>
                      <a:pt x="318974" y="90952"/>
                      <a:pt x="327751" y="95070"/>
                      <a:pt x="337023" y="95070"/>
                    </a:cubicBezTo>
                    <a:cubicBezTo>
                      <a:pt x="343337" y="95070"/>
                      <a:pt x="349265" y="93139"/>
                      <a:pt x="354423" y="88759"/>
                    </a:cubicBezTo>
                    <a:lnTo>
                      <a:pt x="354423" y="93781"/>
                    </a:lnTo>
                    <a:lnTo>
                      <a:pt x="370534" y="93781"/>
                    </a:lnTo>
                    <a:lnTo>
                      <a:pt x="370534" y="31301"/>
                    </a:lnTo>
                    <a:lnTo>
                      <a:pt x="354423" y="31301"/>
                    </a:lnTo>
                    <a:lnTo>
                      <a:pt x="354423" y="36328"/>
                    </a:lnTo>
                    <a:close/>
                    <a:moveTo>
                      <a:pt x="385997" y="93781"/>
                    </a:moveTo>
                    <a:lnTo>
                      <a:pt x="402749" y="93781"/>
                    </a:lnTo>
                    <a:lnTo>
                      <a:pt x="402749" y="3617"/>
                    </a:lnTo>
                    <a:lnTo>
                      <a:pt x="385997" y="7996"/>
                    </a:lnTo>
                    <a:lnTo>
                      <a:pt x="385997" y="93781"/>
                    </a:lnTo>
                    <a:close/>
                    <a:moveTo>
                      <a:pt x="239717" y="0"/>
                    </a:moveTo>
                    <a:cubicBezTo>
                      <a:pt x="233660" y="0"/>
                      <a:pt x="228765" y="4643"/>
                      <a:pt x="228765" y="10690"/>
                    </a:cubicBezTo>
                    <a:cubicBezTo>
                      <a:pt x="228765" y="16750"/>
                      <a:pt x="233660" y="21387"/>
                      <a:pt x="239717" y="21387"/>
                    </a:cubicBezTo>
                    <a:cubicBezTo>
                      <a:pt x="245774" y="21387"/>
                      <a:pt x="250676" y="16750"/>
                      <a:pt x="250676" y="10690"/>
                    </a:cubicBezTo>
                    <a:cubicBezTo>
                      <a:pt x="250676" y="4643"/>
                      <a:pt x="245774" y="0"/>
                      <a:pt x="239717" y="0"/>
                    </a:cubicBezTo>
                    <a:moveTo>
                      <a:pt x="48332" y="71881"/>
                    </a:moveTo>
                    <a:cubicBezTo>
                      <a:pt x="45117" y="76517"/>
                      <a:pt x="39568" y="79608"/>
                      <a:pt x="33248" y="79608"/>
                    </a:cubicBezTo>
                    <a:cubicBezTo>
                      <a:pt x="23842" y="79608"/>
                      <a:pt x="16752" y="72394"/>
                      <a:pt x="16752" y="62608"/>
                    </a:cubicBezTo>
                    <a:cubicBezTo>
                      <a:pt x="16752" y="53591"/>
                      <a:pt x="23072" y="45473"/>
                      <a:pt x="32870" y="45473"/>
                    </a:cubicBezTo>
                    <a:cubicBezTo>
                      <a:pt x="39317" y="45473"/>
                      <a:pt x="44860" y="48564"/>
                      <a:pt x="48332" y="53201"/>
                    </a:cubicBezTo>
                    <a:lnTo>
                      <a:pt x="48332" y="71881"/>
                    </a:lnTo>
                    <a:close/>
                    <a:moveTo>
                      <a:pt x="48973" y="36328"/>
                    </a:moveTo>
                    <a:cubicBezTo>
                      <a:pt x="44079" y="32333"/>
                      <a:pt x="37759" y="30018"/>
                      <a:pt x="30675" y="30018"/>
                    </a:cubicBezTo>
                    <a:cubicBezTo>
                      <a:pt x="13660" y="30018"/>
                      <a:pt x="0" y="44184"/>
                      <a:pt x="0" y="62608"/>
                    </a:cubicBezTo>
                    <a:cubicBezTo>
                      <a:pt x="0" y="71117"/>
                      <a:pt x="3092" y="78839"/>
                      <a:pt x="7988" y="84508"/>
                    </a:cubicBezTo>
                    <a:cubicBezTo>
                      <a:pt x="13531" y="90952"/>
                      <a:pt x="22296" y="95070"/>
                      <a:pt x="31574" y="95070"/>
                    </a:cubicBezTo>
                    <a:cubicBezTo>
                      <a:pt x="37887" y="95070"/>
                      <a:pt x="43822" y="93139"/>
                      <a:pt x="48973" y="88759"/>
                    </a:cubicBezTo>
                    <a:lnTo>
                      <a:pt x="48973" y="93781"/>
                    </a:lnTo>
                    <a:lnTo>
                      <a:pt x="65085" y="93781"/>
                    </a:lnTo>
                    <a:lnTo>
                      <a:pt x="65085" y="31301"/>
                    </a:lnTo>
                    <a:lnTo>
                      <a:pt x="48973" y="31301"/>
                    </a:lnTo>
                    <a:lnTo>
                      <a:pt x="48973" y="36328"/>
                    </a:lnTo>
                    <a:close/>
                    <a:moveTo>
                      <a:pt x="80547" y="93781"/>
                    </a:moveTo>
                    <a:lnTo>
                      <a:pt x="97306" y="93781"/>
                    </a:lnTo>
                    <a:lnTo>
                      <a:pt x="97306" y="3617"/>
                    </a:lnTo>
                    <a:lnTo>
                      <a:pt x="80547" y="7996"/>
                    </a:lnTo>
                    <a:lnTo>
                      <a:pt x="80547" y="93781"/>
                    </a:lnTo>
                    <a:close/>
                    <a:moveTo>
                      <a:pt x="188934" y="30012"/>
                    </a:moveTo>
                    <a:cubicBezTo>
                      <a:pt x="179650" y="30012"/>
                      <a:pt x="171791" y="34526"/>
                      <a:pt x="166767" y="39810"/>
                    </a:cubicBezTo>
                    <a:cubicBezTo>
                      <a:pt x="161865" y="33879"/>
                      <a:pt x="154262" y="30012"/>
                      <a:pt x="145760" y="30012"/>
                    </a:cubicBezTo>
                    <a:cubicBezTo>
                      <a:pt x="139704" y="30012"/>
                      <a:pt x="133775" y="31949"/>
                      <a:pt x="128874" y="36328"/>
                    </a:cubicBezTo>
                    <a:lnTo>
                      <a:pt x="128874" y="31307"/>
                    </a:lnTo>
                    <a:lnTo>
                      <a:pt x="112756" y="31307"/>
                    </a:lnTo>
                    <a:lnTo>
                      <a:pt x="112756" y="93787"/>
                    </a:lnTo>
                    <a:lnTo>
                      <a:pt x="129515" y="93787"/>
                    </a:lnTo>
                    <a:lnTo>
                      <a:pt x="129515" y="53201"/>
                    </a:lnTo>
                    <a:cubicBezTo>
                      <a:pt x="131831" y="50250"/>
                      <a:pt x="136996" y="45473"/>
                      <a:pt x="144079" y="45473"/>
                    </a:cubicBezTo>
                    <a:cubicBezTo>
                      <a:pt x="147294" y="45473"/>
                      <a:pt x="150907" y="46506"/>
                      <a:pt x="153486" y="49340"/>
                    </a:cubicBezTo>
                    <a:cubicBezTo>
                      <a:pt x="155417" y="51527"/>
                      <a:pt x="156578" y="54361"/>
                      <a:pt x="156578" y="60030"/>
                    </a:cubicBezTo>
                    <a:lnTo>
                      <a:pt x="156578" y="93781"/>
                    </a:lnTo>
                    <a:lnTo>
                      <a:pt x="173331" y="93781"/>
                    </a:lnTo>
                    <a:lnTo>
                      <a:pt x="173331" y="60678"/>
                    </a:lnTo>
                    <a:cubicBezTo>
                      <a:pt x="173331" y="58100"/>
                      <a:pt x="173074" y="55772"/>
                      <a:pt x="172817" y="53714"/>
                    </a:cubicBezTo>
                    <a:cubicBezTo>
                      <a:pt x="175011" y="50501"/>
                      <a:pt x="180677" y="45467"/>
                      <a:pt x="187901" y="45467"/>
                    </a:cubicBezTo>
                    <a:cubicBezTo>
                      <a:pt x="191116" y="45467"/>
                      <a:pt x="194728" y="46499"/>
                      <a:pt x="197307" y="49334"/>
                    </a:cubicBezTo>
                    <a:cubicBezTo>
                      <a:pt x="199239" y="51521"/>
                      <a:pt x="200406" y="54355"/>
                      <a:pt x="200406" y="60024"/>
                    </a:cubicBezTo>
                    <a:lnTo>
                      <a:pt x="200406" y="93774"/>
                    </a:lnTo>
                    <a:lnTo>
                      <a:pt x="217152" y="93774"/>
                    </a:lnTo>
                    <a:lnTo>
                      <a:pt x="217152" y="60671"/>
                    </a:lnTo>
                    <a:cubicBezTo>
                      <a:pt x="217152" y="51392"/>
                      <a:pt x="214830" y="44954"/>
                      <a:pt x="210845" y="40055"/>
                    </a:cubicBezTo>
                    <a:cubicBezTo>
                      <a:pt x="205821" y="33879"/>
                      <a:pt x="197582" y="30012"/>
                      <a:pt x="188934" y="30012"/>
                    </a:cubicBezTo>
                    <a:moveTo>
                      <a:pt x="231344" y="93781"/>
                    </a:moveTo>
                    <a:lnTo>
                      <a:pt x="248096" y="93781"/>
                    </a:lnTo>
                    <a:lnTo>
                      <a:pt x="248096" y="31301"/>
                    </a:lnTo>
                    <a:lnTo>
                      <a:pt x="231344" y="31301"/>
                    </a:lnTo>
                    <a:lnTo>
                      <a:pt x="231344" y="93781"/>
                    </a:lnTo>
                    <a:close/>
                  </a:path>
                </a:pathLst>
              </a:custGeom>
              <a:solidFill>
                <a:schemeClr val="tx2"/>
              </a:solidFill>
              <a:ln w="611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_tradnl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6F6F6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sp>
          <p:nvSpPr>
            <p:cNvPr id="17" name="Redondear rectángulo de una esquina 16">
              <a:extLst>
                <a:ext uri="{FF2B5EF4-FFF2-40B4-BE49-F238E27FC236}">
                  <a16:creationId xmlns:a16="http://schemas.microsoft.com/office/drawing/2014/main" id="{EA91282E-E316-3BD9-7476-183E29E163E0}"/>
                </a:ext>
              </a:extLst>
            </p:cNvPr>
            <p:cNvSpPr/>
            <p:nvPr/>
          </p:nvSpPr>
          <p:spPr>
            <a:xfrm flipV="1">
              <a:off x="213360" y="314960"/>
              <a:ext cx="8727440" cy="4551680"/>
            </a:xfrm>
            <a:prstGeom prst="round1Rect">
              <a:avLst>
                <a:gd name="adj" fmla="val 11980"/>
              </a:avLst>
            </a:prstGeom>
            <a:noFill/>
            <a:ln w="635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_tradnl" sz="2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grpSp>
          <p:nvGrpSpPr>
            <p:cNvPr id="18" name="Grupo 17">
              <a:extLst>
                <a:ext uri="{FF2B5EF4-FFF2-40B4-BE49-F238E27FC236}">
                  <a16:creationId xmlns:a16="http://schemas.microsoft.com/office/drawing/2014/main" id="{8791F716-CAD6-32F2-1BD5-88C91457DF79}"/>
                </a:ext>
              </a:extLst>
            </p:cNvPr>
            <p:cNvGrpSpPr/>
            <p:nvPr/>
          </p:nvGrpSpPr>
          <p:grpSpPr>
            <a:xfrm>
              <a:off x="483338" y="574159"/>
              <a:ext cx="1334830" cy="413518"/>
              <a:chOff x="7785861" y="4639396"/>
              <a:chExt cx="1111660" cy="344382"/>
            </a:xfrm>
          </p:grpSpPr>
          <p:sp>
            <p:nvSpPr>
              <p:cNvPr id="19" name="Forma libre 18">
                <a:extLst>
                  <a:ext uri="{FF2B5EF4-FFF2-40B4-BE49-F238E27FC236}">
                    <a16:creationId xmlns:a16="http://schemas.microsoft.com/office/drawing/2014/main" id="{897F8BAF-2F93-9EAF-2493-17BB5A56E814}"/>
                  </a:ext>
                </a:extLst>
              </p:cNvPr>
              <p:cNvSpPr/>
              <p:nvPr/>
            </p:nvSpPr>
            <p:spPr>
              <a:xfrm>
                <a:off x="7785861" y="4639396"/>
                <a:ext cx="256158" cy="344382"/>
              </a:xfrm>
              <a:custGeom>
                <a:avLst/>
                <a:gdLst>
                  <a:gd name="connsiteX0" fmla="*/ 107295 w 139455"/>
                  <a:gd name="connsiteY0" fmla="*/ 11790 h 187485"/>
                  <a:gd name="connsiteX1" fmla="*/ 107295 w 139455"/>
                  <a:gd name="connsiteY1" fmla="*/ 0 h 187485"/>
                  <a:gd name="connsiteX2" fmla="*/ 46294 w 139455"/>
                  <a:gd name="connsiteY2" fmla="*/ 32046 h 187485"/>
                  <a:gd name="connsiteX3" fmla="*/ 39296 w 139455"/>
                  <a:gd name="connsiteY3" fmla="*/ 43610 h 187485"/>
                  <a:gd name="connsiteX4" fmla="*/ 39296 w 139455"/>
                  <a:gd name="connsiteY4" fmla="*/ 55400 h 187485"/>
                  <a:gd name="connsiteX5" fmla="*/ 100310 w 139455"/>
                  <a:gd name="connsiteY5" fmla="*/ 23353 h 187485"/>
                  <a:gd name="connsiteX6" fmla="*/ 107295 w 139455"/>
                  <a:gd name="connsiteY6" fmla="*/ 11790 h 187485"/>
                  <a:gd name="connsiteX7" fmla="*/ 107466 w 139455"/>
                  <a:gd name="connsiteY7" fmla="*/ 39279 h 187485"/>
                  <a:gd name="connsiteX8" fmla="*/ 46459 w 139455"/>
                  <a:gd name="connsiteY8" fmla="*/ 71325 h 187485"/>
                  <a:gd name="connsiteX9" fmla="*/ 39466 w 139455"/>
                  <a:gd name="connsiteY9" fmla="*/ 82889 h 187485"/>
                  <a:gd name="connsiteX10" fmla="*/ 39466 w 139455"/>
                  <a:gd name="connsiteY10" fmla="*/ 94678 h 187485"/>
                  <a:gd name="connsiteX11" fmla="*/ 100475 w 139455"/>
                  <a:gd name="connsiteY11" fmla="*/ 62638 h 187485"/>
                  <a:gd name="connsiteX12" fmla="*/ 107466 w 139455"/>
                  <a:gd name="connsiteY12" fmla="*/ 51069 h 187485"/>
                  <a:gd name="connsiteX13" fmla="*/ 107466 w 139455"/>
                  <a:gd name="connsiteY13" fmla="*/ 39279 h 187485"/>
                  <a:gd name="connsiteX14" fmla="*/ 39466 w 139455"/>
                  <a:gd name="connsiteY14" fmla="*/ 122167 h 187485"/>
                  <a:gd name="connsiteX15" fmla="*/ 39466 w 139455"/>
                  <a:gd name="connsiteY15" fmla="*/ 133951 h 187485"/>
                  <a:gd name="connsiteX16" fmla="*/ 100475 w 139455"/>
                  <a:gd name="connsiteY16" fmla="*/ 101905 h 187485"/>
                  <a:gd name="connsiteX17" fmla="*/ 107466 w 139455"/>
                  <a:gd name="connsiteY17" fmla="*/ 90347 h 187485"/>
                  <a:gd name="connsiteX18" fmla="*/ 107466 w 139455"/>
                  <a:gd name="connsiteY18" fmla="*/ 78558 h 187485"/>
                  <a:gd name="connsiteX19" fmla="*/ 46459 w 139455"/>
                  <a:gd name="connsiteY19" fmla="*/ 110598 h 187485"/>
                  <a:gd name="connsiteX20" fmla="*/ 39466 w 139455"/>
                  <a:gd name="connsiteY20" fmla="*/ 122167 h 187485"/>
                  <a:gd name="connsiteX21" fmla="*/ 135911 w 139455"/>
                  <a:gd name="connsiteY21" fmla="*/ 95809 h 187485"/>
                  <a:gd name="connsiteX22" fmla="*/ 133008 w 139455"/>
                  <a:gd name="connsiteY22" fmla="*/ 94672 h 187485"/>
                  <a:gd name="connsiteX23" fmla="*/ 121920 w 139455"/>
                  <a:gd name="connsiteY23" fmla="*/ 100488 h 187485"/>
                  <a:gd name="connsiteX24" fmla="*/ 120729 w 139455"/>
                  <a:gd name="connsiteY24" fmla="*/ 103347 h 187485"/>
                  <a:gd name="connsiteX25" fmla="*/ 122428 w 139455"/>
                  <a:gd name="connsiteY25" fmla="*/ 123475 h 187485"/>
                  <a:gd name="connsiteX26" fmla="*/ 73087 w 139455"/>
                  <a:gd name="connsiteY26" fmla="*/ 170658 h 187485"/>
                  <a:gd name="connsiteX27" fmla="*/ 16725 w 139455"/>
                  <a:gd name="connsiteY27" fmla="*/ 117788 h 187485"/>
                  <a:gd name="connsiteX28" fmla="*/ 24499 w 139455"/>
                  <a:gd name="connsiteY28" fmla="*/ 90170 h 187485"/>
                  <a:gd name="connsiteX29" fmla="*/ 24602 w 139455"/>
                  <a:gd name="connsiteY29" fmla="*/ 87171 h 187485"/>
                  <a:gd name="connsiteX30" fmla="*/ 18094 w 139455"/>
                  <a:gd name="connsiteY30" fmla="*/ 75345 h 187485"/>
                  <a:gd name="connsiteX31" fmla="*/ 14640 w 139455"/>
                  <a:gd name="connsiteY31" fmla="*/ 75088 h 187485"/>
                  <a:gd name="connsiteX32" fmla="*/ 94 w 139455"/>
                  <a:gd name="connsiteY32" fmla="*/ 121483 h 187485"/>
                  <a:gd name="connsiteX33" fmla="*/ 66994 w 139455"/>
                  <a:gd name="connsiteY33" fmla="*/ 187433 h 187485"/>
                  <a:gd name="connsiteX34" fmla="*/ 139455 w 139455"/>
                  <a:gd name="connsiteY34" fmla="*/ 117794 h 187485"/>
                  <a:gd name="connsiteX35" fmla="*/ 135911 w 139455"/>
                  <a:gd name="connsiteY35" fmla="*/ 95809 h 1874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</a:cxnLst>
                <a:rect l="l" t="t" r="r" b="b"/>
                <a:pathLst>
                  <a:path w="139455" h="187485">
                    <a:moveTo>
                      <a:pt x="107295" y="11790"/>
                    </a:moveTo>
                    <a:lnTo>
                      <a:pt x="107295" y="0"/>
                    </a:lnTo>
                    <a:lnTo>
                      <a:pt x="46294" y="32046"/>
                    </a:lnTo>
                    <a:cubicBezTo>
                      <a:pt x="41997" y="34300"/>
                      <a:pt x="39296" y="38760"/>
                      <a:pt x="39296" y="43610"/>
                    </a:cubicBezTo>
                    <a:lnTo>
                      <a:pt x="39296" y="55400"/>
                    </a:lnTo>
                    <a:lnTo>
                      <a:pt x="100310" y="23353"/>
                    </a:lnTo>
                    <a:cubicBezTo>
                      <a:pt x="104612" y="21093"/>
                      <a:pt x="107295" y="16640"/>
                      <a:pt x="107295" y="11790"/>
                    </a:cubicBezTo>
                    <a:moveTo>
                      <a:pt x="107466" y="39279"/>
                    </a:moveTo>
                    <a:lnTo>
                      <a:pt x="46459" y="71325"/>
                    </a:lnTo>
                    <a:cubicBezTo>
                      <a:pt x="42168" y="73585"/>
                      <a:pt x="39466" y="78038"/>
                      <a:pt x="39466" y="82889"/>
                    </a:cubicBezTo>
                    <a:lnTo>
                      <a:pt x="39466" y="94678"/>
                    </a:lnTo>
                    <a:lnTo>
                      <a:pt x="100475" y="62638"/>
                    </a:lnTo>
                    <a:cubicBezTo>
                      <a:pt x="104771" y="60378"/>
                      <a:pt x="107466" y="55919"/>
                      <a:pt x="107466" y="51069"/>
                    </a:cubicBezTo>
                    <a:lnTo>
                      <a:pt x="107466" y="39279"/>
                    </a:lnTo>
                    <a:close/>
                    <a:moveTo>
                      <a:pt x="39466" y="122167"/>
                    </a:moveTo>
                    <a:lnTo>
                      <a:pt x="39466" y="133951"/>
                    </a:lnTo>
                    <a:lnTo>
                      <a:pt x="100475" y="101905"/>
                    </a:lnTo>
                    <a:cubicBezTo>
                      <a:pt x="104771" y="99651"/>
                      <a:pt x="107466" y="95198"/>
                      <a:pt x="107466" y="90347"/>
                    </a:cubicBezTo>
                    <a:lnTo>
                      <a:pt x="107466" y="78558"/>
                    </a:lnTo>
                    <a:lnTo>
                      <a:pt x="46459" y="110598"/>
                    </a:lnTo>
                    <a:cubicBezTo>
                      <a:pt x="42162" y="112864"/>
                      <a:pt x="39466" y="117317"/>
                      <a:pt x="39466" y="122167"/>
                    </a:cubicBezTo>
                    <a:moveTo>
                      <a:pt x="135911" y="95809"/>
                    </a:moveTo>
                    <a:cubicBezTo>
                      <a:pt x="135520" y="94617"/>
                      <a:pt x="134126" y="94086"/>
                      <a:pt x="133008" y="94672"/>
                    </a:cubicBezTo>
                    <a:lnTo>
                      <a:pt x="121920" y="100488"/>
                    </a:lnTo>
                    <a:cubicBezTo>
                      <a:pt x="120888" y="101038"/>
                      <a:pt x="120411" y="102223"/>
                      <a:pt x="120729" y="103347"/>
                    </a:cubicBezTo>
                    <a:cubicBezTo>
                      <a:pt x="122514" y="109651"/>
                      <a:pt x="123174" y="116438"/>
                      <a:pt x="122428" y="123475"/>
                    </a:cubicBezTo>
                    <a:cubicBezTo>
                      <a:pt x="119739" y="148942"/>
                      <a:pt x="98653" y="169082"/>
                      <a:pt x="73087" y="170658"/>
                    </a:cubicBezTo>
                    <a:cubicBezTo>
                      <a:pt x="42290" y="172564"/>
                      <a:pt x="16725" y="148154"/>
                      <a:pt x="16725" y="117788"/>
                    </a:cubicBezTo>
                    <a:cubicBezTo>
                      <a:pt x="16725" y="107665"/>
                      <a:pt x="19572" y="98203"/>
                      <a:pt x="24499" y="90170"/>
                    </a:cubicBezTo>
                    <a:cubicBezTo>
                      <a:pt x="25061" y="89248"/>
                      <a:pt x="25116" y="88112"/>
                      <a:pt x="24602" y="87171"/>
                    </a:cubicBezTo>
                    <a:lnTo>
                      <a:pt x="18094" y="75345"/>
                    </a:lnTo>
                    <a:cubicBezTo>
                      <a:pt x="17372" y="74037"/>
                      <a:pt x="15557" y="73915"/>
                      <a:pt x="14640" y="75088"/>
                    </a:cubicBezTo>
                    <a:cubicBezTo>
                      <a:pt x="4782" y="87782"/>
                      <a:pt x="-804" y="103964"/>
                      <a:pt x="94" y="121483"/>
                    </a:cubicBezTo>
                    <a:cubicBezTo>
                      <a:pt x="1953" y="157213"/>
                      <a:pt x="31228" y="186064"/>
                      <a:pt x="66994" y="187433"/>
                    </a:cubicBezTo>
                    <a:cubicBezTo>
                      <a:pt x="106751" y="188953"/>
                      <a:pt x="139455" y="157189"/>
                      <a:pt x="139455" y="117794"/>
                    </a:cubicBezTo>
                    <a:cubicBezTo>
                      <a:pt x="139455" y="110103"/>
                      <a:pt x="138209" y="102711"/>
                      <a:pt x="135911" y="95809"/>
                    </a:cubicBezTo>
                  </a:path>
                </a:pathLst>
              </a:custGeom>
              <a:solidFill>
                <a:schemeClr val="accent2"/>
              </a:solidFill>
              <a:ln w="611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_tradnl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6F6F6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0" name="Forma libre 19">
                <a:extLst>
                  <a:ext uri="{FF2B5EF4-FFF2-40B4-BE49-F238E27FC236}">
                    <a16:creationId xmlns:a16="http://schemas.microsoft.com/office/drawing/2014/main" id="{1437D7A0-1510-CB41-AAB0-ED7A999F1389}"/>
                  </a:ext>
                </a:extLst>
              </p:cNvPr>
              <p:cNvSpPr/>
              <p:nvPr/>
            </p:nvSpPr>
            <p:spPr>
              <a:xfrm>
                <a:off x="8098546" y="4754028"/>
                <a:ext cx="798975" cy="174628"/>
              </a:xfrm>
              <a:custGeom>
                <a:avLst/>
                <a:gdLst>
                  <a:gd name="connsiteX0" fmla="*/ 418218 w 434970"/>
                  <a:gd name="connsiteY0" fmla="*/ 7990 h 95069"/>
                  <a:gd name="connsiteX1" fmla="*/ 418218 w 434970"/>
                  <a:gd name="connsiteY1" fmla="*/ 93781 h 95069"/>
                  <a:gd name="connsiteX2" fmla="*/ 434970 w 434970"/>
                  <a:gd name="connsiteY2" fmla="*/ 93781 h 95069"/>
                  <a:gd name="connsiteX3" fmla="*/ 434970 w 434970"/>
                  <a:gd name="connsiteY3" fmla="*/ 3617 h 95069"/>
                  <a:gd name="connsiteX4" fmla="*/ 418218 w 434970"/>
                  <a:gd name="connsiteY4" fmla="*/ 7990 h 95069"/>
                  <a:gd name="connsiteX5" fmla="*/ 279670 w 434970"/>
                  <a:gd name="connsiteY5" fmla="*/ 37617 h 95069"/>
                  <a:gd name="connsiteX6" fmla="*/ 279670 w 434970"/>
                  <a:gd name="connsiteY6" fmla="*/ 31307 h 95069"/>
                  <a:gd name="connsiteX7" fmla="*/ 263565 w 434970"/>
                  <a:gd name="connsiteY7" fmla="*/ 31307 h 95069"/>
                  <a:gd name="connsiteX8" fmla="*/ 263565 w 434970"/>
                  <a:gd name="connsiteY8" fmla="*/ 93787 h 95069"/>
                  <a:gd name="connsiteX9" fmla="*/ 280306 w 434970"/>
                  <a:gd name="connsiteY9" fmla="*/ 93787 h 95069"/>
                  <a:gd name="connsiteX10" fmla="*/ 280306 w 434970"/>
                  <a:gd name="connsiteY10" fmla="*/ 54490 h 95069"/>
                  <a:gd name="connsiteX11" fmla="*/ 295518 w 434970"/>
                  <a:gd name="connsiteY11" fmla="*/ 45473 h 95069"/>
                  <a:gd name="connsiteX12" fmla="*/ 301575 w 434970"/>
                  <a:gd name="connsiteY12" fmla="*/ 46121 h 95069"/>
                  <a:gd name="connsiteX13" fmla="*/ 303512 w 434970"/>
                  <a:gd name="connsiteY13" fmla="*/ 30525 h 95069"/>
                  <a:gd name="connsiteX14" fmla="*/ 297834 w 434970"/>
                  <a:gd name="connsiteY14" fmla="*/ 30012 h 95069"/>
                  <a:gd name="connsiteX15" fmla="*/ 279670 w 434970"/>
                  <a:gd name="connsiteY15" fmla="*/ 37617 h 95069"/>
                  <a:gd name="connsiteX16" fmla="*/ 353776 w 434970"/>
                  <a:gd name="connsiteY16" fmla="*/ 71881 h 95069"/>
                  <a:gd name="connsiteX17" fmla="*/ 338698 w 434970"/>
                  <a:gd name="connsiteY17" fmla="*/ 79608 h 95069"/>
                  <a:gd name="connsiteX18" fmla="*/ 322196 w 434970"/>
                  <a:gd name="connsiteY18" fmla="*/ 62608 h 95069"/>
                  <a:gd name="connsiteX19" fmla="*/ 338313 w 434970"/>
                  <a:gd name="connsiteY19" fmla="*/ 45473 h 95069"/>
                  <a:gd name="connsiteX20" fmla="*/ 353776 w 434970"/>
                  <a:gd name="connsiteY20" fmla="*/ 53201 h 95069"/>
                  <a:gd name="connsiteX21" fmla="*/ 353776 w 434970"/>
                  <a:gd name="connsiteY21" fmla="*/ 71881 h 95069"/>
                  <a:gd name="connsiteX22" fmla="*/ 354423 w 434970"/>
                  <a:gd name="connsiteY22" fmla="*/ 36328 h 95069"/>
                  <a:gd name="connsiteX23" fmla="*/ 336124 w 434970"/>
                  <a:gd name="connsiteY23" fmla="*/ 30018 h 95069"/>
                  <a:gd name="connsiteX24" fmla="*/ 305443 w 434970"/>
                  <a:gd name="connsiteY24" fmla="*/ 62608 h 95069"/>
                  <a:gd name="connsiteX25" fmla="*/ 313444 w 434970"/>
                  <a:gd name="connsiteY25" fmla="*/ 84508 h 95069"/>
                  <a:gd name="connsiteX26" fmla="*/ 337023 w 434970"/>
                  <a:gd name="connsiteY26" fmla="*/ 95070 h 95069"/>
                  <a:gd name="connsiteX27" fmla="*/ 354423 w 434970"/>
                  <a:gd name="connsiteY27" fmla="*/ 88759 h 95069"/>
                  <a:gd name="connsiteX28" fmla="*/ 354423 w 434970"/>
                  <a:gd name="connsiteY28" fmla="*/ 93781 h 95069"/>
                  <a:gd name="connsiteX29" fmla="*/ 370534 w 434970"/>
                  <a:gd name="connsiteY29" fmla="*/ 93781 h 95069"/>
                  <a:gd name="connsiteX30" fmla="*/ 370534 w 434970"/>
                  <a:gd name="connsiteY30" fmla="*/ 31301 h 95069"/>
                  <a:gd name="connsiteX31" fmla="*/ 354423 w 434970"/>
                  <a:gd name="connsiteY31" fmla="*/ 31301 h 95069"/>
                  <a:gd name="connsiteX32" fmla="*/ 354423 w 434970"/>
                  <a:gd name="connsiteY32" fmla="*/ 36328 h 95069"/>
                  <a:gd name="connsiteX33" fmla="*/ 385997 w 434970"/>
                  <a:gd name="connsiteY33" fmla="*/ 93781 h 95069"/>
                  <a:gd name="connsiteX34" fmla="*/ 402749 w 434970"/>
                  <a:gd name="connsiteY34" fmla="*/ 93781 h 95069"/>
                  <a:gd name="connsiteX35" fmla="*/ 402749 w 434970"/>
                  <a:gd name="connsiteY35" fmla="*/ 3617 h 95069"/>
                  <a:gd name="connsiteX36" fmla="*/ 385997 w 434970"/>
                  <a:gd name="connsiteY36" fmla="*/ 7996 h 95069"/>
                  <a:gd name="connsiteX37" fmla="*/ 385997 w 434970"/>
                  <a:gd name="connsiteY37" fmla="*/ 93781 h 95069"/>
                  <a:gd name="connsiteX38" fmla="*/ 239717 w 434970"/>
                  <a:gd name="connsiteY38" fmla="*/ 0 h 95069"/>
                  <a:gd name="connsiteX39" fmla="*/ 228765 w 434970"/>
                  <a:gd name="connsiteY39" fmla="*/ 10690 h 95069"/>
                  <a:gd name="connsiteX40" fmla="*/ 239717 w 434970"/>
                  <a:gd name="connsiteY40" fmla="*/ 21387 h 95069"/>
                  <a:gd name="connsiteX41" fmla="*/ 250676 w 434970"/>
                  <a:gd name="connsiteY41" fmla="*/ 10690 h 95069"/>
                  <a:gd name="connsiteX42" fmla="*/ 239717 w 434970"/>
                  <a:gd name="connsiteY42" fmla="*/ 0 h 95069"/>
                  <a:gd name="connsiteX43" fmla="*/ 48332 w 434970"/>
                  <a:gd name="connsiteY43" fmla="*/ 71881 h 95069"/>
                  <a:gd name="connsiteX44" fmla="*/ 33248 w 434970"/>
                  <a:gd name="connsiteY44" fmla="*/ 79608 h 95069"/>
                  <a:gd name="connsiteX45" fmla="*/ 16752 w 434970"/>
                  <a:gd name="connsiteY45" fmla="*/ 62608 h 95069"/>
                  <a:gd name="connsiteX46" fmla="*/ 32870 w 434970"/>
                  <a:gd name="connsiteY46" fmla="*/ 45473 h 95069"/>
                  <a:gd name="connsiteX47" fmla="*/ 48332 w 434970"/>
                  <a:gd name="connsiteY47" fmla="*/ 53201 h 95069"/>
                  <a:gd name="connsiteX48" fmla="*/ 48332 w 434970"/>
                  <a:gd name="connsiteY48" fmla="*/ 71881 h 95069"/>
                  <a:gd name="connsiteX49" fmla="*/ 48973 w 434970"/>
                  <a:gd name="connsiteY49" fmla="*/ 36328 h 95069"/>
                  <a:gd name="connsiteX50" fmla="*/ 30675 w 434970"/>
                  <a:gd name="connsiteY50" fmla="*/ 30018 h 95069"/>
                  <a:gd name="connsiteX51" fmla="*/ 0 w 434970"/>
                  <a:gd name="connsiteY51" fmla="*/ 62608 h 95069"/>
                  <a:gd name="connsiteX52" fmla="*/ 7988 w 434970"/>
                  <a:gd name="connsiteY52" fmla="*/ 84508 h 95069"/>
                  <a:gd name="connsiteX53" fmla="*/ 31574 w 434970"/>
                  <a:gd name="connsiteY53" fmla="*/ 95070 h 95069"/>
                  <a:gd name="connsiteX54" fmla="*/ 48973 w 434970"/>
                  <a:gd name="connsiteY54" fmla="*/ 88759 h 95069"/>
                  <a:gd name="connsiteX55" fmla="*/ 48973 w 434970"/>
                  <a:gd name="connsiteY55" fmla="*/ 93781 h 95069"/>
                  <a:gd name="connsiteX56" fmla="*/ 65085 w 434970"/>
                  <a:gd name="connsiteY56" fmla="*/ 93781 h 95069"/>
                  <a:gd name="connsiteX57" fmla="*/ 65085 w 434970"/>
                  <a:gd name="connsiteY57" fmla="*/ 31301 h 95069"/>
                  <a:gd name="connsiteX58" fmla="*/ 48973 w 434970"/>
                  <a:gd name="connsiteY58" fmla="*/ 31301 h 95069"/>
                  <a:gd name="connsiteX59" fmla="*/ 48973 w 434970"/>
                  <a:gd name="connsiteY59" fmla="*/ 36328 h 95069"/>
                  <a:gd name="connsiteX60" fmla="*/ 80547 w 434970"/>
                  <a:gd name="connsiteY60" fmla="*/ 93781 h 95069"/>
                  <a:gd name="connsiteX61" fmla="*/ 97306 w 434970"/>
                  <a:gd name="connsiteY61" fmla="*/ 93781 h 95069"/>
                  <a:gd name="connsiteX62" fmla="*/ 97306 w 434970"/>
                  <a:gd name="connsiteY62" fmla="*/ 3617 h 95069"/>
                  <a:gd name="connsiteX63" fmla="*/ 80547 w 434970"/>
                  <a:gd name="connsiteY63" fmla="*/ 7996 h 95069"/>
                  <a:gd name="connsiteX64" fmla="*/ 80547 w 434970"/>
                  <a:gd name="connsiteY64" fmla="*/ 93781 h 95069"/>
                  <a:gd name="connsiteX65" fmla="*/ 188934 w 434970"/>
                  <a:gd name="connsiteY65" fmla="*/ 30012 h 95069"/>
                  <a:gd name="connsiteX66" fmla="*/ 166767 w 434970"/>
                  <a:gd name="connsiteY66" fmla="*/ 39810 h 95069"/>
                  <a:gd name="connsiteX67" fmla="*/ 145760 w 434970"/>
                  <a:gd name="connsiteY67" fmla="*/ 30012 h 95069"/>
                  <a:gd name="connsiteX68" fmla="*/ 128874 w 434970"/>
                  <a:gd name="connsiteY68" fmla="*/ 36328 h 95069"/>
                  <a:gd name="connsiteX69" fmla="*/ 128874 w 434970"/>
                  <a:gd name="connsiteY69" fmla="*/ 31307 h 95069"/>
                  <a:gd name="connsiteX70" fmla="*/ 112756 w 434970"/>
                  <a:gd name="connsiteY70" fmla="*/ 31307 h 95069"/>
                  <a:gd name="connsiteX71" fmla="*/ 112756 w 434970"/>
                  <a:gd name="connsiteY71" fmla="*/ 93787 h 95069"/>
                  <a:gd name="connsiteX72" fmla="*/ 129515 w 434970"/>
                  <a:gd name="connsiteY72" fmla="*/ 93787 h 95069"/>
                  <a:gd name="connsiteX73" fmla="*/ 129515 w 434970"/>
                  <a:gd name="connsiteY73" fmla="*/ 53201 h 95069"/>
                  <a:gd name="connsiteX74" fmla="*/ 144079 w 434970"/>
                  <a:gd name="connsiteY74" fmla="*/ 45473 h 95069"/>
                  <a:gd name="connsiteX75" fmla="*/ 153486 w 434970"/>
                  <a:gd name="connsiteY75" fmla="*/ 49340 h 95069"/>
                  <a:gd name="connsiteX76" fmla="*/ 156578 w 434970"/>
                  <a:gd name="connsiteY76" fmla="*/ 60030 h 95069"/>
                  <a:gd name="connsiteX77" fmla="*/ 156578 w 434970"/>
                  <a:gd name="connsiteY77" fmla="*/ 93781 h 95069"/>
                  <a:gd name="connsiteX78" fmla="*/ 173331 w 434970"/>
                  <a:gd name="connsiteY78" fmla="*/ 93781 h 95069"/>
                  <a:gd name="connsiteX79" fmla="*/ 173331 w 434970"/>
                  <a:gd name="connsiteY79" fmla="*/ 60678 h 95069"/>
                  <a:gd name="connsiteX80" fmla="*/ 172817 w 434970"/>
                  <a:gd name="connsiteY80" fmla="*/ 53714 h 95069"/>
                  <a:gd name="connsiteX81" fmla="*/ 187901 w 434970"/>
                  <a:gd name="connsiteY81" fmla="*/ 45467 h 95069"/>
                  <a:gd name="connsiteX82" fmla="*/ 197307 w 434970"/>
                  <a:gd name="connsiteY82" fmla="*/ 49334 h 95069"/>
                  <a:gd name="connsiteX83" fmla="*/ 200406 w 434970"/>
                  <a:gd name="connsiteY83" fmla="*/ 60024 h 95069"/>
                  <a:gd name="connsiteX84" fmla="*/ 200406 w 434970"/>
                  <a:gd name="connsiteY84" fmla="*/ 93774 h 95069"/>
                  <a:gd name="connsiteX85" fmla="*/ 217152 w 434970"/>
                  <a:gd name="connsiteY85" fmla="*/ 93774 h 95069"/>
                  <a:gd name="connsiteX86" fmla="*/ 217152 w 434970"/>
                  <a:gd name="connsiteY86" fmla="*/ 60671 h 95069"/>
                  <a:gd name="connsiteX87" fmla="*/ 210845 w 434970"/>
                  <a:gd name="connsiteY87" fmla="*/ 40055 h 95069"/>
                  <a:gd name="connsiteX88" fmla="*/ 188934 w 434970"/>
                  <a:gd name="connsiteY88" fmla="*/ 30012 h 95069"/>
                  <a:gd name="connsiteX89" fmla="*/ 231344 w 434970"/>
                  <a:gd name="connsiteY89" fmla="*/ 93781 h 95069"/>
                  <a:gd name="connsiteX90" fmla="*/ 248096 w 434970"/>
                  <a:gd name="connsiteY90" fmla="*/ 93781 h 95069"/>
                  <a:gd name="connsiteX91" fmla="*/ 248096 w 434970"/>
                  <a:gd name="connsiteY91" fmla="*/ 31301 h 95069"/>
                  <a:gd name="connsiteX92" fmla="*/ 231344 w 434970"/>
                  <a:gd name="connsiteY92" fmla="*/ 31301 h 95069"/>
                  <a:gd name="connsiteX93" fmla="*/ 231344 w 434970"/>
                  <a:gd name="connsiteY93" fmla="*/ 93781 h 950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</a:cxnLst>
                <a:rect l="l" t="t" r="r" b="b"/>
                <a:pathLst>
                  <a:path w="434970" h="95069">
                    <a:moveTo>
                      <a:pt x="418218" y="7990"/>
                    </a:moveTo>
                    <a:lnTo>
                      <a:pt x="418218" y="93781"/>
                    </a:lnTo>
                    <a:lnTo>
                      <a:pt x="434970" y="93781"/>
                    </a:lnTo>
                    <a:lnTo>
                      <a:pt x="434970" y="3617"/>
                    </a:lnTo>
                    <a:lnTo>
                      <a:pt x="418218" y="7990"/>
                    </a:lnTo>
                    <a:close/>
                    <a:moveTo>
                      <a:pt x="279670" y="37617"/>
                    </a:moveTo>
                    <a:lnTo>
                      <a:pt x="279670" y="31307"/>
                    </a:lnTo>
                    <a:lnTo>
                      <a:pt x="263565" y="31307"/>
                    </a:lnTo>
                    <a:lnTo>
                      <a:pt x="263565" y="93787"/>
                    </a:lnTo>
                    <a:lnTo>
                      <a:pt x="280306" y="93787"/>
                    </a:lnTo>
                    <a:lnTo>
                      <a:pt x="280306" y="54490"/>
                    </a:lnTo>
                    <a:cubicBezTo>
                      <a:pt x="282365" y="50763"/>
                      <a:pt x="288172" y="45473"/>
                      <a:pt x="295518" y="45473"/>
                    </a:cubicBezTo>
                    <a:cubicBezTo>
                      <a:pt x="297962" y="45473"/>
                      <a:pt x="300413" y="45736"/>
                      <a:pt x="301575" y="46121"/>
                    </a:cubicBezTo>
                    <a:lnTo>
                      <a:pt x="303512" y="30525"/>
                    </a:lnTo>
                    <a:cubicBezTo>
                      <a:pt x="301697" y="30269"/>
                      <a:pt x="300285" y="30012"/>
                      <a:pt x="297834" y="30012"/>
                    </a:cubicBezTo>
                    <a:cubicBezTo>
                      <a:pt x="290237" y="30018"/>
                      <a:pt x="283404" y="32981"/>
                      <a:pt x="279670" y="37617"/>
                    </a:cubicBezTo>
                    <a:moveTo>
                      <a:pt x="353776" y="71881"/>
                    </a:moveTo>
                    <a:cubicBezTo>
                      <a:pt x="350555" y="76517"/>
                      <a:pt x="345005" y="79608"/>
                      <a:pt x="338698" y="79608"/>
                    </a:cubicBezTo>
                    <a:cubicBezTo>
                      <a:pt x="329285" y="79608"/>
                      <a:pt x="322196" y="72394"/>
                      <a:pt x="322196" y="62608"/>
                    </a:cubicBezTo>
                    <a:cubicBezTo>
                      <a:pt x="322196" y="53591"/>
                      <a:pt x="328515" y="45473"/>
                      <a:pt x="338313" y="45473"/>
                    </a:cubicBezTo>
                    <a:cubicBezTo>
                      <a:pt x="344754" y="45473"/>
                      <a:pt x="350297" y="48564"/>
                      <a:pt x="353776" y="53201"/>
                    </a:cubicBezTo>
                    <a:lnTo>
                      <a:pt x="353776" y="71881"/>
                    </a:lnTo>
                    <a:close/>
                    <a:moveTo>
                      <a:pt x="354423" y="36328"/>
                    </a:moveTo>
                    <a:cubicBezTo>
                      <a:pt x="349522" y="32333"/>
                      <a:pt x="343208" y="30018"/>
                      <a:pt x="336124" y="30018"/>
                    </a:cubicBezTo>
                    <a:cubicBezTo>
                      <a:pt x="319110" y="30018"/>
                      <a:pt x="305443" y="44184"/>
                      <a:pt x="305443" y="62608"/>
                    </a:cubicBezTo>
                    <a:cubicBezTo>
                      <a:pt x="305443" y="71117"/>
                      <a:pt x="308536" y="78839"/>
                      <a:pt x="313444" y="84508"/>
                    </a:cubicBezTo>
                    <a:cubicBezTo>
                      <a:pt x="318974" y="90952"/>
                      <a:pt x="327751" y="95070"/>
                      <a:pt x="337023" y="95070"/>
                    </a:cubicBezTo>
                    <a:cubicBezTo>
                      <a:pt x="343337" y="95070"/>
                      <a:pt x="349265" y="93139"/>
                      <a:pt x="354423" y="88759"/>
                    </a:cubicBezTo>
                    <a:lnTo>
                      <a:pt x="354423" y="93781"/>
                    </a:lnTo>
                    <a:lnTo>
                      <a:pt x="370534" y="93781"/>
                    </a:lnTo>
                    <a:lnTo>
                      <a:pt x="370534" y="31301"/>
                    </a:lnTo>
                    <a:lnTo>
                      <a:pt x="354423" y="31301"/>
                    </a:lnTo>
                    <a:lnTo>
                      <a:pt x="354423" y="36328"/>
                    </a:lnTo>
                    <a:close/>
                    <a:moveTo>
                      <a:pt x="385997" y="93781"/>
                    </a:moveTo>
                    <a:lnTo>
                      <a:pt x="402749" y="93781"/>
                    </a:lnTo>
                    <a:lnTo>
                      <a:pt x="402749" y="3617"/>
                    </a:lnTo>
                    <a:lnTo>
                      <a:pt x="385997" y="7996"/>
                    </a:lnTo>
                    <a:lnTo>
                      <a:pt x="385997" y="93781"/>
                    </a:lnTo>
                    <a:close/>
                    <a:moveTo>
                      <a:pt x="239717" y="0"/>
                    </a:moveTo>
                    <a:cubicBezTo>
                      <a:pt x="233660" y="0"/>
                      <a:pt x="228765" y="4643"/>
                      <a:pt x="228765" y="10690"/>
                    </a:cubicBezTo>
                    <a:cubicBezTo>
                      <a:pt x="228765" y="16750"/>
                      <a:pt x="233660" y="21387"/>
                      <a:pt x="239717" y="21387"/>
                    </a:cubicBezTo>
                    <a:cubicBezTo>
                      <a:pt x="245774" y="21387"/>
                      <a:pt x="250676" y="16750"/>
                      <a:pt x="250676" y="10690"/>
                    </a:cubicBezTo>
                    <a:cubicBezTo>
                      <a:pt x="250676" y="4643"/>
                      <a:pt x="245774" y="0"/>
                      <a:pt x="239717" y="0"/>
                    </a:cubicBezTo>
                    <a:moveTo>
                      <a:pt x="48332" y="71881"/>
                    </a:moveTo>
                    <a:cubicBezTo>
                      <a:pt x="45117" y="76517"/>
                      <a:pt x="39568" y="79608"/>
                      <a:pt x="33248" y="79608"/>
                    </a:cubicBezTo>
                    <a:cubicBezTo>
                      <a:pt x="23842" y="79608"/>
                      <a:pt x="16752" y="72394"/>
                      <a:pt x="16752" y="62608"/>
                    </a:cubicBezTo>
                    <a:cubicBezTo>
                      <a:pt x="16752" y="53591"/>
                      <a:pt x="23072" y="45473"/>
                      <a:pt x="32870" y="45473"/>
                    </a:cubicBezTo>
                    <a:cubicBezTo>
                      <a:pt x="39317" y="45473"/>
                      <a:pt x="44860" y="48564"/>
                      <a:pt x="48332" y="53201"/>
                    </a:cubicBezTo>
                    <a:lnTo>
                      <a:pt x="48332" y="71881"/>
                    </a:lnTo>
                    <a:close/>
                    <a:moveTo>
                      <a:pt x="48973" y="36328"/>
                    </a:moveTo>
                    <a:cubicBezTo>
                      <a:pt x="44079" y="32333"/>
                      <a:pt x="37759" y="30018"/>
                      <a:pt x="30675" y="30018"/>
                    </a:cubicBezTo>
                    <a:cubicBezTo>
                      <a:pt x="13660" y="30018"/>
                      <a:pt x="0" y="44184"/>
                      <a:pt x="0" y="62608"/>
                    </a:cubicBezTo>
                    <a:cubicBezTo>
                      <a:pt x="0" y="71117"/>
                      <a:pt x="3092" y="78839"/>
                      <a:pt x="7988" y="84508"/>
                    </a:cubicBezTo>
                    <a:cubicBezTo>
                      <a:pt x="13531" y="90952"/>
                      <a:pt x="22296" y="95070"/>
                      <a:pt x="31574" y="95070"/>
                    </a:cubicBezTo>
                    <a:cubicBezTo>
                      <a:pt x="37887" y="95070"/>
                      <a:pt x="43822" y="93139"/>
                      <a:pt x="48973" y="88759"/>
                    </a:cubicBezTo>
                    <a:lnTo>
                      <a:pt x="48973" y="93781"/>
                    </a:lnTo>
                    <a:lnTo>
                      <a:pt x="65085" y="93781"/>
                    </a:lnTo>
                    <a:lnTo>
                      <a:pt x="65085" y="31301"/>
                    </a:lnTo>
                    <a:lnTo>
                      <a:pt x="48973" y="31301"/>
                    </a:lnTo>
                    <a:lnTo>
                      <a:pt x="48973" y="36328"/>
                    </a:lnTo>
                    <a:close/>
                    <a:moveTo>
                      <a:pt x="80547" y="93781"/>
                    </a:moveTo>
                    <a:lnTo>
                      <a:pt x="97306" y="93781"/>
                    </a:lnTo>
                    <a:lnTo>
                      <a:pt x="97306" y="3617"/>
                    </a:lnTo>
                    <a:lnTo>
                      <a:pt x="80547" y="7996"/>
                    </a:lnTo>
                    <a:lnTo>
                      <a:pt x="80547" y="93781"/>
                    </a:lnTo>
                    <a:close/>
                    <a:moveTo>
                      <a:pt x="188934" y="30012"/>
                    </a:moveTo>
                    <a:cubicBezTo>
                      <a:pt x="179650" y="30012"/>
                      <a:pt x="171791" y="34526"/>
                      <a:pt x="166767" y="39810"/>
                    </a:cubicBezTo>
                    <a:cubicBezTo>
                      <a:pt x="161865" y="33879"/>
                      <a:pt x="154262" y="30012"/>
                      <a:pt x="145760" y="30012"/>
                    </a:cubicBezTo>
                    <a:cubicBezTo>
                      <a:pt x="139704" y="30012"/>
                      <a:pt x="133775" y="31949"/>
                      <a:pt x="128874" y="36328"/>
                    </a:cubicBezTo>
                    <a:lnTo>
                      <a:pt x="128874" y="31307"/>
                    </a:lnTo>
                    <a:lnTo>
                      <a:pt x="112756" y="31307"/>
                    </a:lnTo>
                    <a:lnTo>
                      <a:pt x="112756" y="93787"/>
                    </a:lnTo>
                    <a:lnTo>
                      <a:pt x="129515" y="93787"/>
                    </a:lnTo>
                    <a:lnTo>
                      <a:pt x="129515" y="53201"/>
                    </a:lnTo>
                    <a:cubicBezTo>
                      <a:pt x="131831" y="50250"/>
                      <a:pt x="136996" y="45473"/>
                      <a:pt x="144079" y="45473"/>
                    </a:cubicBezTo>
                    <a:cubicBezTo>
                      <a:pt x="147294" y="45473"/>
                      <a:pt x="150907" y="46506"/>
                      <a:pt x="153486" y="49340"/>
                    </a:cubicBezTo>
                    <a:cubicBezTo>
                      <a:pt x="155417" y="51527"/>
                      <a:pt x="156578" y="54361"/>
                      <a:pt x="156578" y="60030"/>
                    </a:cubicBezTo>
                    <a:lnTo>
                      <a:pt x="156578" y="93781"/>
                    </a:lnTo>
                    <a:lnTo>
                      <a:pt x="173331" y="93781"/>
                    </a:lnTo>
                    <a:lnTo>
                      <a:pt x="173331" y="60678"/>
                    </a:lnTo>
                    <a:cubicBezTo>
                      <a:pt x="173331" y="58100"/>
                      <a:pt x="173074" y="55772"/>
                      <a:pt x="172817" y="53714"/>
                    </a:cubicBezTo>
                    <a:cubicBezTo>
                      <a:pt x="175011" y="50501"/>
                      <a:pt x="180677" y="45467"/>
                      <a:pt x="187901" y="45467"/>
                    </a:cubicBezTo>
                    <a:cubicBezTo>
                      <a:pt x="191116" y="45467"/>
                      <a:pt x="194728" y="46499"/>
                      <a:pt x="197307" y="49334"/>
                    </a:cubicBezTo>
                    <a:cubicBezTo>
                      <a:pt x="199239" y="51521"/>
                      <a:pt x="200406" y="54355"/>
                      <a:pt x="200406" y="60024"/>
                    </a:cubicBezTo>
                    <a:lnTo>
                      <a:pt x="200406" y="93774"/>
                    </a:lnTo>
                    <a:lnTo>
                      <a:pt x="217152" y="93774"/>
                    </a:lnTo>
                    <a:lnTo>
                      <a:pt x="217152" y="60671"/>
                    </a:lnTo>
                    <a:cubicBezTo>
                      <a:pt x="217152" y="51392"/>
                      <a:pt x="214830" y="44954"/>
                      <a:pt x="210845" y="40055"/>
                    </a:cubicBezTo>
                    <a:cubicBezTo>
                      <a:pt x="205821" y="33879"/>
                      <a:pt x="197582" y="30012"/>
                      <a:pt x="188934" y="30012"/>
                    </a:cubicBezTo>
                    <a:moveTo>
                      <a:pt x="231344" y="93781"/>
                    </a:moveTo>
                    <a:lnTo>
                      <a:pt x="248096" y="93781"/>
                    </a:lnTo>
                    <a:lnTo>
                      <a:pt x="248096" y="31301"/>
                    </a:lnTo>
                    <a:lnTo>
                      <a:pt x="231344" y="31301"/>
                    </a:lnTo>
                    <a:lnTo>
                      <a:pt x="231344" y="93781"/>
                    </a:lnTo>
                    <a:close/>
                  </a:path>
                </a:pathLst>
              </a:custGeom>
              <a:solidFill>
                <a:schemeClr val="tx2"/>
              </a:solidFill>
              <a:ln w="611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_tradnl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6F6F6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</p:grpSp>
      <p:sp>
        <p:nvSpPr>
          <p:cNvPr id="4" name="CuadroTexto 3">
            <a:extLst>
              <a:ext uri="{FF2B5EF4-FFF2-40B4-BE49-F238E27FC236}">
                <a16:creationId xmlns:a16="http://schemas.microsoft.com/office/drawing/2014/main" id="{329605CA-071D-1E4B-D995-878973A79D25}"/>
              </a:ext>
            </a:extLst>
          </p:cNvPr>
          <p:cNvSpPr txBox="1"/>
          <p:nvPr/>
        </p:nvSpPr>
        <p:spPr>
          <a:xfrm>
            <a:off x="922106" y="3198015"/>
            <a:ext cx="7205472" cy="7489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4267" b="1" i="0" u="none" strike="noStrike" kern="1200" cap="none" spc="0" normalizeH="0" baseline="0" noProof="0" dirty="0">
                <a:ln>
                  <a:noFill/>
                </a:ln>
                <a:solidFill>
                  <a:srgbClr val="00F0B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uchas gracias</a:t>
            </a:r>
          </a:p>
        </p:txBody>
      </p:sp>
      <p:sp>
        <p:nvSpPr>
          <p:cNvPr id="6" name="CuadroTexto 5">
            <a:extLst>
              <a:ext uri="{FF2B5EF4-FFF2-40B4-BE49-F238E27FC236}">
                <a16:creationId xmlns:a16="http://schemas.microsoft.com/office/drawing/2014/main" id="{D19FD1B0-EE2E-6DDA-F9BC-AE0148588F45}"/>
              </a:ext>
            </a:extLst>
          </p:cNvPr>
          <p:cNvSpPr txBox="1"/>
          <p:nvPr/>
        </p:nvSpPr>
        <p:spPr>
          <a:xfrm>
            <a:off x="4091941" y="6519538"/>
            <a:ext cx="2510028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s-ES" sz="1400" dirty="0">
                <a:solidFill>
                  <a:schemeClr val="bg1">
                    <a:lumMod val="75000"/>
                  </a:schemeClr>
                </a:solidFill>
              </a:rPr>
              <a:t>MA-ES-NOP-2500037</a:t>
            </a:r>
          </a:p>
        </p:txBody>
      </p:sp>
    </p:spTree>
    <p:extLst>
      <p:ext uri="{BB962C8B-B14F-4D97-AF65-F5344CB8AC3E}">
        <p14:creationId xmlns:p14="http://schemas.microsoft.com/office/powerpoint/2010/main" val="7127010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8460D0D-6996-C726-B39C-EE1B8BF9D6D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ítulo 3">
            <a:extLst>
              <a:ext uri="{FF2B5EF4-FFF2-40B4-BE49-F238E27FC236}">
                <a16:creationId xmlns:a16="http://schemas.microsoft.com/office/drawing/2014/main" id="{9B2BFC7E-3376-AB90-A903-50E24E3B5C1B}"/>
              </a:ext>
            </a:extLst>
          </p:cNvPr>
          <p:cNvSpPr txBox="1">
            <a:spLocks/>
          </p:cNvSpPr>
          <p:nvPr/>
        </p:nvSpPr>
        <p:spPr>
          <a:xfrm>
            <a:off x="912654" y="371907"/>
            <a:ext cx="10237945" cy="521562"/>
          </a:xfrm>
          <a:prstGeom prst="rect">
            <a:avLst/>
          </a:prstGeom>
        </p:spPr>
        <p:txBody>
          <a:bodyPr lIns="0" tIns="0" rIns="0" bIns="0" anchor="ctr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067" kern="1200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s-ES_tradnl" sz="2800" b="1" dirty="0"/>
              <a:t>Definición de la enfermedad arterial periférica</a:t>
            </a:r>
            <a:endParaRPr lang="es-ES" sz="2800" b="1" dirty="0"/>
          </a:p>
        </p:txBody>
      </p:sp>
      <p:pic>
        <p:nvPicPr>
          <p:cNvPr id="3" name="Imagen 2">
            <a:extLst>
              <a:ext uri="{FF2B5EF4-FFF2-40B4-BE49-F238E27FC236}">
                <a16:creationId xmlns:a16="http://schemas.microsoft.com/office/drawing/2014/main" id="{ED100F4A-8EAB-3D21-6AA0-018AD7B5F3D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924175" y="1514930"/>
            <a:ext cx="2247705" cy="4188108"/>
          </a:xfrm>
          <a:prstGeom prst="rect">
            <a:avLst/>
          </a:prstGeom>
        </p:spPr>
      </p:pic>
      <p:sp>
        <p:nvSpPr>
          <p:cNvPr id="4" name="CuadroTexto 3">
            <a:extLst>
              <a:ext uri="{FF2B5EF4-FFF2-40B4-BE49-F238E27FC236}">
                <a16:creationId xmlns:a16="http://schemas.microsoft.com/office/drawing/2014/main" id="{7825DE10-41D7-A2C2-63E8-86A0F3B9FF77}"/>
              </a:ext>
            </a:extLst>
          </p:cNvPr>
          <p:cNvSpPr txBox="1"/>
          <p:nvPr/>
        </p:nvSpPr>
        <p:spPr>
          <a:xfrm>
            <a:off x="8183182" y="5780171"/>
            <a:ext cx="1866356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700" dirty="0">
                <a:hlinkClick r:id="rId4"/>
              </a:rPr>
              <a:t>Peripheral arterial disease Guide: Causes, Symptoms and Treatment Options</a:t>
            </a:r>
            <a:endParaRPr lang="es-ES" sz="700" dirty="0"/>
          </a:p>
        </p:txBody>
      </p:sp>
      <p:sp>
        <p:nvSpPr>
          <p:cNvPr id="10" name="CuadroTexto 9">
            <a:extLst>
              <a:ext uri="{FF2B5EF4-FFF2-40B4-BE49-F238E27FC236}">
                <a16:creationId xmlns:a16="http://schemas.microsoft.com/office/drawing/2014/main" id="{A4F1200F-C7C7-A7CC-705C-9A9019F90EE3}"/>
              </a:ext>
            </a:extLst>
          </p:cNvPr>
          <p:cNvSpPr txBox="1"/>
          <p:nvPr/>
        </p:nvSpPr>
        <p:spPr>
          <a:xfrm>
            <a:off x="1408134" y="2761008"/>
            <a:ext cx="5670295" cy="7386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28594" indent="-228594" algn="just">
              <a:buFont typeface="Arial" panose="020B0604020202020204" pitchFamily="34" charset="0"/>
              <a:buChar char="•"/>
            </a:pPr>
            <a:r>
              <a:rPr lang="es-ES" sz="1400" dirty="0">
                <a:solidFill>
                  <a:schemeClr val="accent1"/>
                </a:solidFill>
              </a:rPr>
              <a:t>La EAP puede afectar a todos los sitios vasculares fuera del corazón (vasos carotídeos, de extremidades superiores, renales e inferiores…)</a:t>
            </a:r>
            <a:r>
              <a:rPr lang="es-ES" sz="1400" baseline="30000" dirty="0">
                <a:solidFill>
                  <a:schemeClr val="accent1"/>
                </a:solidFill>
              </a:rPr>
              <a:t>1</a:t>
            </a:r>
            <a:r>
              <a:rPr lang="es-ES" sz="1400" dirty="0">
                <a:solidFill>
                  <a:schemeClr val="accent1"/>
                </a:solidFill>
              </a:rPr>
              <a:t>.</a:t>
            </a:r>
          </a:p>
        </p:txBody>
      </p:sp>
      <p:sp>
        <p:nvSpPr>
          <p:cNvPr id="16" name="CuadroTexto 15">
            <a:extLst>
              <a:ext uri="{FF2B5EF4-FFF2-40B4-BE49-F238E27FC236}">
                <a16:creationId xmlns:a16="http://schemas.microsoft.com/office/drawing/2014/main" id="{90F93058-50EE-BD80-6112-22BC658D848A}"/>
              </a:ext>
            </a:extLst>
          </p:cNvPr>
          <p:cNvSpPr txBox="1"/>
          <p:nvPr/>
        </p:nvSpPr>
        <p:spPr>
          <a:xfrm>
            <a:off x="1408134" y="4773784"/>
            <a:ext cx="5670295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s-ES"/>
            </a:defPPr>
            <a:lvl1pPr marL="228594" indent="-228594" algn="just">
              <a:buFont typeface="Arial" panose="020B0604020202020204" pitchFamily="34" charset="0"/>
              <a:buChar char="•"/>
              <a:defRPr sz="1400">
                <a:solidFill>
                  <a:schemeClr val="accent1"/>
                </a:solidFill>
              </a:defRPr>
            </a:lvl1pPr>
          </a:lstStyle>
          <a:p>
            <a:r>
              <a:rPr lang="es-ES" dirty="0"/>
              <a:t>Muchos pacientes de EAP están </a:t>
            </a:r>
            <a:r>
              <a:rPr lang="es-ES" dirty="0" err="1"/>
              <a:t>infra-diagnosticados</a:t>
            </a:r>
            <a:r>
              <a:rPr lang="es-ES" dirty="0"/>
              <a:t> e infra-tratados</a:t>
            </a:r>
            <a:r>
              <a:rPr lang="es-ES" baseline="30000" dirty="0"/>
              <a:t>1</a:t>
            </a:r>
            <a:r>
              <a:rPr lang="es-ES" dirty="0"/>
              <a:t>.</a:t>
            </a:r>
          </a:p>
        </p:txBody>
      </p:sp>
      <p:sp>
        <p:nvSpPr>
          <p:cNvPr id="17" name="CuadroTexto 16">
            <a:extLst>
              <a:ext uri="{FF2B5EF4-FFF2-40B4-BE49-F238E27FC236}">
                <a16:creationId xmlns:a16="http://schemas.microsoft.com/office/drawing/2014/main" id="{AAF9C10F-5566-948D-D6F7-E1CAC8A10CBE}"/>
              </a:ext>
            </a:extLst>
          </p:cNvPr>
          <p:cNvSpPr txBox="1"/>
          <p:nvPr/>
        </p:nvSpPr>
        <p:spPr>
          <a:xfrm>
            <a:off x="1457899" y="5672450"/>
            <a:ext cx="5670295" cy="415498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>
            <a:defPPr>
              <a:defRPr lang="es-ES"/>
            </a:defPPr>
            <a:lvl1pPr algn="ctr">
              <a:defRPr sz="700" b="1" i="1">
                <a:solidFill>
                  <a:schemeClr val="accent1"/>
                </a:solidFill>
                <a:effectLst/>
              </a:defRPr>
            </a:lvl1pPr>
          </a:lstStyle>
          <a:p>
            <a:r>
              <a:rPr lang="en-US" dirty="0"/>
              <a:t>1. </a:t>
            </a:r>
            <a:r>
              <a:rPr lang="en-US" b="0" dirty="0"/>
              <a:t>American Heart Association. What is Peripheral Artery Disease (PAD)? Available at: https://www.heart.org/en/health-topics/peripheral-artery-disease/about-peripheral-artery-disease-pad. </a:t>
            </a:r>
            <a:r>
              <a:rPr lang="en-US" b="0" dirty="0" err="1"/>
              <a:t>Acceso</a:t>
            </a:r>
            <a:r>
              <a:rPr lang="en-US" b="0" dirty="0"/>
              <a:t> Julio 2024. </a:t>
            </a:r>
            <a:r>
              <a:rPr lang="es-ES" dirty="0"/>
              <a:t>2. </a:t>
            </a:r>
            <a:r>
              <a:rPr lang="es-ES" b="0" dirty="0" err="1"/>
              <a:t>Mazzolai</a:t>
            </a:r>
            <a:r>
              <a:rPr lang="es-ES" b="0" dirty="0"/>
              <a:t> L, et al. 2024 ESC </a:t>
            </a:r>
            <a:r>
              <a:rPr lang="es-ES" b="0" dirty="0" err="1"/>
              <a:t>Guidelines</a:t>
            </a:r>
            <a:r>
              <a:rPr lang="es-ES" b="0" dirty="0"/>
              <a:t> </a:t>
            </a:r>
            <a:r>
              <a:rPr lang="es-ES" b="0" dirty="0" err="1"/>
              <a:t>for</a:t>
            </a:r>
            <a:r>
              <a:rPr lang="es-ES" b="0" dirty="0"/>
              <a:t> </a:t>
            </a:r>
            <a:r>
              <a:rPr lang="es-ES" b="0" dirty="0" err="1"/>
              <a:t>the</a:t>
            </a:r>
            <a:r>
              <a:rPr lang="es-ES" b="0" dirty="0"/>
              <a:t> </a:t>
            </a:r>
            <a:r>
              <a:rPr lang="es-ES" b="0" dirty="0" err="1"/>
              <a:t>management</a:t>
            </a:r>
            <a:r>
              <a:rPr lang="es-ES" b="0" dirty="0"/>
              <a:t> </a:t>
            </a:r>
            <a:r>
              <a:rPr lang="es-ES" b="0" dirty="0" err="1"/>
              <a:t>of</a:t>
            </a:r>
            <a:r>
              <a:rPr lang="es-ES" b="0" dirty="0"/>
              <a:t> </a:t>
            </a:r>
            <a:r>
              <a:rPr lang="es-ES" b="0" dirty="0" err="1"/>
              <a:t>peripheral</a:t>
            </a:r>
            <a:r>
              <a:rPr lang="es-ES" b="0" dirty="0"/>
              <a:t> arterial and </a:t>
            </a:r>
            <a:r>
              <a:rPr lang="es-ES" b="0" dirty="0" err="1"/>
              <a:t>aortic</a:t>
            </a:r>
            <a:r>
              <a:rPr lang="es-ES" b="0" dirty="0"/>
              <a:t> </a:t>
            </a:r>
            <a:r>
              <a:rPr lang="es-ES" b="0" dirty="0" err="1"/>
              <a:t>diseases.Eur</a:t>
            </a:r>
            <a:r>
              <a:rPr lang="es-ES" b="0" dirty="0"/>
              <a:t> Heart J. 2024 </a:t>
            </a:r>
            <a:r>
              <a:rPr lang="es-ES" b="0" dirty="0" err="1"/>
              <a:t>Sep</a:t>
            </a:r>
            <a:r>
              <a:rPr lang="es-ES" b="0" dirty="0"/>
              <a:t> 29;45(36):3538-3700. </a:t>
            </a:r>
            <a:r>
              <a:rPr lang="es-ES" b="0" dirty="0" err="1"/>
              <a:t>doi</a:t>
            </a:r>
            <a:r>
              <a:rPr lang="es-ES" b="0" dirty="0"/>
              <a:t>: 10.1093/</a:t>
            </a:r>
            <a:r>
              <a:rPr lang="es-ES" b="0" dirty="0" err="1"/>
              <a:t>eurheartj</a:t>
            </a:r>
            <a:r>
              <a:rPr lang="es-ES" b="0" dirty="0"/>
              <a:t>/ehae179.</a:t>
            </a:r>
          </a:p>
        </p:txBody>
      </p:sp>
      <p:sp>
        <p:nvSpPr>
          <p:cNvPr id="19" name="CuadroTexto 18">
            <a:extLst>
              <a:ext uri="{FF2B5EF4-FFF2-40B4-BE49-F238E27FC236}">
                <a16:creationId xmlns:a16="http://schemas.microsoft.com/office/drawing/2014/main" id="{1B19D185-A064-EBF7-08F2-99E39227B7B0}"/>
              </a:ext>
            </a:extLst>
          </p:cNvPr>
          <p:cNvSpPr txBox="1"/>
          <p:nvPr/>
        </p:nvSpPr>
        <p:spPr>
          <a:xfrm>
            <a:off x="1408134" y="1646898"/>
            <a:ext cx="5670296" cy="738664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s-ES"/>
            </a:defPPr>
            <a:lvl1pPr marL="228594" indent="-228594" algn="just">
              <a:buFont typeface="Arial" panose="020B0604020202020204" pitchFamily="34" charset="0"/>
              <a:buChar char="•"/>
              <a:defRPr sz="1400">
                <a:solidFill>
                  <a:schemeClr val="accent1"/>
                </a:solidFill>
              </a:defRPr>
            </a:lvl1pPr>
          </a:lstStyle>
          <a:p>
            <a:r>
              <a:rPr lang="es-ES" dirty="0"/>
              <a:t>La enfermedad arterial periférica (EAP) es una afección caracterizada por el estrechamiento u obstrucción de las arterias periféricas principalmente debido a la ateroesclerosis</a:t>
            </a:r>
            <a:r>
              <a:rPr lang="es-ES" baseline="30000" dirty="0"/>
              <a:t>1</a:t>
            </a:r>
            <a:r>
              <a:rPr lang="es-ES" dirty="0"/>
              <a:t>.</a:t>
            </a:r>
          </a:p>
        </p:txBody>
      </p:sp>
      <p:sp>
        <p:nvSpPr>
          <p:cNvPr id="20" name="CuadroTexto 19">
            <a:extLst>
              <a:ext uri="{FF2B5EF4-FFF2-40B4-BE49-F238E27FC236}">
                <a16:creationId xmlns:a16="http://schemas.microsoft.com/office/drawing/2014/main" id="{8AD1C2C7-AA7E-9385-3C9E-869685AAB101}"/>
              </a:ext>
            </a:extLst>
          </p:cNvPr>
          <p:cNvSpPr txBox="1"/>
          <p:nvPr/>
        </p:nvSpPr>
        <p:spPr>
          <a:xfrm>
            <a:off x="1408134" y="3875118"/>
            <a:ext cx="5670296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s-ES"/>
            </a:defPPr>
            <a:lvl1pPr marL="228594" indent="-228594" algn="just">
              <a:buFont typeface="Arial" panose="020B0604020202020204" pitchFamily="34" charset="0"/>
              <a:buChar char="•"/>
              <a:defRPr sz="1400">
                <a:solidFill>
                  <a:schemeClr val="accent1"/>
                </a:solidFill>
              </a:defRPr>
            </a:lvl1pPr>
          </a:lstStyle>
          <a:p>
            <a:r>
              <a:rPr lang="es-ES" dirty="0"/>
              <a:t>El tipo más común es la EAP de extremidades inferiores, en la que el flujo sanguíneo se reduce a las piernas y los pies</a:t>
            </a:r>
            <a:r>
              <a:rPr lang="es-ES" baseline="30000" dirty="0"/>
              <a:t> 1</a:t>
            </a:r>
            <a:r>
              <a:rPr lang="es-ES" dirty="0"/>
              <a:t>.</a:t>
            </a:r>
          </a:p>
        </p:txBody>
      </p:sp>
      <p:sp>
        <p:nvSpPr>
          <p:cNvPr id="2" name="CuadroTexto 1">
            <a:extLst>
              <a:ext uri="{FF2B5EF4-FFF2-40B4-BE49-F238E27FC236}">
                <a16:creationId xmlns:a16="http://schemas.microsoft.com/office/drawing/2014/main" id="{904D18B8-A364-A1CB-BB5C-2E66D8D9F01A}"/>
              </a:ext>
            </a:extLst>
          </p:cNvPr>
          <p:cNvSpPr txBox="1"/>
          <p:nvPr/>
        </p:nvSpPr>
        <p:spPr>
          <a:xfrm rot="16200000">
            <a:off x="10611613" y="3657467"/>
            <a:ext cx="2510028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s-ES"/>
            </a:defPPr>
            <a:lvl1pPr algn="ctr">
              <a:defRPr sz="1400">
                <a:solidFill>
                  <a:schemeClr val="bg1">
                    <a:lumMod val="95000"/>
                  </a:schemeClr>
                </a:solidFill>
              </a:defRPr>
            </a:lvl1pPr>
          </a:lstStyle>
          <a:p>
            <a:r>
              <a:rPr lang="es-ES" dirty="0"/>
              <a:t>MA-ES-NOP-2500037</a:t>
            </a:r>
          </a:p>
        </p:txBody>
      </p:sp>
    </p:spTree>
    <p:extLst>
      <p:ext uri="{BB962C8B-B14F-4D97-AF65-F5344CB8AC3E}">
        <p14:creationId xmlns:p14="http://schemas.microsoft.com/office/powerpoint/2010/main" val="215883056"/>
      </p:ext>
    </p:extLst>
  </p:cSld>
  <p:clrMapOvr>
    <a:masterClrMapping/>
  </p:clrMapOvr>
  <p:transition spd="med"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21088F0-8013-0E6C-9EF6-ECBC0EB20F5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ítulo 3">
            <a:extLst>
              <a:ext uri="{FF2B5EF4-FFF2-40B4-BE49-F238E27FC236}">
                <a16:creationId xmlns:a16="http://schemas.microsoft.com/office/drawing/2014/main" id="{EBBBC7A4-29B4-9DF3-962C-152F98DA1CC8}"/>
              </a:ext>
            </a:extLst>
          </p:cNvPr>
          <p:cNvSpPr txBox="1">
            <a:spLocks/>
          </p:cNvSpPr>
          <p:nvPr/>
        </p:nvSpPr>
        <p:spPr>
          <a:xfrm>
            <a:off x="1754475" y="317971"/>
            <a:ext cx="8683049" cy="640156"/>
          </a:xfrm>
          <a:prstGeom prst="rect">
            <a:avLst/>
          </a:prstGeom>
        </p:spPr>
        <p:txBody>
          <a:bodyPr lIns="0" tIns="0" rIns="0" bIns="0" anchor="ctr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067" kern="1200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s-ES_tradnl" sz="2800" b="1" dirty="0"/>
              <a:t>Prevalencia de la enfermedad arterial periférica</a:t>
            </a:r>
            <a:endParaRPr lang="es-ES" sz="2800" b="1" dirty="0">
              <a:solidFill>
                <a:srgbClr val="FF0000"/>
              </a:solidFill>
            </a:endParaRPr>
          </a:p>
        </p:txBody>
      </p:sp>
      <p:sp>
        <p:nvSpPr>
          <p:cNvPr id="3" name="CuadroTexto 2">
            <a:extLst>
              <a:ext uri="{FF2B5EF4-FFF2-40B4-BE49-F238E27FC236}">
                <a16:creationId xmlns:a16="http://schemas.microsoft.com/office/drawing/2014/main" id="{13E94B08-929E-A18B-A23B-0D0CC85916CE}"/>
              </a:ext>
            </a:extLst>
          </p:cNvPr>
          <p:cNvSpPr txBox="1"/>
          <p:nvPr/>
        </p:nvSpPr>
        <p:spPr>
          <a:xfrm>
            <a:off x="952055" y="1719393"/>
            <a:ext cx="4833139" cy="738664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s-ES" sz="1400" dirty="0">
                <a:solidFill>
                  <a:schemeClr val="accent1"/>
                </a:solidFill>
              </a:rPr>
              <a:t>La enfermedad arterial periférica (EAP) y la patología aórtica son muy prevalentes y, generalmente, olvidadas</a:t>
            </a:r>
            <a:r>
              <a:rPr lang="es-ES" sz="1400" baseline="30000" dirty="0">
                <a:solidFill>
                  <a:schemeClr val="accent1"/>
                </a:solidFill>
              </a:rPr>
              <a:t>1</a:t>
            </a:r>
            <a:r>
              <a:rPr lang="es-ES" sz="1400" dirty="0">
                <a:solidFill>
                  <a:schemeClr val="accent1"/>
                </a:solidFill>
              </a:rPr>
              <a:t>.</a:t>
            </a:r>
          </a:p>
        </p:txBody>
      </p:sp>
      <p:sp>
        <p:nvSpPr>
          <p:cNvPr id="8" name="CuadroTexto 7">
            <a:extLst>
              <a:ext uri="{FF2B5EF4-FFF2-40B4-BE49-F238E27FC236}">
                <a16:creationId xmlns:a16="http://schemas.microsoft.com/office/drawing/2014/main" id="{F3E133C9-123F-E70D-F898-E3F8B8A3DB38}"/>
              </a:ext>
            </a:extLst>
          </p:cNvPr>
          <p:cNvSpPr txBox="1"/>
          <p:nvPr/>
        </p:nvSpPr>
        <p:spPr>
          <a:xfrm>
            <a:off x="1010660" y="2664005"/>
            <a:ext cx="4755520" cy="224676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71450" marR="0" lvl="0" indent="-17145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ES" sz="1400" b="0" i="0" u="none" strike="noStrike" kern="1200" cap="none" spc="0" normalizeH="0" baseline="0" noProof="0" dirty="0">
                <a:ln>
                  <a:noFill/>
                </a:ln>
                <a:solidFill>
                  <a:srgbClr val="00285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a </a:t>
            </a:r>
            <a:r>
              <a:rPr kumimoji="0" lang="es-ES" sz="1400" i="0" u="none" strike="noStrike" kern="1200" cap="none" spc="0" normalizeH="0" baseline="0" noProof="0" dirty="0">
                <a:ln>
                  <a:noFill/>
                </a:ln>
                <a:solidFill>
                  <a:srgbClr val="00285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evalencia</a:t>
            </a:r>
            <a:r>
              <a:rPr kumimoji="0" lang="es-ES" sz="1400" b="0" i="0" u="none" strike="noStrike" kern="1200" cap="none" spc="0" normalizeH="0" baseline="0" noProof="0" dirty="0">
                <a:ln>
                  <a:noFill/>
                </a:ln>
                <a:solidFill>
                  <a:srgbClr val="00285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de </a:t>
            </a:r>
            <a:r>
              <a:rPr kumimoji="0" lang="es-ES" sz="1400" i="0" u="none" strike="noStrike" kern="1200" cap="none" spc="0" normalizeH="0" baseline="0" noProof="0" dirty="0">
                <a:ln>
                  <a:noFill/>
                </a:ln>
                <a:solidFill>
                  <a:srgbClr val="00285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as enfermedades arteriales periféricas y aórticas (PAAD</a:t>
            </a:r>
            <a:r>
              <a:rPr kumimoji="0" lang="es-ES" sz="1400" b="0" i="0" u="none" strike="noStrike" kern="1200" cap="none" spc="0" normalizeH="0" baseline="0" noProof="0" dirty="0">
                <a:ln>
                  <a:noFill/>
                </a:ln>
                <a:solidFill>
                  <a:srgbClr val="00285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) es alta</a:t>
            </a:r>
            <a:r>
              <a:rPr lang="es-ES" sz="1400" b="1" baseline="30000" dirty="0">
                <a:solidFill>
                  <a:schemeClr val="accent1"/>
                </a:solidFill>
              </a:rPr>
              <a:t>1</a:t>
            </a:r>
            <a:r>
              <a:rPr kumimoji="0" lang="es-ES" sz="1400" b="0" i="0" u="none" strike="noStrike" kern="1200" cap="none" spc="0" normalizeH="0" baseline="0" noProof="0" dirty="0">
                <a:ln>
                  <a:noFill/>
                </a:ln>
                <a:solidFill>
                  <a:srgbClr val="00285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:</a:t>
            </a:r>
          </a:p>
          <a:p>
            <a:pPr marL="171450" marR="0" lvl="0" indent="-17145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s-ES" sz="1400" dirty="0">
              <a:solidFill>
                <a:srgbClr val="002855"/>
              </a:solidFill>
              <a:latin typeface="Arial"/>
            </a:endParaRPr>
          </a:p>
          <a:p>
            <a:pPr marL="742950" lvl="1" indent="-285750" algn="just">
              <a:buFont typeface="Arial" panose="020B0604020202020204" pitchFamily="34" charset="0"/>
              <a:buChar char="-"/>
              <a:defRPr/>
            </a:pPr>
            <a:r>
              <a:rPr kumimoji="0" lang="es-ES" sz="1400" b="0" i="0" u="none" strike="noStrike" kern="1200" cap="none" spc="0" normalizeH="0" baseline="0" noProof="0" dirty="0">
                <a:ln>
                  <a:noFill/>
                </a:ln>
                <a:solidFill>
                  <a:srgbClr val="00285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13 millones de personas ≥ 40 años.</a:t>
            </a:r>
          </a:p>
          <a:p>
            <a:pPr marL="742950" lvl="1" indent="-285750" algn="just">
              <a:buFont typeface="Arial" panose="020B0604020202020204" pitchFamily="34" charset="0"/>
              <a:buChar char="-"/>
              <a:defRPr/>
            </a:pPr>
            <a:r>
              <a:rPr lang="es-ES" sz="1400" dirty="0">
                <a:solidFill>
                  <a:srgbClr val="002855"/>
                </a:solidFill>
                <a:latin typeface="Arial"/>
              </a:rPr>
              <a:t>14,91% en personas de 80 a 84 años.</a:t>
            </a:r>
          </a:p>
          <a:p>
            <a:pPr marL="742950" lvl="1" indent="-285750" algn="just">
              <a:buFont typeface="Arial" panose="020B0604020202020204" pitchFamily="34" charset="0"/>
              <a:buChar char="-"/>
              <a:defRPr/>
            </a:pPr>
            <a:r>
              <a:rPr kumimoji="0" lang="es-ES" sz="1400" b="0" i="0" u="none" strike="noStrike" kern="1200" cap="none" spc="0" normalizeH="0" baseline="0" noProof="0" dirty="0">
                <a:ln>
                  <a:noFill/>
                </a:ln>
                <a:solidFill>
                  <a:srgbClr val="00285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ás alta en mujeres (18,03% vs. 10,56%, en el mismo grupo de edad).</a:t>
            </a:r>
          </a:p>
          <a:p>
            <a:pPr lvl="1" algn="just">
              <a:defRPr/>
            </a:pPr>
            <a:endParaRPr lang="es-ES" sz="1400" dirty="0">
              <a:solidFill>
                <a:srgbClr val="002855"/>
              </a:solidFill>
              <a:latin typeface="Arial"/>
            </a:endParaRPr>
          </a:p>
          <a:p>
            <a:pPr marL="171450" marR="0" lvl="0" indent="-17145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ES" sz="1400" b="0" i="0" u="none" strike="noStrike" kern="1200" cap="none" spc="0" normalizeH="0" baseline="0" noProof="0" dirty="0">
                <a:ln>
                  <a:noFill/>
                </a:ln>
                <a:solidFill>
                  <a:srgbClr val="00285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uelen ser </a:t>
            </a:r>
            <a:r>
              <a:rPr kumimoji="0" lang="es-ES" sz="1400" i="0" u="none" strike="noStrike" kern="1200" cap="none" spc="0" normalizeH="0" baseline="0" noProof="0" dirty="0">
                <a:ln>
                  <a:noFill/>
                </a:ln>
                <a:solidFill>
                  <a:srgbClr val="00285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sintomáticas </a:t>
            </a:r>
            <a:r>
              <a:rPr kumimoji="0" lang="es-ES" sz="1400" i="0" u="none" strike="noStrike" kern="1200" cap="none" spc="0" normalizeH="0" baseline="0" noProof="0" dirty="0">
                <a:ln>
                  <a:noFill/>
                </a:ln>
                <a:solidFill>
                  <a:srgbClr val="002855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Wingdings" panose="05000000000000000000" pitchFamily="2" charset="2"/>
              </a:rPr>
              <a:t> Cribado esencial</a:t>
            </a:r>
            <a:r>
              <a:rPr lang="es-ES" sz="1400" baseline="30000" dirty="0">
                <a:solidFill>
                  <a:schemeClr val="accent1"/>
                </a:solidFill>
              </a:rPr>
              <a:t>1</a:t>
            </a:r>
            <a:endParaRPr kumimoji="0" lang="es-ES" sz="1400" i="0" u="none" strike="noStrike" kern="1200" cap="none" spc="0" normalizeH="0" baseline="0" noProof="0" dirty="0">
              <a:ln>
                <a:noFill/>
              </a:ln>
              <a:solidFill>
                <a:srgbClr val="002855"/>
              </a:solidFill>
              <a:effectLst/>
              <a:uLnTx/>
              <a:uFillTx/>
              <a:latin typeface="Arial"/>
              <a:ea typeface="+mn-ea"/>
              <a:cs typeface="+mn-cs"/>
              <a:sym typeface="Wingdings" panose="05000000000000000000" pitchFamily="2" charset="2"/>
            </a:endParaRPr>
          </a:p>
          <a:p>
            <a:pPr marL="171450" marR="0" lvl="0" indent="-17145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s-ES" sz="1400" dirty="0">
              <a:solidFill>
                <a:srgbClr val="002855"/>
              </a:solidFill>
              <a:latin typeface="Arial"/>
              <a:sym typeface="Wingdings" panose="05000000000000000000" pitchFamily="2" charset="2"/>
            </a:endParaRPr>
          </a:p>
        </p:txBody>
      </p:sp>
      <p:pic>
        <p:nvPicPr>
          <p:cNvPr id="16" name="Imagen 15">
            <a:extLst>
              <a:ext uri="{FF2B5EF4-FFF2-40B4-BE49-F238E27FC236}">
                <a16:creationId xmlns:a16="http://schemas.microsoft.com/office/drawing/2014/main" id="{2C40736F-B8FB-ED38-684B-B3106C70357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095999" y="2273219"/>
            <a:ext cx="5143946" cy="2758679"/>
          </a:xfrm>
          <a:prstGeom prst="rect">
            <a:avLst/>
          </a:prstGeom>
        </p:spPr>
      </p:pic>
      <p:sp>
        <p:nvSpPr>
          <p:cNvPr id="18" name="CuadroTexto 17">
            <a:extLst>
              <a:ext uri="{FF2B5EF4-FFF2-40B4-BE49-F238E27FC236}">
                <a16:creationId xmlns:a16="http://schemas.microsoft.com/office/drawing/2014/main" id="{4132E567-28C7-1F9B-1650-8887D98A7C31}"/>
              </a:ext>
            </a:extLst>
          </p:cNvPr>
          <p:cNvSpPr txBox="1"/>
          <p:nvPr/>
        </p:nvSpPr>
        <p:spPr>
          <a:xfrm>
            <a:off x="6285331" y="1620862"/>
            <a:ext cx="4629912" cy="461665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pPr algn="ctr"/>
            <a:r>
              <a:rPr lang="es-ES" sz="1200" b="1" dirty="0">
                <a:solidFill>
                  <a:schemeClr val="tx1">
                    <a:lumMod val="50000"/>
                  </a:schemeClr>
                </a:solidFill>
              </a:rPr>
              <a:t>Prevalencia específica estimada de EAP, por sexo, en personas </a:t>
            </a:r>
            <a:r>
              <a:rPr kumimoji="0" lang="es-ES" sz="1200" b="1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50000"/>
                  </a:scheme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≥ </a:t>
            </a:r>
            <a:r>
              <a:rPr lang="es-ES" sz="1200" b="1" dirty="0">
                <a:solidFill>
                  <a:schemeClr val="tx1">
                    <a:lumMod val="50000"/>
                  </a:schemeClr>
                </a:solidFill>
              </a:rPr>
              <a:t>40 años</a:t>
            </a:r>
            <a:r>
              <a:rPr lang="es-ES" sz="1200" b="1" baseline="30000" dirty="0">
                <a:solidFill>
                  <a:schemeClr val="tx1">
                    <a:lumMod val="50000"/>
                  </a:schemeClr>
                </a:solidFill>
              </a:rPr>
              <a:t>1</a:t>
            </a:r>
            <a:r>
              <a:rPr lang="es-ES" sz="1200" b="1" dirty="0">
                <a:solidFill>
                  <a:schemeClr val="tx1">
                    <a:lumMod val="50000"/>
                  </a:schemeClr>
                </a:solidFill>
              </a:rPr>
              <a:t>.</a:t>
            </a:r>
          </a:p>
        </p:txBody>
      </p:sp>
      <p:sp>
        <p:nvSpPr>
          <p:cNvPr id="21" name="CuadroTexto 20">
            <a:extLst>
              <a:ext uri="{FF2B5EF4-FFF2-40B4-BE49-F238E27FC236}">
                <a16:creationId xmlns:a16="http://schemas.microsoft.com/office/drawing/2014/main" id="{F86E9A0F-88BA-3606-A9DE-471A90C64B77}"/>
              </a:ext>
            </a:extLst>
          </p:cNvPr>
          <p:cNvSpPr txBox="1"/>
          <p:nvPr/>
        </p:nvSpPr>
        <p:spPr>
          <a:xfrm>
            <a:off x="6254989" y="5256193"/>
            <a:ext cx="4926351" cy="523220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pPr marR="0" lvl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s-ES" sz="1400" dirty="0">
                <a:solidFill>
                  <a:srgbClr val="002855"/>
                </a:solidFill>
                <a:latin typeface="Arial"/>
              </a:rPr>
              <a:t>Tasa de crecimiento del 45% en la población mundial de 1990 a 2019</a:t>
            </a:r>
            <a:r>
              <a:rPr lang="es-ES" sz="1400" b="1" baseline="30000" dirty="0">
                <a:solidFill>
                  <a:schemeClr val="accent1"/>
                </a:solidFill>
              </a:rPr>
              <a:t>1</a:t>
            </a:r>
            <a:r>
              <a:rPr lang="es-ES" sz="1400" dirty="0">
                <a:solidFill>
                  <a:srgbClr val="002855"/>
                </a:solidFill>
                <a:latin typeface="Arial"/>
              </a:rPr>
              <a:t>.</a:t>
            </a:r>
            <a:endParaRPr kumimoji="0" lang="es-ES" sz="1400" b="0" i="0" u="none" strike="noStrike" kern="1200" cap="none" spc="0" normalizeH="0" baseline="0" noProof="0" dirty="0">
              <a:ln>
                <a:noFill/>
              </a:ln>
              <a:solidFill>
                <a:srgbClr val="002855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1" name="CuadroTexto 10">
            <a:extLst>
              <a:ext uri="{FF2B5EF4-FFF2-40B4-BE49-F238E27FC236}">
                <a16:creationId xmlns:a16="http://schemas.microsoft.com/office/drawing/2014/main" id="{BE514F58-F0E3-23A2-FE56-99709EF334AA}"/>
              </a:ext>
            </a:extLst>
          </p:cNvPr>
          <p:cNvSpPr txBox="1"/>
          <p:nvPr/>
        </p:nvSpPr>
        <p:spPr>
          <a:xfrm>
            <a:off x="1931158" y="6039213"/>
            <a:ext cx="887786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s-ES"/>
            </a:defPPr>
            <a:lvl1pPr algn="ctr">
              <a:defRPr sz="700" b="0" i="1">
                <a:solidFill>
                  <a:schemeClr val="accent1"/>
                </a:solidFill>
                <a:effectLst/>
              </a:defRPr>
            </a:lvl1pPr>
          </a:lstStyle>
          <a:p>
            <a:r>
              <a:rPr lang="es-ES" b="1" dirty="0"/>
              <a:t>1</a:t>
            </a:r>
            <a:r>
              <a:rPr lang="es-ES" dirty="0"/>
              <a:t>. </a:t>
            </a:r>
            <a:r>
              <a:rPr lang="es-ES" dirty="0" err="1"/>
              <a:t>Mazzolai</a:t>
            </a:r>
            <a:r>
              <a:rPr lang="es-ES" dirty="0"/>
              <a:t> L, et al. 2024 ESC </a:t>
            </a:r>
            <a:r>
              <a:rPr lang="es-ES" dirty="0" err="1"/>
              <a:t>Guidelines</a:t>
            </a:r>
            <a:r>
              <a:rPr lang="es-ES" dirty="0"/>
              <a:t> </a:t>
            </a:r>
            <a:r>
              <a:rPr lang="es-ES" dirty="0" err="1"/>
              <a:t>for</a:t>
            </a:r>
            <a:r>
              <a:rPr lang="es-ES" dirty="0"/>
              <a:t> </a:t>
            </a:r>
            <a:r>
              <a:rPr lang="es-ES" dirty="0" err="1"/>
              <a:t>the</a:t>
            </a:r>
            <a:r>
              <a:rPr lang="es-ES" dirty="0"/>
              <a:t> </a:t>
            </a:r>
            <a:r>
              <a:rPr lang="es-ES" dirty="0" err="1"/>
              <a:t>management</a:t>
            </a:r>
            <a:r>
              <a:rPr lang="es-ES" dirty="0"/>
              <a:t> </a:t>
            </a:r>
            <a:r>
              <a:rPr lang="es-ES" dirty="0" err="1"/>
              <a:t>of</a:t>
            </a:r>
            <a:r>
              <a:rPr lang="es-ES" dirty="0"/>
              <a:t> </a:t>
            </a:r>
            <a:r>
              <a:rPr lang="es-ES" dirty="0" err="1"/>
              <a:t>peripheral</a:t>
            </a:r>
            <a:r>
              <a:rPr lang="es-ES" dirty="0"/>
              <a:t> arterial and </a:t>
            </a:r>
            <a:r>
              <a:rPr lang="es-ES" dirty="0" err="1"/>
              <a:t>aortic</a:t>
            </a:r>
            <a:r>
              <a:rPr lang="es-ES" dirty="0"/>
              <a:t> </a:t>
            </a:r>
            <a:r>
              <a:rPr lang="es-ES" dirty="0" err="1"/>
              <a:t>diseases</a:t>
            </a:r>
            <a:r>
              <a:rPr lang="es-ES" dirty="0"/>
              <a:t>. </a:t>
            </a:r>
            <a:r>
              <a:rPr lang="es-ES" dirty="0" err="1"/>
              <a:t>Eur</a:t>
            </a:r>
            <a:r>
              <a:rPr lang="es-ES" dirty="0"/>
              <a:t> Heart J. 2024 </a:t>
            </a:r>
            <a:r>
              <a:rPr lang="es-ES" dirty="0" err="1"/>
              <a:t>Sep</a:t>
            </a:r>
            <a:r>
              <a:rPr lang="es-ES" dirty="0"/>
              <a:t> 29;45(36):3538-3700. </a:t>
            </a:r>
            <a:r>
              <a:rPr lang="es-ES" dirty="0" err="1"/>
              <a:t>doi</a:t>
            </a:r>
            <a:r>
              <a:rPr lang="es-ES" dirty="0"/>
              <a:t>: 10.1093/</a:t>
            </a:r>
            <a:r>
              <a:rPr lang="es-ES" dirty="0" err="1"/>
              <a:t>eurheartj</a:t>
            </a:r>
            <a:r>
              <a:rPr lang="es-ES" dirty="0"/>
              <a:t>/ehae179. </a:t>
            </a:r>
            <a:r>
              <a:rPr lang="es-ES" b="1" dirty="0"/>
              <a:t>2</a:t>
            </a:r>
            <a:r>
              <a:rPr lang="es-ES" dirty="0"/>
              <a:t>. </a:t>
            </a:r>
            <a:r>
              <a:rPr lang="es-ES" dirty="0" err="1"/>
              <a:t>Forés</a:t>
            </a:r>
            <a:r>
              <a:rPr lang="es-ES" dirty="0"/>
              <a:t> R. et al, Evolución de la prevalencia de arteriopatía periférica en la práctica clínica: Estudio descriptivo  poblacional con bases de datos reales (SIDIAP-CMBD). Aten Primaria. 2022 </a:t>
            </a:r>
            <a:r>
              <a:rPr lang="es-ES" dirty="0" err="1"/>
              <a:t>Aug</a:t>
            </a:r>
            <a:r>
              <a:rPr lang="es-ES" dirty="0"/>
              <a:t> 11;54(9):102437</a:t>
            </a:r>
          </a:p>
        </p:txBody>
      </p:sp>
      <p:sp>
        <p:nvSpPr>
          <p:cNvPr id="13" name="CuadroTexto 12">
            <a:extLst>
              <a:ext uri="{FF2B5EF4-FFF2-40B4-BE49-F238E27FC236}">
                <a16:creationId xmlns:a16="http://schemas.microsoft.com/office/drawing/2014/main" id="{AD76E5CD-2A66-C80D-10B7-C21E1B61E8A1}"/>
              </a:ext>
            </a:extLst>
          </p:cNvPr>
          <p:cNvSpPr txBox="1"/>
          <p:nvPr/>
        </p:nvSpPr>
        <p:spPr>
          <a:xfrm>
            <a:off x="8600287" y="4950422"/>
            <a:ext cx="2022234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s-ES"/>
            </a:defPPr>
            <a:lvl1pPr algn="ctr">
              <a:defRPr sz="700" b="0" i="1">
                <a:solidFill>
                  <a:schemeClr val="accent1"/>
                </a:solidFill>
                <a:effectLst/>
              </a:defRPr>
            </a:lvl1pPr>
          </a:lstStyle>
          <a:p>
            <a:pPr algn="r"/>
            <a:r>
              <a:rPr lang="es-ES" dirty="0" err="1"/>
              <a:t>Eur</a:t>
            </a:r>
            <a:r>
              <a:rPr lang="es-ES" dirty="0"/>
              <a:t> Heart J. 2024 </a:t>
            </a:r>
            <a:r>
              <a:rPr lang="es-ES" dirty="0" err="1"/>
              <a:t>Sep</a:t>
            </a:r>
            <a:r>
              <a:rPr lang="es-ES" dirty="0"/>
              <a:t> 29;45(36):3538-3700</a:t>
            </a:r>
          </a:p>
        </p:txBody>
      </p:sp>
      <p:sp>
        <p:nvSpPr>
          <p:cNvPr id="2" name="CuadroTexto 1">
            <a:extLst>
              <a:ext uri="{FF2B5EF4-FFF2-40B4-BE49-F238E27FC236}">
                <a16:creationId xmlns:a16="http://schemas.microsoft.com/office/drawing/2014/main" id="{AC1129A6-5DC9-B906-6BC1-BE080DBFB8C5}"/>
              </a:ext>
            </a:extLst>
          </p:cNvPr>
          <p:cNvSpPr txBox="1"/>
          <p:nvPr/>
        </p:nvSpPr>
        <p:spPr>
          <a:xfrm>
            <a:off x="1010660" y="4927804"/>
            <a:ext cx="4833139" cy="738664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>
            <a:defPPr>
              <a:defRPr lang="es-ES"/>
            </a:defPPr>
            <a:lvl1pPr marL="171450" marR="0" lvl="0" indent="-171450" algn="just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kumimoji="0" sz="1400" b="0" i="0" u="none" strike="noStrike" cap="none" spc="0" normalizeH="0" baseline="0">
                <a:ln>
                  <a:noFill/>
                </a:ln>
                <a:solidFill>
                  <a:srgbClr val="002855"/>
                </a:solidFill>
                <a:effectLst/>
                <a:uLnTx/>
                <a:uFillTx/>
                <a:latin typeface="Arial"/>
              </a:defRPr>
            </a:lvl1pPr>
            <a:lvl2pPr marL="628650" lvl="1" indent="-171450" algn="just">
              <a:buFont typeface="Arial" panose="020B0604020202020204" pitchFamily="34" charset="0"/>
              <a:buChar char="•"/>
              <a:defRPr kumimoji="0" sz="1400" b="0" i="0" u="none" strike="noStrike" cap="none" spc="0" normalizeH="0" baseline="0">
                <a:ln>
                  <a:noFill/>
                </a:ln>
                <a:solidFill>
                  <a:srgbClr val="002855"/>
                </a:solidFill>
                <a:effectLst/>
                <a:uLnTx/>
                <a:uFillTx/>
                <a:latin typeface="Arial"/>
              </a:defRPr>
            </a:lvl2pPr>
          </a:lstStyle>
          <a:p>
            <a:r>
              <a:rPr lang="es-ES" dirty="0"/>
              <a:t>En España, el análisis de los bases de datos SIDIAP y CMBD, muestran mayor prevalencia del EAP en hombres que en mujeres</a:t>
            </a:r>
            <a:r>
              <a:rPr lang="es-ES" baseline="30000" dirty="0"/>
              <a:t>2</a:t>
            </a:r>
            <a:r>
              <a:rPr lang="es-ES" dirty="0"/>
              <a:t>. </a:t>
            </a:r>
          </a:p>
        </p:txBody>
      </p:sp>
      <p:sp>
        <p:nvSpPr>
          <p:cNvPr id="4" name="CuadroTexto 3">
            <a:extLst>
              <a:ext uri="{FF2B5EF4-FFF2-40B4-BE49-F238E27FC236}">
                <a16:creationId xmlns:a16="http://schemas.microsoft.com/office/drawing/2014/main" id="{F698EBB5-EA7C-14C8-D4E8-6CFB027AE225}"/>
              </a:ext>
            </a:extLst>
          </p:cNvPr>
          <p:cNvSpPr txBox="1"/>
          <p:nvPr/>
        </p:nvSpPr>
        <p:spPr>
          <a:xfrm rot="16200000">
            <a:off x="10611613" y="3657467"/>
            <a:ext cx="2510028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s-ES" sz="1400" dirty="0">
                <a:solidFill>
                  <a:schemeClr val="bg1">
                    <a:lumMod val="95000"/>
                  </a:schemeClr>
                </a:solidFill>
              </a:rPr>
              <a:t>MA-ES-NOP-2500037</a:t>
            </a:r>
          </a:p>
        </p:txBody>
      </p:sp>
    </p:spTree>
    <p:extLst>
      <p:ext uri="{BB962C8B-B14F-4D97-AF65-F5344CB8AC3E}">
        <p14:creationId xmlns:p14="http://schemas.microsoft.com/office/powerpoint/2010/main" val="2951888974"/>
      </p:ext>
    </p:extLst>
  </p:cSld>
  <p:clrMapOvr>
    <a:masterClrMapping/>
  </p:clrMapOvr>
  <p:transition spd="med"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ítulo 7"/>
          <p:cNvSpPr>
            <a:spLocks noGrp="1"/>
          </p:cNvSpPr>
          <p:nvPr>
            <p:ph type="title" idx="4294967295"/>
          </p:nvPr>
        </p:nvSpPr>
        <p:spPr>
          <a:xfrm>
            <a:off x="483607" y="401173"/>
            <a:ext cx="11401425" cy="500063"/>
          </a:xfrm>
        </p:spPr>
        <p:txBody>
          <a:bodyPr vert="horz" lIns="91440" tIns="45720" rIns="91440" bIns="45720" rtlCol="0" anchor="ctr">
            <a:normAutofit fontScale="90000"/>
          </a:bodyPr>
          <a:lstStyle/>
          <a:p>
            <a:pPr algn="ctr"/>
            <a:r>
              <a:rPr lang="en-GB" dirty="0" err="1">
                <a:sym typeface="Calibri"/>
              </a:rPr>
              <a:t>Sintomatología</a:t>
            </a:r>
            <a:r>
              <a:rPr lang="en-GB" dirty="0">
                <a:sym typeface="Calibri"/>
              </a:rPr>
              <a:t> de la </a:t>
            </a:r>
            <a:r>
              <a:rPr lang="es-ES_tradnl" sz="3200" dirty="0"/>
              <a:t>enfermedad arterial periférica</a:t>
            </a:r>
            <a:endParaRPr lang="en-GB" dirty="0"/>
          </a:p>
        </p:txBody>
      </p:sp>
      <p:sp>
        <p:nvSpPr>
          <p:cNvPr id="11" name="CuadroTexto 10">
            <a:extLst>
              <a:ext uri="{FF2B5EF4-FFF2-40B4-BE49-F238E27FC236}">
                <a16:creationId xmlns:a16="http://schemas.microsoft.com/office/drawing/2014/main" id="{E5385639-E7C6-A2ED-3B36-76B9AEBAB5FA}"/>
              </a:ext>
            </a:extLst>
          </p:cNvPr>
          <p:cNvSpPr txBox="1"/>
          <p:nvPr/>
        </p:nvSpPr>
        <p:spPr>
          <a:xfrm>
            <a:off x="2103678" y="6159181"/>
            <a:ext cx="8934188" cy="297646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>
            <a:defPPr>
              <a:defRPr lang="es-ES"/>
            </a:defPPr>
            <a:lvl1pPr algn="ctr">
              <a:defRPr sz="700" b="1" i="1">
                <a:solidFill>
                  <a:schemeClr val="accent1"/>
                </a:solidFill>
                <a:effectLst/>
              </a:defRPr>
            </a:lvl1pPr>
          </a:lstStyle>
          <a:p>
            <a:r>
              <a:rPr lang="en-GB" dirty="0"/>
              <a:t>1. </a:t>
            </a:r>
            <a:r>
              <a:rPr lang="en-GB" b="0" dirty="0"/>
              <a:t>American Heart Association. </a:t>
            </a:r>
            <a:r>
              <a:rPr lang="en-US" b="0" dirty="0"/>
              <a:t>What is Peripheral Artery Disease (PAD)? Available at: </a:t>
            </a:r>
            <a:r>
              <a:rPr lang="es-ES" b="0" dirty="0"/>
              <a:t>https://www.heart.org/en/health-topics/peripheral-artery-disease/about-peripheral-artery-disease-pad. </a:t>
            </a:r>
            <a:r>
              <a:rPr lang="es-ES" dirty="0"/>
              <a:t>2</a:t>
            </a:r>
            <a:r>
              <a:rPr lang="es-ES" b="0" dirty="0"/>
              <a:t>. </a:t>
            </a:r>
            <a:r>
              <a:rPr lang="en-US" b="0" dirty="0" err="1"/>
              <a:t>Mazzolai</a:t>
            </a:r>
            <a:r>
              <a:rPr lang="en-US" b="0" dirty="0"/>
              <a:t> L, et al. 2024 ESC Guidelines for the management of peripheral arterial and aortic diseases. </a:t>
            </a:r>
            <a:r>
              <a:rPr lang="en-US" b="0" dirty="0" err="1"/>
              <a:t>Eur</a:t>
            </a:r>
            <a:r>
              <a:rPr lang="en-US" b="0" dirty="0"/>
              <a:t> Heart J. 2024 Sep 29;45(36):3538-3700. </a:t>
            </a:r>
            <a:r>
              <a:rPr lang="en-US" b="0" dirty="0" err="1"/>
              <a:t>doi</a:t>
            </a:r>
            <a:r>
              <a:rPr lang="en-US" b="0" dirty="0"/>
              <a:t>: 10.1093/</a:t>
            </a:r>
            <a:r>
              <a:rPr lang="en-US" b="0" dirty="0" err="1"/>
              <a:t>eurheartj</a:t>
            </a:r>
            <a:r>
              <a:rPr lang="en-US" b="0" dirty="0"/>
              <a:t>/ehae179.</a:t>
            </a:r>
            <a:endParaRPr lang="es-ES" b="0" dirty="0"/>
          </a:p>
        </p:txBody>
      </p:sp>
      <p:pic>
        <p:nvPicPr>
          <p:cNvPr id="9" name="Picture 4">
            <a:extLst>
              <a:ext uri="{FF2B5EF4-FFF2-40B4-BE49-F238E27FC236}">
                <a16:creationId xmlns:a16="http://schemas.microsoft.com/office/drawing/2014/main" id="{794678D0-97A6-3876-88BE-EBEDA0EFF50A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7750" t="38615" r="24026" b="16017"/>
          <a:stretch/>
        </p:blipFill>
        <p:spPr>
          <a:xfrm>
            <a:off x="3256036" y="2402057"/>
            <a:ext cx="5744173" cy="2184621"/>
          </a:xfrm>
          <a:prstGeom prst="rect">
            <a:avLst/>
          </a:prstGeom>
        </p:spPr>
      </p:pic>
      <p:sp>
        <p:nvSpPr>
          <p:cNvPr id="26" name="CuadroTexto 25">
            <a:extLst>
              <a:ext uri="{FF2B5EF4-FFF2-40B4-BE49-F238E27FC236}">
                <a16:creationId xmlns:a16="http://schemas.microsoft.com/office/drawing/2014/main" id="{7D05AA19-AE4B-0AF2-A09E-D849A56BE348}"/>
              </a:ext>
            </a:extLst>
          </p:cNvPr>
          <p:cNvSpPr txBox="1"/>
          <p:nvPr/>
        </p:nvSpPr>
        <p:spPr>
          <a:xfrm>
            <a:off x="3697756" y="2079355"/>
            <a:ext cx="4796488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s-ES" sz="1200" b="1" dirty="0">
                <a:solidFill>
                  <a:schemeClr val="accent1"/>
                </a:solidFill>
              </a:rPr>
              <a:t>Clasificación en las etapas de Fontaine</a:t>
            </a:r>
          </a:p>
        </p:txBody>
      </p:sp>
      <p:sp>
        <p:nvSpPr>
          <p:cNvPr id="5" name="CuadroTexto 4">
            <a:extLst>
              <a:ext uri="{FF2B5EF4-FFF2-40B4-BE49-F238E27FC236}">
                <a16:creationId xmlns:a16="http://schemas.microsoft.com/office/drawing/2014/main" id="{F85286FA-7068-3C52-12ED-3C309C8447DA}"/>
              </a:ext>
            </a:extLst>
          </p:cNvPr>
          <p:cNvSpPr txBox="1"/>
          <p:nvPr/>
        </p:nvSpPr>
        <p:spPr>
          <a:xfrm>
            <a:off x="1173707" y="5065817"/>
            <a:ext cx="4790003" cy="954107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marL="228594" indent="-228594" algn="just">
              <a:buFont typeface="Arial" panose="020B0604020202020204" pitchFamily="34" charset="0"/>
              <a:buChar char="•"/>
            </a:pPr>
            <a:r>
              <a:rPr lang="es-ES" sz="1400" dirty="0">
                <a:solidFill>
                  <a:schemeClr val="accent1"/>
                </a:solidFill>
              </a:rPr>
              <a:t>La presentación más típica de la EAP es la </a:t>
            </a:r>
            <a:r>
              <a:rPr lang="en-US" sz="1400" dirty="0" err="1">
                <a:solidFill>
                  <a:schemeClr val="accent1"/>
                </a:solidFill>
              </a:rPr>
              <a:t>claudicación</a:t>
            </a:r>
            <a:r>
              <a:rPr lang="en-US" sz="1400" dirty="0">
                <a:solidFill>
                  <a:schemeClr val="accent1"/>
                </a:solidFill>
              </a:rPr>
              <a:t> </a:t>
            </a:r>
            <a:r>
              <a:rPr lang="en-US" sz="1400" dirty="0" err="1">
                <a:solidFill>
                  <a:schemeClr val="accent1"/>
                </a:solidFill>
              </a:rPr>
              <a:t>intermitente</a:t>
            </a:r>
            <a:r>
              <a:rPr lang="en-US" sz="1400" dirty="0">
                <a:solidFill>
                  <a:schemeClr val="accent1"/>
                </a:solidFill>
              </a:rPr>
              <a:t>, </a:t>
            </a:r>
            <a:r>
              <a:rPr lang="es-ES" sz="1400" dirty="0">
                <a:solidFill>
                  <a:schemeClr val="accent1"/>
                </a:solidFill>
              </a:rPr>
              <a:t>caracterizada por dolor en las pantorrillas, que aumenta al caminar y que desaparece rápidamente en reposo</a:t>
            </a:r>
            <a:r>
              <a:rPr lang="es-ES" sz="1400" baseline="30000" dirty="0">
                <a:solidFill>
                  <a:schemeClr val="accent1"/>
                </a:solidFill>
              </a:rPr>
              <a:t>1,2</a:t>
            </a:r>
            <a:r>
              <a:rPr lang="es-ES" sz="1400" dirty="0">
                <a:solidFill>
                  <a:schemeClr val="accent1"/>
                </a:solidFill>
              </a:rPr>
              <a:t>. </a:t>
            </a:r>
          </a:p>
        </p:txBody>
      </p:sp>
      <p:sp>
        <p:nvSpPr>
          <p:cNvPr id="23" name="CuadroTexto 22">
            <a:extLst>
              <a:ext uri="{FF2B5EF4-FFF2-40B4-BE49-F238E27FC236}">
                <a16:creationId xmlns:a16="http://schemas.microsoft.com/office/drawing/2014/main" id="{3D34A026-16EA-DE03-423A-490071D62899}"/>
              </a:ext>
            </a:extLst>
          </p:cNvPr>
          <p:cNvSpPr txBox="1"/>
          <p:nvPr/>
        </p:nvSpPr>
        <p:spPr>
          <a:xfrm>
            <a:off x="896112" y="1381410"/>
            <a:ext cx="10376938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s-ES"/>
            </a:defPPr>
            <a:lvl1pPr marL="228594" indent="-228594" algn="just">
              <a:buFont typeface="Arial" panose="020B0604020202020204" pitchFamily="34" charset="0"/>
              <a:buChar char="•"/>
              <a:defRPr sz="1400">
                <a:solidFill>
                  <a:schemeClr val="accent1"/>
                </a:solidFill>
              </a:defRPr>
            </a:lvl1pPr>
          </a:lstStyle>
          <a:p>
            <a:pPr marL="0" indent="0" algn="ctr">
              <a:buNone/>
            </a:pPr>
            <a:r>
              <a:rPr lang="es-ES" dirty="0"/>
              <a:t>La aterosclerosis ocurre con mucha menos frecuencia en las arterias de la extremidad superior en comparación con la extremidad inferior (enfermedad arterial de las extremidades inferiores, LEAD)</a:t>
            </a:r>
            <a:r>
              <a:rPr lang="es-ES" baseline="30000" dirty="0"/>
              <a:t>1</a:t>
            </a:r>
            <a:r>
              <a:rPr lang="es-ES" dirty="0"/>
              <a:t>.</a:t>
            </a:r>
          </a:p>
        </p:txBody>
      </p:sp>
      <p:sp>
        <p:nvSpPr>
          <p:cNvPr id="27" name="CuadroTexto 26">
            <a:extLst>
              <a:ext uri="{FF2B5EF4-FFF2-40B4-BE49-F238E27FC236}">
                <a16:creationId xmlns:a16="http://schemas.microsoft.com/office/drawing/2014/main" id="{139F915A-9DD3-7126-E87A-F48235CD9194}"/>
              </a:ext>
            </a:extLst>
          </p:cNvPr>
          <p:cNvSpPr txBox="1"/>
          <p:nvPr/>
        </p:nvSpPr>
        <p:spPr>
          <a:xfrm>
            <a:off x="3454096" y="4632381"/>
            <a:ext cx="4940422" cy="200055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>
            <a:defPPr>
              <a:defRPr lang="es-ES"/>
            </a:defPPr>
            <a:lvl1pPr algn="ctr">
              <a:defRPr sz="700" b="1" i="1">
                <a:solidFill>
                  <a:schemeClr val="accent1"/>
                </a:solidFill>
                <a:effectLst/>
              </a:defRPr>
            </a:lvl1pPr>
          </a:lstStyle>
          <a:p>
            <a:r>
              <a:rPr lang="es-ES" b="0" dirty="0"/>
              <a:t>https://www.heart.org/en/health-topics/peripheral-artery-disease/</a:t>
            </a:r>
            <a:r>
              <a:rPr lang="es-ES" sz="600" b="0" dirty="0"/>
              <a:t>about-peripheral-artery-disease-pad</a:t>
            </a:r>
            <a:r>
              <a:rPr lang="es-ES" dirty="0"/>
              <a:t>. </a:t>
            </a:r>
          </a:p>
        </p:txBody>
      </p:sp>
      <p:sp>
        <p:nvSpPr>
          <p:cNvPr id="28" name="CuadroTexto 27">
            <a:extLst>
              <a:ext uri="{FF2B5EF4-FFF2-40B4-BE49-F238E27FC236}">
                <a16:creationId xmlns:a16="http://schemas.microsoft.com/office/drawing/2014/main" id="{408A741F-3CDB-AB9C-2CF7-E190B10EB532}"/>
              </a:ext>
            </a:extLst>
          </p:cNvPr>
          <p:cNvSpPr txBox="1"/>
          <p:nvPr/>
        </p:nvSpPr>
        <p:spPr>
          <a:xfrm>
            <a:off x="6096000" y="5065816"/>
            <a:ext cx="4940423" cy="954107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marL="228594" indent="-228594" algn="just">
              <a:buFont typeface="Arial" panose="020B0604020202020204" pitchFamily="34" charset="0"/>
              <a:buChar char="•"/>
            </a:pPr>
            <a:r>
              <a:rPr lang="es-ES_tradnl" sz="1400" dirty="0">
                <a:solidFill>
                  <a:schemeClr val="accent1"/>
                </a:solidFill>
              </a:rPr>
              <a:t>Estos síntomas pueden progresar hacía un dolor fuerte en reposo. En estados más avanzados de la enfermedad, la isquemia crónica puede producir úlceras o gangrena (EAP con heridas)</a:t>
            </a:r>
            <a:r>
              <a:rPr lang="es-ES_tradnl" sz="1400" baseline="30000" dirty="0">
                <a:solidFill>
                  <a:schemeClr val="accent1"/>
                </a:solidFill>
              </a:rPr>
              <a:t>1,2</a:t>
            </a:r>
            <a:r>
              <a:rPr lang="es-ES_tradnl" sz="1400" dirty="0">
                <a:solidFill>
                  <a:schemeClr val="accent1"/>
                </a:solidFill>
              </a:rPr>
              <a:t>. </a:t>
            </a:r>
          </a:p>
        </p:txBody>
      </p:sp>
      <p:sp>
        <p:nvSpPr>
          <p:cNvPr id="2" name="CuadroTexto 1">
            <a:extLst>
              <a:ext uri="{FF2B5EF4-FFF2-40B4-BE49-F238E27FC236}">
                <a16:creationId xmlns:a16="http://schemas.microsoft.com/office/drawing/2014/main" id="{95F230F0-566D-E2EA-C33A-398E05CAECB1}"/>
              </a:ext>
            </a:extLst>
          </p:cNvPr>
          <p:cNvSpPr txBox="1"/>
          <p:nvPr/>
        </p:nvSpPr>
        <p:spPr>
          <a:xfrm rot="16200000">
            <a:off x="10611613" y="3657467"/>
            <a:ext cx="2510028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s-ES" sz="1400" dirty="0">
                <a:solidFill>
                  <a:schemeClr val="bg1">
                    <a:lumMod val="95000"/>
                  </a:schemeClr>
                </a:solidFill>
              </a:rPr>
              <a:t>MA-ES-NOP-2500037</a:t>
            </a:r>
          </a:p>
        </p:txBody>
      </p:sp>
    </p:spTree>
    <p:extLst>
      <p:ext uri="{BB962C8B-B14F-4D97-AF65-F5344CB8AC3E}">
        <p14:creationId xmlns:p14="http://schemas.microsoft.com/office/powerpoint/2010/main" val="197835070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5E4D4F9-014D-AA0B-3969-47F8C8CB743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ítulo 3">
            <a:extLst>
              <a:ext uri="{FF2B5EF4-FFF2-40B4-BE49-F238E27FC236}">
                <a16:creationId xmlns:a16="http://schemas.microsoft.com/office/drawing/2014/main" id="{C801EF7D-F1AC-E65D-E1F3-33AC3F73080D}"/>
              </a:ext>
            </a:extLst>
          </p:cNvPr>
          <p:cNvSpPr txBox="1">
            <a:spLocks/>
          </p:cNvSpPr>
          <p:nvPr/>
        </p:nvSpPr>
        <p:spPr>
          <a:xfrm>
            <a:off x="806196" y="358290"/>
            <a:ext cx="10579608" cy="614382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s-ES"/>
            </a:defPPr>
            <a:lvl1pPr marR="0" indent="0" algn="ctr" defTabSz="914377" fontAlgn="auto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 b="1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ES" dirty="0"/>
              <a:t>Consecuencias clínicas de la enfermedad arterial periférica</a:t>
            </a:r>
          </a:p>
        </p:txBody>
      </p:sp>
      <p:sp>
        <p:nvSpPr>
          <p:cNvPr id="22" name="CuadroTexto 21">
            <a:extLst>
              <a:ext uri="{FF2B5EF4-FFF2-40B4-BE49-F238E27FC236}">
                <a16:creationId xmlns:a16="http://schemas.microsoft.com/office/drawing/2014/main" id="{A9719510-0D44-ED42-503D-8410CD17D89F}"/>
              </a:ext>
            </a:extLst>
          </p:cNvPr>
          <p:cNvSpPr txBox="1"/>
          <p:nvPr/>
        </p:nvSpPr>
        <p:spPr>
          <a:xfrm>
            <a:off x="2485867" y="6580651"/>
            <a:ext cx="7542668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s-ES"/>
            </a:defPPr>
            <a:lvl1pPr algn="ctr">
              <a:defRPr sz="700" b="0" i="1">
                <a:solidFill>
                  <a:schemeClr val="accent1"/>
                </a:solidFill>
                <a:effectLst/>
              </a:defRPr>
            </a:lvl1pPr>
          </a:lstStyle>
          <a:p>
            <a:r>
              <a:rPr lang="es-ES" dirty="0"/>
              <a:t>1. </a:t>
            </a:r>
            <a:r>
              <a:rPr lang="es-ES" dirty="0" err="1"/>
              <a:t>Mazzolai</a:t>
            </a:r>
            <a:r>
              <a:rPr lang="es-ES" dirty="0"/>
              <a:t> L, et al. 2024 ESC </a:t>
            </a:r>
            <a:r>
              <a:rPr lang="es-ES" dirty="0" err="1"/>
              <a:t>Guidelines</a:t>
            </a:r>
            <a:r>
              <a:rPr lang="es-ES" dirty="0"/>
              <a:t> </a:t>
            </a:r>
            <a:r>
              <a:rPr lang="es-ES" dirty="0" err="1"/>
              <a:t>for</a:t>
            </a:r>
            <a:r>
              <a:rPr lang="es-ES" dirty="0"/>
              <a:t> </a:t>
            </a:r>
            <a:r>
              <a:rPr lang="es-ES" dirty="0" err="1"/>
              <a:t>the</a:t>
            </a:r>
            <a:r>
              <a:rPr lang="es-ES" dirty="0"/>
              <a:t> </a:t>
            </a:r>
            <a:r>
              <a:rPr lang="es-ES" dirty="0" err="1"/>
              <a:t>management</a:t>
            </a:r>
            <a:r>
              <a:rPr lang="es-ES" dirty="0"/>
              <a:t> </a:t>
            </a:r>
            <a:r>
              <a:rPr lang="es-ES" dirty="0" err="1"/>
              <a:t>of</a:t>
            </a:r>
            <a:r>
              <a:rPr lang="es-ES" dirty="0"/>
              <a:t> </a:t>
            </a:r>
            <a:r>
              <a:rPr lang="es-ES" dirty="0" err="1"/>
              <a:t>peripheral</a:t>
            </a:r>
            <a:r>
              <a:rPr lang="es-ES" dirty="0"/>
              <a:t> arterial and </a:t>
            </a:r>
            <a:r>
              <a:rPr lang="es-ES" dirty="0" err="1"/>
              <a:t>aortic</a:t>
            </a:r>
            <a:r>
              <a:rPr lang="es-ES" dirty="0"/>
              <a:t> </a:t>
            </a:r>
            <a:r>
              <a:rPr lang="es-ES" dirty="0" err="1"/>
              <a:t>diseases</a:t>
            </a:r>
            <a:r>
              <a:rPr lang="es-ES" dirty="0"/>
              <a:t>. </a:t>
            </a:r>
            <a:r>
              <a:rPr lang="es-ES" dirty="0" err="1"/>
              <a:t>Eur</a:t>
            </a:r>
            <a:r>
              <a:rPr lang="es-ES" dirty="0"/>
              <a:t> Heart J. 2024 </a:t>
            </a:r>
            <a:r>
              <a:rPr lang="es-ES" dirty="0" err="1"/>
              <a:t>Sep</a:t>
            </a:r>
            <a:r>
              <a:rPr lang="es-ES" dirty="0"/>
              <a:t> 29;45(36):3538-3700. </a:t>
            </a:r>
            <a:r>
              <a:rPr lang="es-ES" dirty="0" err="1"/>
              <a:t>doi</a:t>
            </a:r>
            <a:r>
              <a:rPr lang="es-ES" dirty="0"/>
              <a:t>: 10.1093/</a:t>
            </a:r>
            <a:r>
              <a:rPr lang="es-ES" dirty="0" err="1"/>
              <a:t>eurheartj</a:t>
            </a:r>
            <a:r>
              <a:rPr lang="es-ES" dirty="0"/>
              <a:t>/ehae179.</a:t>
            </a:r>
          </a:p>
        </p:txBody>
      </p:sp>
      <p:sp>
        <p:nvSpPr>
          <p:cNvPr id="24" name="CuadroTexto 23">
            <a:extLst>
              <a:ext uri="{FF2B5EF4-FFF2-40B4-BE49-F238E27FC236}">
                <a16:creationId xmlns:a16="http://schemas.microsoft.com/office/drawing/2014/main" id="{20FD8F0C-87E0-AA6C-0459-C3327061B7D3}"/>
              </a:ext>
            </a:extLst>
          </p:cNvPr>
          <p:cNvSpPr txBox="1"/>
          <p:nvPr/>
        </p:nvSpPr>
        <p:spPr>
          <a:xfrm>
            <a:off x="9044019" y="5873841"/>
            <a:ext cx="2022234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s-ES"/>
            </a:defPPr>
            <a:lvl1pPr algn="ctr">
              <a:defRPr sz="700" b="0" i="1">
                <a:solidFill>
                  <a:schemeClr val="accent1"/>
                </a:solidFill>
                <a:effectLst/>
              </a:defRPr>
            </a:lvl1pPr>
          </a:lstStyle>
          <a:p>
            <a:pPr algn="r"/>
            <a:r>
              <a:rPr lang="es-ES" dirty="0" err="1"/>
              <a:t>Eur</a:t>
            </a:r>
            <a:r>
              <a:rPr lang="es-ES" dirty="0"/>
              <a:t> Heart J. 2024 </a:t>
            </a:r>
            <a:r>
              <a:rPr lang="es-ES" dirty="0" err="1"/>
              <a:t>Sep</a:t>
            </a:r>
            <a:r>
              <a:rPr lang="es-ES" dirty="0"/>
              <a:t> 29;45(36):3538-3700</a:t>
            </a:r>
          </a:p>
        </p:txBody>
      </p:sp>
      <p:pic>
        <p:nvPicPr>
          <p:cNvPr id="2" name="Imagen 1">
            <a:extLst>
              <a:ext uri="{FF2B5EF4-FFF2-40B4-BE49-F238E27FC236}">
                <a16:creationId xmlns:a16="http://schemas.microsoft.com/office/drawing/2014/main" id="{A716C8A9-61A3-F81B-5794-430C7FE0161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918306" y="1758468"/>
            <a:ext cx="5303524" cy="4147693"/>
          </a:xfrm>
          <a:prstGeom prst="rect">
            <a:avLst/>
          </a:prstGeom>
        </p:spPr>
      </p:pic>
      <p:sp>
        <p:nvSpPr>
          <p:cNvPr id="4" name="CuadroTexto 3">
            <a:extLst>
              <a:ext uri="{FF2B5EF4-FFF2-40B4-BE49-F238E27FC236}">
                <a16:creationId xmlns:a16="http://schemas.microsoft.com/office/drawing/2014/main" id="{79FFD2E0-EED2-7025-EA51-8981D657CF98}"/>
              </a:ext>
            </a:extLst>
          </p:cNvPr>
          <p:cNvSpPr txBox="1"/>
          <p:nvPr/>
        </p:nvSpPr>
        <p:spPr>
          <a:xfrm>
            <a:off x="6054076" y="1452233"/>
            <a:ext cx="5198982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200" b="1" dirty="0">
                <a:solidFill>
                  <a:schemeClr val="tx1">
                    <a:lumMod val="50000"/>
                  </a:schemeClr>
                </a:solidFill>
              </a:rPr>
              <a:t>Riesgo cardiovascular </a:t>
            </a:r>
            <a:r>
              <a:rPr lang="en-US" sz="1200" b="1" dirty="0" err="1">
                <a:solidFill>
                  <a:schemeClr val="tx1">
                    <a:lumMod val="50000"/>
                  </a:schemeClr>
                </a:solidFill>
              </a:rPr>
              <a:t>en</a:t>
            </a:r>
            <a:r>
              <a:rPr lang="en-US" sz="1200" b="1" dirty="0">
                <a:solidFill>
                  <a:schemeClr val="tx1">
                    <a:lumMod val="50000"/>
                  </a:schemeClr>
                </a:solidFill>
              </a:rPr>
              <a:t> </a:t>
            </a:r>
            <a:r>
              <a:rPr lang="en-US" sz="1200" b="1" dirty="0" err="1">
                <a:solidFill>
                  <a:schemeClr val="tx1">
                    <a:lumMod val="50000"/>
                  </a:schemeClr>
                </a:solidFill>
              </a:rPr>
              <a:t>pacientes</a:t>
            </a:r>
            <a:r>
              <a:rPr lang="en-US" sz="1200" b="1" dirty="0">
                <a:solidFill>
                  <a:schemeClr val="tx1">
                    <a:lumMod val="50000"/>
                  </a:schemeClr>
                </a:solidFill>
              </a:rPr>
              <a:t> con EAP</a:t>
            </a:r>
            <a:endParaRPr lang="es-ES" sz="1200" b="1" dirty="0">
              <a:solidFill>
                <a:schemeClr val="tx1">
                  <a:lumMod val="50000"/>
                </a:schemeClr>
              </a:solidFill>
            </a:endParaRPr>
          </a:p>
        </p:txBody>
      </p:sp>
      <p:sp>
        <p:nvSpPr>
          <p:cNvPr id="26" name="CuadroTexto 25">
            <a:extLst>
              <a:ext uri="{FF2B5EF4-FFF2-40B4-BE49-F238E27FC236}">
                <a16:creationId xmlns:a16="http://schemas.microsoft.com/office/drawing/2014/main" id="{650B1EF4-B861-5B1D-E3DD-39ACD32C5F83}"/>
              </a:ext>
            </a:extLst>
          </p:cNvPr>
          <p:cNvSpPr txBox="1"/>
          <p:nvPr/>
        </p:nvSpPr>
        <p:spPr>
          <a:xfrm>
            <a:off x="938942" y="1729232"/>
            <a:ext cx="4790550" cy="1815882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s-ES"/>
            </a:defPPr>
            <a:lvl1pPr>
              <a:defRPr sz="1600">
                <a:solidFill>
                  <a:schemeClr val="accent1"/>
                </a:solidFill>
              </a:defRPr>
            </a:lvl1pPr>
          </a:lstStyle>
          <a:p>
            <a:pPr algn="just"/>
            <a:r>
              <a:rPr lang="es-ES" dirty="0"/>
              <a:t>Todos los pacientes con EAP tienen un alto riesgo de eventos cardiovasculares mayores (MACE), enfermedad cerebrovascular y enfermedad de miembros inferiores (MALE) con mortalidad del</a:t>
            </a:r>
            <a:r>
              <a:rPr lang="es-ES" baseline="30000" dirty="0"/>
              <a:t>1</a:t>
            </a:r>
            <a:r>
              <a:rPr lang="es-ES" dirty="0"/>
              <a:t>:</a:t>
            </a:r>
          </a:p>
          <a:p>
            <a:pPr algn="just"/>
            <a:endParaRPr lang="es-ES" dirty="0"/>
          </a:p>
          <a:p>
            <a:pPr marL="742950" lvl="1" indent="-285750" algn="just">
              <a:buFont typeface="Wingdings" panose="05000000000000000000" pitchFamily="2" charset="2"/>
              <a:buChar char="ü"/>
            </a:pPr>
            <a:r>
              <a:rPr lang="es-ES" sz="1600" dirty="0">
                <a:solidFill>
                  <a:schemeClr val="accent1"/>
                </a:solidFill>
              </a:rPr>
              <a:t>9% en pacientes asintomáticos y </a:t>
            </a:r>
          </a:p>
          <a:p>
            <a:pPr marL="742950" lvl="1" indent="-285750" algn="just">
              <a:buFont typeface="Wingdings" panose="05000000000000000000" pitchFamily="2" charset="2"/>
              <a:buChar char="ü"/>
            </a:pPr>
            <a:r>
              <a:rPr lang="es-ES" sz="1600" dirty="0">
                <a:solidFill>
                  <a:schemeClr val="accent1"/>
                </a:solidFill>
              </a:rPr>
              <a:t>13% en pacientes sintomáticos.</a:t>
            </a:r>
          </a:p>
        </p:txBody>
      </p:sp>
      <p:sp>
        <p:nvSpPr>
          <p:cNvPr id="28" name="CuadroTexto 27">
            <a:extLst>
              <a:ext uri="{FF2B5EF4-FFF2-40B4-BE49-F238E27FC236}">
                <a16:creationId xmlns:a16="http://schemas.microsoft.com/office/drawing/2014/main" id="{5EFDDFF0-BE85-C0AF-B248-B9331FC543A5}"/>
              </a:ext>
            </a:extLst>
          </p:cNvPr>
          <p:cNvSpPr txBox="1"/>
          <p:nvPr/>
        </p:nvSpPr>
        <p:spPr>
          <a:xfrm>
            <a:off x="910681" y="4051869"/>
            <a:ext cx="4818811" cy="1569660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s-ES"/>
            </a:defPPr>
            <a:lvl1pPr algn="just">
              <a:defRPr sz="1600">
                <a:solidFill>
                  <a:schemeClr val="accent1"/>
                </a:solidFill>
              </a:defRPr>
            </a:lvl1pPr>
            <a:lvl2pPr marL="742950" lvl="1" indent="-285750" algn="just">
              <a:buFont typeface="Wingdings" panose="05000000000000000000" pitchFamily="2" charset="2"/>
              <a:buChar char="ü"/>
              <a:defRPr sz="1600">
                <a:solidFill>
                  <a:schemeClr val="accent1"/>
                </a:solidFill>
              </a:defRPr>
            </a:lvl2pPr>
          </a:lstStyle>
          <a:p>
            <a:r>
              <a:rPr lang="es-ES" dirty="0"/>
              <a:t>Los datos indican una tasa de amputación del</a:t>
            </a:r>
            <a:r>
              <a:rPr lang="es-ES" baseline="30000" dirty="0"/>
              <a:t>1</a:t>
            </a:r>
            <a:r>
              <a:rPr lang="es-ES" dirty="0"/>
              <a:t>:</a:t>
            </a:r>
          </a:p>
          <a:p>
            <a:endParaRPr lang="es-ES" dirty="0"/>
          </a:p>
          <a:p>
            <a:pPr lvl="1"/>
            <a:r>
              <a:rPr lang="es-ES" dirty="0"/>
              <a:t> 9% en pacientes con isquemia crónica que amenaza las extremidades inferiores y</a:t>
            </a:r>
          </a:p>
          <a:p>
            <a:pPr lvl="1"/>
            <a:r>
              <a:rPr lang="es-ES" dirty="0"/>
              <a:t>1% en pacientes con claudicación intermitente.</a:t>
            </a:r>
          </a:p>
        </p:txBody>
      </p:sp>
      <p:sp>
        <p:nvSpPr>
          <p:cNvPr id="3" name="CuadroTexto 2">
            <a:extLst>
              <a:ext uri="{FF2B5EF4-FFF2-40B4-BE49-F238E27FC236}">
                <a16:creationId xmlns:a16="http://schemas.microsoft.com/office/drawing/2014/main" id="{1AFEC7A1-4944-B34E-CB41-6E3326BE8379}"/>
              </a:ext>
            </a:extLst>
          </p:cNvPr>
          <p:cNvSpPr txBox="1"/>
          <p:nvPr/>
        </p:nvSpPr>
        <p:spPr>
          <a:xfrm rot="16200000">
            <a:off x="10611613" y="3657467"/>
            <a:ext cx="2510028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s-ES" sz="1400" dirty="0">
                <a:solidFill>
                  <a:schemeClr val="bg1">
                    <a:lumMod val="95000"/>
                  </a:schemeClr>
                </a:solidFill>
              </a:rPr>
              <a:t>MA-ES-NOP-2500037</a:t>
            </a:r>
          </a:p>
        </p:txBody>
      </p:sp>
    </p:spTree>
    <p:extLst>
      <p:ext uri="{BB962C8B-B14F-4D97-AF65-F5344CB8AC3E}">
        <p14:creationId xmlns:p14="http://schemas.microsoft.com/office/powerpoint/2010/main" val="925388140"/>
      </p:ext>
    </p:extLst>
  </p:cSld>
  <p:clrMapOvr>
    <a:masterClrMapping/>
  </p:clrMapOvr>
  <p:transition spd="med">
    <p:fad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0D70A06-C1AB-F187-6016-FD388C630E4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ítulo 3">
            <a:extLst>
              <a:ext uri="{FF2B5EF4-FFF2-40B4-BE49-F238E27FC236}">
                <a16:creationId xmlns:a16="http://schemas.microsoft.com/office/drawing/2014/main" id="{27C4B48A-3955-779E-DC92-77F438DB6D8D}"/>
              </a:ext>
            </a:extLst>
          </p:cNvPr>
          <p:cNvSpPr txBox="1">
            <a:spLocks/>
          </p:cNvSpPr>
          <p:nvPr/>
        </p:nvSpPr>
        <p:spPr>
          <a:xfrm>
            <a:off x="912653" y="426771"/>
            <a:ext cx="10237945" cy="521562"/>
          </a:xfrm>
          <a:prstGeom prst="rect">
            <a:avLst/>
          </a:prstGeom>
        </p:spPr>
        <p:txBody>
          <a:bodyPr lIns="0" tIns="0" rIns="0" bIns="0" anchor="ctr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067" kern="1200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s-ES_tradnl" sz="2800" b="1" dirty="0"/>
              <a:t>Factores de riesgo de la enfermedad arterial periférica</a:t>
            </a:r>
            <a:endParaRPr lang="es-ES" sz="2800" b="1" dirty="0"/>
          </a:p>
        </p:txBody>
      </p:sp>
      <p:pic>
        <p:nvPicPr>
          <p:cNvPr id="7" name="Imagen 6">
            <a:extLst>
              <a:ext uri="{FF2B5EF4-FFF2-40B4-BE49-F238E27FC236}">
                <a16:creationId xmlns:a16="http://schemas.microsoft.com/office/drawing/2014/main" id="{06F8C099-9E3B-8766-A37A-1EEEE52BBE2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248415" y="1745657"/>
            <a:ext cx="4328160" cy="4803602"/>
          </a:xfrm>
          <a:prstGeom prst="rect">
            <a:avLst/>
          </a:prstGeom>
        </p:spPr>
      </p:pic>
      <p:sp>
        <p:nvSpPr>
          <p:cNvPr id="14" name="CuadroTexto 13">
            <a:extLst>
              <a:ext uri="{FF2B5EF4-FFF2-40B4-BE49-F238E27FC236}">
                <a16:creationId xmlns:a16="http://schemas.microsoft.com/office/drawing/2014/main" id="{E2F5772F-1FC1-136C-0532-F00FEAE238CB}"/>
              </a:ext>
            </a:extLst>
          </p:cNvPr>
          <p:cNvSpPr txBox="1"/>
          <p:nvPr/>
        </p:nvSpPr>
        <p:spPr>
          <a:xfrm>
            <a:off x="1041403" y="2184569"/>
            <a:ext cx="4902183" cy="738664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>
            <a:defPPr>
              <a:defRPr lang="es-ES"/>
            </a:defPPr>
            <a:lvl1pPr algn="just">
              <a:defRPr sz="1400">
                <a:solidFill>
                  <a:schemeClr val="accent1"/>
                </a:solidFill>
              </a:defRPr>
            </a:lvl1pPr>
          </a:lstStyle>
          <a:p>
            <a:r>
              <a:rPr lang="es-ES" dirty="0"/>
              <a:t>Los factores de riesgo son varios, pueden ser modificables y no modificables, y pueden depender de la presencia de otros factores y situaciones clínicas</a:t>
            </a:r>
            <a:r>
              <a:rPr lang="es-ES" baseline="30000" dirty="0"/>
              <a:t>1</a:t>
            </a:r>
            <a:r>
              <a:rPr lang="es-ES" dirty="0"/>
              <a:t>.</a:t>
            </a:r>
          </a:p>
        </p:txBody>
      </p:sp>
      <p:sp>
        <p:nvSpPr>
          <p:cNvPr id="15" name="CuadroTexto 14">
            <a:extLst>
              <a:ext uri="{FF2B5EF4-FFF2-40B4-BE49-F238E27FC236}">
                <a16:creationId xmlns:a16="http://schemas.microsoft.com/office/drawing/2014/main" id="{EB529188-CF28-04F3-2426-B94DDB85B615}"/>
              </a:ext>
            </a:extLst>
          </p:cNvPr>
          <p:cNvSpPr txBox="1"/>
          <p:nvPr/>
        </p:nvSpPr>
        <p:spPr>
          <a:xfrm>
            <a:off x="912653" y="4996535"/>
            <a:ext cx="4808465" cy="305215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>
            <a:defPPr>
              <a:defRPr lang="es-ES"/>
            </a:defPPr>
            <a:lvl1pPr algn="ctr">
              <a:defRPr sz="700" b="0" i="1">
                <a:solidFill>
                  <a:schemeClr val="accent1"/>
                </a:solidFill>
                <a:effectLst/>
              </a:defRPr>
            </a:lvl1pPr>
          </a:lstStyle>
          <a:p>
            <a:r>
              <a:rPr lang="es-ES" dirty="0"/>
              <a:t>1. </a:t>
            </a:r>
            <a:r>
              <a:rPr lang="es-ES" dirty="0" err="1"/>
              <a:t>Mazzolai</a:t>
            </a:r>
            <a:r>
              <a:rPr lang="es-ES" dirty="0"/>
              <a:t> L, et al. 2024 ESC </a:t>
            </a:r>
            <a:r>
              <a:rPr lang="es-ES" dirty="0" err="1"/>
              <a:t>Guidelines</a:t>
            </a:r>
            <a:r>
              <a:rPr lang="es-ES" dirty="0"/>
              <a:t> </a:t>
            </a:r>
            <a:r>
              <a:rPr lang="es-ES" dirty="0" err="1"/>
              <a:t>for</a:t>
            </a:r>
            <a:r>
              <a:rPr lang="es-ES" dirty="0"/>
              <a:t> </a:t>
            </a:r>
            <a:r>
              <a:rPr lang="es-ES" dirty="0" err="1"/>
              <a:t>the</a:t>
            </a:r>
            <a:r>
              <a:rPr lang="es-ES" dirty="0"/>
              <a:t> </a:t>
            </a:r>
            <a:r>
              <a:rPr lang="es-ES" dirty="0" err="1"/>
              <a:t>management</a:t>
            </a:r>
            <a:r>
              <a:rPr lang="es-ES" dirty="0"/>
              <a:t> </a:t>
            </a:r>
            <a:r>
              <a:rPr lang="es-ES" dirty="0" err="1"/>
              <a:t>of</a:t>
            </a:r>
            <a:r>
              <a:rPr lang="es-ES" dirty="0"/>
              <a:t> </a:t>
            </a:r>
            <a:r>
              <a:rPr lang="es-ES" dirty="0" err="1"/>
              <a:t>peripheral</a:t>
            </a:r>
            <a:r>
              <a:rPr lang="es-ES" dirty="0"/>
              <a:t> arterial and </a:t>
            </a:r>
            <a:r>
              <a:rPr lang="es-ES" dirty="0" err="1"/>
              <a:t>aortic</a:t>
            </a:r>
            <a:r>
              <a:rPr lang="es-ES" dirty="0"/>
              <a:t> </a:t>
            </a:r>
            <a:r>
              <a:rPr lang="es-ES" dirty="0" err="1"/>
              <a:t>diseases</a:t>
            </a:r>
            <a:r>
              <a:rPr lang="es-ES" dirty="0"/>
              <a:t>.</a:t>
            </a:r>
          </a:p>
          <a:p>
            <a:r>
              <a:rPr lang="es-ES" dirty="0" err="1"/>
              <a:t>Eur</a:t>
            </a:r>
            <a:r>
              <a:rPr lang="es-ES" dirty="0"/>
              <a:t> Heart J. 2024 </a:t>
            </a:r>
            <a:r>
              <a:rPr lang="es-ES" dirty="0" err="1"/>
              <a:t>Sep</a:t>
            </a:r>
            <a:r>
              <a:rPr lang="es-ES" dirty="0"/>
              <a:t> 29;45(36):3538-3700. </a:t>
            </a:r>
            <a:r>
              <a:rPr lang="es-ES" dirty="0" err="1"/>
              <a:t>doi</a:t>
            </a:r>
            <a:r>
              <a:rPr lang="es-ES" dirty="0"/>
              <a:t>: 10.1093/</a:t>
            </a:r>
            <a:r>
              <a:rPr lang="es-ES" dirty="0" err="1"/>
              <a:t>eurheartj</a:t>
            </a:r>
            <a:r>
              <a:rPr lang="es-ES" dirty="0"/>
              <a:t>/ehae179.</a:t>
            </a:r>
          </a:p>
        </p:txBody>
      </p:sp>
      <p:sp>
        <p:nvSpPr>
          <p:cNvPr id="17" name="CuadroTexto 16">
            <a:extLst>
              <a:ext uri="{FF2B5EF4-FFF2-40B4-BE49-F238E27FC236}">
                <a16:creationId xmlns:a16="http://schemas.microsoft.com/office/drawing/2014/main" id="{9A2BE6B1-7731-DCD0-65A0-2A633B2D1C33}"/>
              </a:ext>
            </a:extLst>
          </p:cNvPr>
          <p:cNvSpPr txBox="1"/>
          <p:nvPr/>
        </p:nvSpPr>
        <p:spPr>
          <a:xfrm>
            <a:off x="7409838" y="6472909"/>
            <a:ext cx="2005315" cy="2075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s-ES"/>
            </a:defPPr>
            <a:lvl1pPr algn="ctr">
              <a:defRPr sz="700" b="0" i="1">
                <a:solidFill>
                  <a:schemeClr val="accent1"/>
                </a:solidFill>
                <a:effectLst/>
              </a:defRPr>
            </a:lvl1pPr>
          </a:lstStyle>
          <a:p>
            <a:pPr algn="just"/>
            <a:r>
              <a:rPr lang="es-ES" dirty="0" err="1"/>
              <a:t>Eur</a:t>
            </a:r>
            <a:r>
              <a:rPr lang="es-ES" dirty="0"/>
              <a:t> Heart J. 2024 </a:t>
            </a:r>
            <a:r>
              <a:rPr lang="es-ES" dirty="0" err="1"/>
              <a:t>Sep</a:t>
            </a:r>
            <a:r>
              <a:rPr lang="es-ES" dirty="0"/>
              <a:t> 29;45(36):3538-3700</a:t>
            </a:r>
          </a:p>
        </p:txBody>
      </p:sp>
      <p:sp>
        <p:nvSpPr>
          <p:cNvPr id="10" name="CuadroTexto 9">
            <a:extLst>
              <a:ext uri="{FF2B5EF4-FFF2-40B4-BE49-F238E27FC236}">
                <a16:creationId xmlns:a16="http://schemas.microsoft.com/office/drawing/2014/main" id="{B64EA10D-49A9-053F-4661-5E0EFBD01C93}"/>
              </a:ext>
            </a:extLst>
          </p:cNvPr>
          <p:cNvSpPr txBox="1"/>
          <p:nvPr/>
        </p:nvSpPr>
        <p:spPr>
          <a:xfrm>
            <a:off x="6031626" y="1293136"/>
            <a:ext cx="4761738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s-ES" sz="1200" b="1" dirty="0">
                <a:solidFill>
                  <a:schemeClr val="tx1">
                    <a:lumMod val="50000"/>
                  </a:schemeClr>
                </a:solidFill>
              </a:rPr>
              <a:t>Principales factores de riesgo asociados con la aterosclerosis en las enfermedades arteriales periféricas y aórticas</a:t>
            </a:r>
            <a:r>
              <a:rPr lang="es-ES" sz="1200" b="1" baseline="30000" dirty="0">
                <a:solidFill>
                  <a:schemeClr val="tx1">
                    <a:lumMod val="50000"/>
                  </a:schemeClr>
                </a:solidFill>
              </a:rPr>
              <a:t>1</a:t>
            </a:r>
          </a:p>
        </p:txBody>
      </p:sp>
      <p:sp>
        <p:nvSpPr>
          <p:cNvPr id="16" name="CuadroTexto 15">
            <a:extLst>
              <a:ext uri="{FF2B5EF4-FFF2-40B4-BE49-F238E27FC236}">
                <a16:creationId xmlns:a16="http://schemas.microsoft.com/office/drawing/2014/main" id="{0C955423-076A-71A9-B575-7B399921E493}"/>
              </a:ext>
            </a:extLst>
          </p:cNvPr>
          <p:cNvSpPr txBox="1"/>
          <p:nvPr/>
        </p:nvSpPr>
        <p:spPr>
          <a:xfrm>
            <a:off x="1041402" y="3381714"/>
            <a:ext cx="4902183" cy="954107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>
            <a:defPPr>
              <a:defRPr lang="es-ES"/>
            </a:defPPr>
            <a:lvl1pPr algn="just">
              <a:defRPr sz="1400">
                <a:solidFill>
                  <a:schemeClr val="accent1"/>
                </a:solidFill>
              </a:defRPr>
            </a:lvl1pPr>
          </a:lstStyle>
          <a:p>
            <a:r>
              <a:rPr lang="es-ES" dirty="0"/>
              <a:t>El colesterol LDL es un factor fundamental en la aterosclerosis, con la diabetes y la exposición al tabaco amplificando significativamente el riesgo de EAP entre 2 y 4 veces cada uno</a:t>
            </a:r>
            <a:r>
              <a:rPr lang="es-ES" baseline="30000" dirty="0"/>
              <a:t>1</a:t>
            </a:r>
            <a:r>
              <a:rPr lang="es-ES" dirty="0"/>
              <a:t>. </a:t>
            </a:r>
          </a:p>
        </p:txBody>
      </p:sp>
      <p:sp>
        <p:nvSpPr>
          <p:cNvPr id="2" name="CuadroTexto 1">
            <a:extLst>
              <a:ext uri="{FF2B5EF4-FFF2-40B4-BE49-F238E27FC236}">
                <a16:creationId xmlns:a16="http://schemas.microsoft.com/office/drawing/2014/main" id="{A38A6BF2-B447-B5E8-15E3-BD1CD5CB8BFD}"/>
              </a:ext>
            </a:extLst>
          </p:cNvPr>
          <p:cNvSpPr txBox="1"/>
          <p:nvPr/>
        </p:nvSpPr>
        <p:spPr>
          <a:xfrm rot="16200000">
            <a:off x="10611613" y="3657467"/>
            <a:ext cx="2510028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s-ES" sz="1400" dirty="0">
                <a:solidFill>
                  <a:schemeClr val="bg1">
                    <a:lumMod val="95000"/>
                  </a:schemeClr>
                </a:solidFill>
              </a:rPr>
              <a:t>MA-ES-NOP-2500037</a:t>
            </a:r>
          </a:p>
        </p:txBody>
      </p:sp>
    </p:spTree>
    <p:extLst>
      <p:ext uri="{BB962C8B-B14F-4D97-AF65-F5344CB8AC3E}">
        <p14:creationId xmlns:p14="http://schemas.microsoft.com/office/powerpoint/2010/main" val="337576446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E1F19DC-98C5-A1C1-7082-1651EA8BE17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6 CuadroTexto">
            <a:extLst>
              <a:ext uri="{FF2B5EF4-FFF2-40B4-BE49-F238E27FC236}">
                <a16:creationId xmlns:a16="http://schemas.microsoft.com/office/drawing/2014/main" id="{33F0A84F-E73A-6C99-DAB0-AD283790DCC2}"/>
              </a:ext>
            </a:extLst>
          </p:cNvPr>
          <p:cNvSpPr txBox="1"/>
          <p:nvPr/>
        </p:nvSpPr>
        <p:spPr>
          <a:xfrm>
            <a:off x="6885497" y="3562763"/>
            <a:ext cx="165618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_tradn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9" name="Título 3">
            <a:extLst>
              <a:ext uri="{FF2B5EF4-FFF2-40B4-BE49-F238E27FC236}">
                <a16:creationId xmlns:a16="http://schemas.microsoft.com/office/drawing/2014/main" id="{985CBFE9-8105-3BF1-D4A0-29CD2FD2B2C5}"/>
              </a:ext>
            </a:extLst>
          </p:cNvPr>
          <p:cNvSpPr txBox="1">
            <a:spLocks/>
          </p:cNvSpPr>
          <p:nvPr/>
        </p:nvSpPr>
        <p:spPr>
          <a:xfrm>
            <a:off x="847344" y="244766"/>
            <a:ext cx="10497311" cy="782269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s-ES"/>
            </a:defPPr>
            <a:lvl1pPr marR="0" indent="0" algn="ctr" defTabSz="914377" fontAlgn="auto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 b="1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ES_tradnl" dirty="0"/>
              <a:t>Diagnóstico temprano de la enfermedad arterial periférica</a:t>
            </a:r>
            <a:endParaRPr lang="es-ES" dirty="0"/>
          </a:p>
        </p:txBody>
      </p:sp>
      <p:pic>
        <p:nvPicPr>
          <p:cNvPr id="17" name="Imagen 16">
            <a:extLst>
              <a:ext uri="{FF2B5EF4-FFF2-40B4-BE49-F238E27FC236}">
                <a16:creationId xmlns:a16="http://schemas.microsoft.com/office/drawing/2014/main" id="{F362A20E-C5B1-1724-18DB-32BC6EE05E7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304388" y="1187666"/>
            <a:ext cx="4846212" cy="4948545"/>
          </a:xfrm>
          <a:prstGeom prst="rect">
            <a:avLst/>
          </a:prstGeom>
        </p:spPr>
      </p:pic>
      <p:sp>
        <p:nvSpPr>
          <p:cNvPr id="19" name="CuadroTexto 18">
            <a:extLst>
              <a:ext uri="{FF2B5EF4-FFF2-40B4-BE49-F238E27FC236}">
                <a16:creationId xmlns:a16="http://schemas.microsoft.com/office/drawing/2014/main" id="{7F89B598-931E-CFA7-FC33-CBF89CF63DF4}"/>
              </a:ext>
            </a:extLst>
          </p:cNvPr>
          <p:cNvSpPr txBox="1"/>
          <p:nvPr/>
        </p:nvSpPr>
        <p:spPr>
          <a:xfrm>
            <a:off x="847344" y="1361507"/>
            <a:ext cx="4977595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s-ES" sz="1400" dirty="0">
                <a:solidFill>
                  <a:schemeClr val="accent1"/>
                </a:solidFill>
              </a:rPr>
              <a:t>El índice tobillo-brazo (ABI) </a:t>
            </a:r>
            <a:r>
              <a:rPr lang="es-ES" sz="1400" dirty="0">
                <a:solidFill>
                  <a:schemeClr val="accent1"/>
                </a:solidFill>
                <a:sym typeface="Wingdings" panose="05000000000000000000" pitchFamily="2" charset="2"/>
              </a:rPr>
              <a:t>es una </a:t>
            </a:r>
            <a:r>
              <a:rPr lang="es-ES" sz="1400" dirty="0">
                <a:solidFill>
                  <a:schemeClr val="accent1"/>
                </a:solidFill>
              </a:rPr>
              <a:t>prueba de diagnóstico inicial no invasiva recomendada para el cribado y diagnóstico de la EAP</a:t>
            </a:r>
            <a:r>
              <a:rPr lang="es-ES" sz="1400" baseline="30000" dirty="0">
                <a:solidFill>
                  <a:schemeClr val="accent1"/>
                </a:solidFill>
              </a:rPr>
              <a:t>1</a:t>
            </a:r>
            <a:r>
              <a:rPr lang="es-ES" sz="1400" dirty="0">
                <a:solidFill>
                  <a:schemeClr val="accent1"/>
                </a:solidFill>
              </a:rPr>
              <a:t>.</a:t>
            </a:r>
          </a:p>
        </p:txBody>
      </p:sp>
      <p:pic>
        <p:nvPicPr>
          <p:cNvPr id="22" name="Imagen 21">
            <a:extLst>
              <a:ext uri="{FF2B5EF4-FFF2-40B4-BE49-F238E27FC236}">
                <a16:creationId xmlns:a16="http://schemas.microsoft.com/office/drawing/2014/main" id="{28246C75-2E0F-C309-84EF-453A7C26719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701314" y="2273210"/>
            <a:ext cx="3426158" cy="2230168"/>
          </a:xfrm>
          <a:prstGeom prst="rect">
            <a:avLst/>
          </a:prstGeom>
        </p:spPr>
      </p:pic>
      <p:sp>
        <p:nvSpPr>
          <p:cNvPr id="8" name="CuadroTexto 7">
            <a:extLst>
              <a:ext uri="{FF2B5EF4-FFF2-40B4-BE49-F238E27FC236}">
                <a16:creationId xmlns:a16="http://schemas.microsoft.com/office/drawing/2014/main" id="{E550CC62-5263-443A-23E7-450C9FE5815A}"/>
              </a:ext>
            </a:extLst>
          </p:cNvPr>
          <p:cNvSpPr txBox="1"/>
          <p:nvPr/>
        </p:nvSpPr>
        <p:spPr>
          <a:xfrm>
            <a:off x="2061703" y="6413179"/>
            <a:ext cx="7737757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s-ES"/>
            </a:defPPr>
            <a:lvl1pPr algn="ctr">
              <a:defRPr sz="700" b="0" i="1">
                <a:solidFill>
                  <a:schemeClr val="accent1"/>
                </a:solidFill>
                <a:effectLst/>
              </a:defRPr>
            </a:lvl1pPr>
          </a:lstStyle>
          <a:p>
            <a:r>
              <a:rPr lang="es-ES" dirty="0"/>
              <a:t>1. </a:t>
            </a:r>
            <a:r>
              <a:rPr lang="es-ES" dirty="0" err="1"/>
              <a:t>Mazzolai</a:t>
            </a:r>
            <a:r>
              <a:rPr lang="es-ES" dirty="0"/>
              <a:t> L, et al. 2024 ESC </a:t>
            </a:r>
            <a:r>
              <a:rPr lang="es-ES" dirty="0" err="1"/>
              <a:t>Guidelines</a:t>
            </a:r>
            <a:r>
              <a:rPr lang="es-ES" dirty="0"/>
              <a:t> </a:t>
            </a:r>
            <a:r>
              <a:rPr lang="es-ES" dirty="0" err="1"/>
              <a:t>for</a:t>
            </a:r>
            <a:r>
              <a:rPr lang="es-ES" dirty="0"/>
              <a:t> </a:t>
            </a:r>
            <a:r>
              <a:rPr lang="es-ES" dirty="0" err="1"/>
              <a:t>the</a:t>
            </a:r>
            <a:r>
              <a:rPr lang="es-ES" dirty="0"/>
              <a:t> </a:t>
            </a:r>
            <a:r>
              <a:rPr lang="es-ES" dirty="0" err="1"/>
              <a:t>management</a:t>
            </a:r>
            <a:r>
              <a:rPr lang="es-ES" dirty="0"/>
              <a:t> </a:t>
            </a:r>
            <a:r>
              <a:rPr lang="es-ES" dirty="0" err="1"/>
              <a:t>of</a:t>
            </a:r>
            <a:r>
              <a:rPr lang="es-ES" dirty="0"/>
              <a:t> </a:t>
            </a:r>
            <a:r>
              <a:rPr lang="es-ES" dirty="0" err="1"/>
              <a:t>peripheral</a:t>
            </a:r>
            <a:r>
              <a:rPr lang="es-ES" dirty="0"/>
              <a:t> arterial and </a:t>
            </a:r>
            <a:r>
              <a:rPr lang="es-ES" dirty="0" err="1"/>
              <a:t>aortic</a:t>
            </a:r>
            <a:r>
              <a:rPr lang="es-ES" dirty="0"/>
              <a:t> </a:t>
            </a:r>
            <a:r>
              <a:rPr lang="es-ES" dirty="0" err="1"/>
              <a:t>diseases</a:t>
            </a:r>
            <a:r>
              <a:rPr lang="es-ES" dirty="0"/>
              <a:t>. </a:t>
            </a:r>
            <a:r>
              <a:rPr lang="es-ES" dirty="0" err="1"/>
              <a:t>Eur</a:t>
            </a:r>
            <a:r>
              <a:rPr lang="es-ES" dirty="0"/>
              <a:t> Heart J. 2024 </a:t>
            </a:r>
            <a:r>
              <a:rPr lang="es-ES" dirty="0" err="1"/>
              <a:t>Sep</a:t>
            </a:r>
            <a:r>
              <a:rPr lang="es-ES" dirty="0"/>
              <a:t> 29;45(36):3538-3700. </a:t>
            </a:r>
            <a:r>
              <a:rPr lang="es-ES" dirty="0" err="1"/>
              <a:t>doi</a:t>
            </a:r>
            <a:r>
              <a:rPr lang="es-ES" dirty="0"/>
              <a:t>: 10.1093/</a:t>
            </a:r>
            <a:r>
              <a:rPr lang="es-ES" dirty="0" err="1"/>
              <a:t>eurheartj</a:t>
            </a:r>
            <a:r>
              <a:rPr lang="es-ES" dirty="0"/>
              <a:t>/ehae179.</a:t>
            </a:r>
          </a:p>
        </p:txBody>
      </p:sp>
      <p:sp>
        <p:nvSpPr>
          <p:cNvPr id="11" name="CuadroTexto 10">
            <a:extLst>
              <a:ext uri="{FF2B5EF4-FFF2-40B4-BE49-F238E27FC236}">
                <a16:creationId xmlns:a16="http://schemas.microsoft.com/office/drawing/2014/main" id="{E3D58F3A-5686-F647-F6C8-3F98AB72A7F6}"/>
              </a:ext>
            </a:extLst>
          </p:cNvPr>
          <p:cNvSpPr txBox="1"/>
          <p:nvPr/>
        </p:nvSpPr>
        <p:spPr>
          <a:xfrm>
            <a:off x="2659607" y="2268603"/>
            <a:ext cx="261937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s-ES" sz="1400" baseline="30000" dirty="0">
                <a:solidFill>
                  <a:schemeClr val="accent1"/>
                </a:solidFill>
              </a:rPr>
              <a:t>1</a:t>
            </a:r>
            <a:endParaRPr lang="es-ES" sz="1400" dirty="0"/>
          </a:p>
        </p:txBody>
      </p:sp>
      <p:sp>
        <p:nvSpPr>
          <p:cNvPr id="14" name="CuadroTexto 13">
            <a:extLst>
              <a:ext uri="{FF2B5EF4-FFF2-40B4-BE49-F238E27FC236}">
                <a16:creationId xmlns:a16="http://schemas.microsoft.com/office/drawing/2014/main" id="{34F1312B-8428-40C2-686A-C105F8C8C328}"/>
              </a:ext>
            </a:extLst>
          </p:cNvPr>
          <p:cNvSpPr txBox="1"/>
          <p:nvPr/>
        </p:nvSpPr>
        <p:spPr>
          <a:xfrm>
            <a:off x="8469263" y="6108248"/>
            <a:ext cx="2022234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s-ES"/>
            </a:defPPr>
            <a:lvl1pPr algn="ctr">
              <a:defRPr sz="700" b="0" i="1">
                <a:solidFill>
                  <a:schemeClr val="accent1"/>
                </a:solidFill>
                <a:effectLst/>
              </a:defRPr>
            </a:lvl1pPr>
          </a:lstStyle>
          <a:p>
            <a:pPr algn="r"/>
            <a:r>
              <a:rPr lang="es-ES" dirty="0" err="1"/>
              <a:t>Eur</a:t>
            </a:r>
            <a:r>
              <a:rPr lang="es-ES" dirty="0"/>
              <a:t> Heart J. 2024 </a:t>
            </a:r>
            <a:r>
              <a:rPr lang="es-ES" dirty="0" err="1"/>
              <a:t>Sep</a:t>
            </a:r>
            <a:r>
              <a:rPr lang="es-ES" dirty="0"/>
              <a:t> 29;45(36):3538-3700</a:t>
            </a:r>
          </a:p>
        </p:txBody>
      </p:sp>
      <p:sp>
        <p:nvSpPr>
          <p:cNvPr id="5" name="CuadroTexto 4">
            <a:extLst>
              <a:ext uri="{FF2B5EF4-FFF2-40B4-BE49-F238E27FC236}">
                <a16:creationId xmlns:a16="http://schemas.microsoft.com/office/drawing/2014/main" id="{A902202B-487C-6D45-9B0D-01AE66936C67}"/>
              </a:ext>
            </a:extLst>
          </p:cNvPr>
          <p:cNvSpPr txBox="1"/>
          <p:nvPr/>
        </p:nvSpPr>
        <p:spPr>
          <a:xfrm>
            <a:off x="3166179" y="4194883"/>
            <a:ext cx="2022234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s-ES"/>
            </a:defPPr>
            <a:lvl1pPr algn="ctr">
              <a:defRPr sz="700" b="0" i="1">
                <a:solidFill>
                  <a:schemeClr val="accent1"/>
                </a:solidFill>
                <a:effectLst/>
              </a:defRPr>
            </a:lvl1pPr>
          </a:lstStyle>
          <a:p>
            <a:pPr algn="r"/>
            <a:r>
              <a:rPr lang="es-ES" dirty="0" err="1"/>
              <a:t>Eur</a:t>
            </a:r>
            <a:r>
              <a:rPr lang="es-ES" dirty="0"/>
              <a:t> Heart J. 2024 </a:t>
            </a:r>
            <a:r>
              <a:rPr lang="es-ES" dirty="0" err="1"/>
              <a:t>Sep</a:t>
            </a:r>
            <a:r>
              <a:rPr lang="es-ES" dirty="0"/>
              <a:t> 29;45(36):3538-3700</a:t>
            </a:r>
          </a:p>
        </p:txBody>
      </p:sp>
      <p:sp>
        <p:nvSpPr>
          <p:cNvPr id="4" name="CuadroTexto 3">
            <a:extLst>
              <a:ext uri="{FF2B5EF4-FFF2-40B4-BE49-F238E27FC236}">
                <a16:creationId xmlns:a16="http://schemas.microsoft.com/office/drawing/2014/main" id="{21716596-E9D5-549C-714A-02A05B2D331F}"/>
              </a:ext>
            </a:extLst>
          </p:cNvPr>
          <p:cNvSpPr txBox="1"/>
          <p:nvPr/>
        </p:nvSpPr>
        <p:spPr>
          <a:xfrm>
            <a:off x="847344" y="4724029"/>
            <a:ext cx="4977595" cy="1384995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es-ES" sz="1400" dirty="0">
                <a:solidFill>
                  <a:schemeClr val="accent1"/>
                </a:solidFill>
              </a:rPr>
              <a:t>La ecografía Doppler </a:t>
            </a:r>
            <a:r>
              <a:rPr lang="es-ES" sz="1400" dirty="0">
                <a:solidFill>
                  <a:schemeClr val="accent1"/>
                </a:solidFill>
                <a:sym typeface="Wingdings" panose="05000000000000000000" pitchFamily="2" charset="2"/>
              </a:rPr>
              <a:t>es el método de imagen de primera línea recomendado para confirmar la EAP</a:t>
            </a:r>
            <a:r>
              <a:rPr lang="es-ES" sz="1400" baseline="30000" dirty="0">
                <a:solidFill>
                  <a:schemeClr val="accent1"/>
                </a:solidFill>
              </a:rPr>
              <a:t>1</a:t>
            </a:r>
            <a:r>
              <a:rPr lang="es-ES" sz="1400" dirty="0">
                <a:solidFill>
                  <a:schemeClr val="accent1"/>
                </a:solidFill>
                <a:sym typeface="Wingdings" panose="05000000000000000000" pitchFamily="2" charset="2"/>
              </a:rPr>
              <a:t>.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endParaRPr lang="es-ES" sz="1400" dirty="0">
              <a:solidFill>
                <a:schemeClr val="accent1"/>
              </a:solidFill>
              <a:sym typeface="Wingdings" panose="05000000000000000000" pitchFamily="2" charset="2"/>
            </a:endParaRP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es-ES" sz="1400" dirty="0">
                <a:solidFill>
                  <a:schemeClr val="accent1"/>
                </a:solidFill>
                <a:sym typeface="Wingdings" panose="05000000000000000000" pitchFamily="2" charset="2"/>
              </a:rPr>
              <a:t>En mujeres, la prevalencia de los síntomas típicos es menor que en los hombres, mientras que los síntomas atípicos son más comunes  Cribado es esencial</a:t>
            </a:r>
            <a:r>
              <a:rPr lang="es-ES" sz="1400" baseline="30000" dirty="0">
                <a:solidFill>
                  <a:schemeClr val="accent1"/>
                </a:solidFill>
              </a:rPr>
              <a:t>1</a:t>
            </a:r>
            <a:r>
              <a:rPr lang="es-ES" sz="1400" dirty="0">
                <a:solidFill>
                  <a:schemeClr val="accent1"/>
                </a:solidFill>
                <a:sym typeface="Wingdings" panose="05000000000000000000" pitchFamily="2" charset="2"/>
              </a:rPr>
              <a:t>.</a:t>
            </a:r>
            <a:endParaRPr lang="es-ES" sz="1400" dirty="0">
              <a:solidFill>
                <a:schemeClr val="accent1"/>
              </a:solidFill>
            </a:endParaRPr>
          </a:p>
        </p:txBody>
      </p:sp>
      <p:sp>
        <p:nvSpPr>
          <p:cNvPr id="2" name="CuadroTexto 1">
            <a:extLst>
              <a:ext uri="{FF2B5EF4-FFF2-40B4-BE49-F238E27FC236}">
                <a16:creationId xmlns:a16="http://schemas.microsoft.com/office/drawing/2014/main" id="{240E9C90-0C49-B493-8C03-AC4A39686064}"/>
              </a:ext>
            </a:extLst>
          </p:cNvPr>
          <p:cNvSpPr txBox="1"/>
          <p:nvPr/>
        </p:nvSpPr>
        <p:spPr>
          <a:xfrm rot="16200000">
            <a:off x="10611613" y="3657467"/>
            <a:ext cx="2510028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s-ES" sz="1400" dirty="0">
                <a:solidFill>
                  <a:schemeClr val="bg1">
                    <a:lumMod val="95000"/>
                  </a:schemeClr>
                </a:solidFill>
              </a:rPr>
              <a:t>MA-ES-NOP-2500037</a:t>
            </a:r>
          </a:p>
        </p:txBody>
      </p:sp>
    </p:spTree>
    <p:extLst>
      <p:ext uri="{BB962C8B-B14F-4D97-AF65-F5344CB8AC3E}">
        <p14:creationId xmlns:p14="http://schemas.microsoft.com/office/powerpoint/2010/main" val="3123777338"/>
      </p:ext>
    </p:extLst>
  </p:cSld>
  <p:clrMapOvr>
    <a:masterClrMapping/>
  </p:clrMapOvr>
  <p:transition spd="med"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CmVjdrrSGu2ERapmnkXf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CmVjdrrSGu2ERapmnkXfQ"/>
</p:tagLst>
</file>

<file path=ppt/theme/theme1.xml><?xml version="1.0" encoding="utf-8"?>
<a:theme xmlns:a="http://schemas.openxmlformats.org/drawingml/2006/main" name="Tema1">
  <a:themeElements>
    <a:clrScheme name="ALM_AW_PPT COLORS">
      <a:dk1>
        <a:srgbClr val="6F6F6F"/>
      </a:dk1>
      <a:lt1>
        <a:srgbClr val="FFFFFF"/>
      </a:lt1>
      <a:dk2>
        <a:srgbClr val="FFFFFF"/>
      </a:dk2>
      <a:lt2>
        <a:srgbClr val="FFFFFF"/>
      </a:lt2>
      <a:accent1>
        <a:srgbClr val="002855"/>
      </a:accent1>
      <a:accent2>
        <a:srgbClr val="00F0BE"/>
      </a:accent2>
      <a:accent3>
        <a:srgbClr val="00596E"/>
      </a:accent3>
      <a:accent4>
        <a:srgbClr val="008C93"/>
      </a:accent4>
      <a:accent5>
        <a:srgbClr val="00BEA0"/>
      </a:accent5>
      <a:accent6>
        <a:srgbClr val="8700D3"/>
      </a:accent6>
      <a:hlink>
        <a:srgbClr val="8700D3"/>
      </a:hlink>
      <a:folHlink>
        <a:srgbClr val="8700D3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Tema de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Tema1" id="{4619596D-86AE-4C4A-956C-F8F3849881EF}" vid="{52E38F20-82B1-4119-95CF-72A403C84815}"/>
    </a:ext>
  </a:extLst>
</a:theme>
</file>

<file path=ppt/theme/theme2.xml><?xml version="1.0" encoding="utf-8"?>
<a:theme xmlns:a="http://schemas.openxmlformats.org/drawingml/2006/main" name="1_Office Theme">
  <a:themeElements>
    <a:clrScheme name="ALM_AW_PPT COLORS">
      <a:dk1>
        <a:srgbClr val="6F6F6F"/>
      </a:dk1>
      <a:lt1>
        <a:srgbClr val="FFFFFF"/>
      </a:lt1>
      <a:dk2>
        <a:srgbClr val="FFFFFF"/>
      </a:dk2>
      <a:lt2>
        <a:srgbClr val="FFFFFF"/>
      </a:lt2>
      <a:accent1>
        <a:srgbClr val="002855"/>
      </a:accent1>
      <a:accent2>
        <a:srgbClr val="00F0BE"/>
      </a:accent2>
      <a:accent3>
        <a:srgbClr val="00596E"/>
      </a:accent3>
      <a:accent4>
        <a:srgbClr val="008C93"/>
      </a:accent4>
      <a:accent5>
        <a:srgbClr val="00BEA0"/>
      </a:accent5>
      <a:accent6>
        <a:srgbClr val="8700D3"/>
      </a:accent6>
      <a:hlink>
        <a:srgbClr val="8700D3"/>
      </a:hlink>
      <a:folHlink>
        <a:srgbClr val="8700D3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Tema de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AE6F2518-B084-4896-AF52-66CC2144AA26}"/>
    </a:ext>
  </a:extLst>
</a:theme>
</file>

<file path=ppt/theme/theme3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3880</Words>
  <Application>Microsoft Office PowerPoint</Application>
  <PresentationFormat>Panorámica</PresentationFormat>
  <Paragraphs>284</Paragraphs>
  <Slides>31</Slides>
  <Notes>11</Notes>
  <HiddenSlides>0</HiddenSlides>
  <MMClips>0</MMClips>
  <ScaleCrop>false</ScaleCrop>
  <HeadingPairs>
    <vt:vector size="8" baseType="variant">
      <vt:variant>
        <vt:lpstr>Fuentes usadas</vt:lpstr>
      </vt:variant>
      <vt:variant>
        <vt:i4>10</vt:i4>
      </vt:variant>
      <vt:variant>
        <vt:lpstr>Tema</vt:lpstr>
      </vt:variant>
      <vt:variant>
        <vt:i4>2</vt:i4>
      </vt:variant>
      <vt:variant>
        <vt:lpstr>Servidores OLE incrustados</vt:lpstr>
      </vt:variant>
      <vt:variant>
        <vt:i4>2</vt:i4>
      </vt:variant>
      <vt:variant>
        <vt:lpstr>Títulos de diapositiva</vt:lpstr>
      </vt:variant>
      <vt:variant>
        <vt:i4>31</vt:i4>
      </vt:variant>
    </vt:vector>
  </HeadingPairs>
  <TitlesOfParts>
    <vt:vector size="45" baseType="lpstr">
      <vt:lpstr>Aptos</vt:lpstr>
      <vt:lpstr>Arial</vt:lpstr>
      <vt:lpstr>Arial Black</vt:lpstr>
      <vt:lpstr>Calibri</vt:lpstr>
      <vt:lpstr>ElsevierGulliver</vt:lpstr>
      <vt:lpstr>Fira Sans Extra Condensed</vt:lpstr>
      <vt:lpstr>Montserrat</vt:lpstr>
      <vt:lpstr>Montserrat Light</vt:lpstr>
      <vt:lpstr>Roboto</vt:lpstr>
      <vt:lpstr>Wingdings</vt:lpstr>
      <vt:lpstr>Tema1</vt:lpstr>
      <vt:lpstr>1_Office Theme</vt:lpstr>
      <vt:lpstr>think-cell Slide</vt:lpstr>
      <vt:lpstr>Diapositiva de think-cell</vt:lpstr>
      <vt:lpstr>Presentación de PowerPoint</vt:lpstr>
      <vt:lpstr>Conflicto de interés:</vt:lpstr>
      <vt:lpstr>Presentación de PowerPoint</vt:lpstr>
      <vt:lpstr>Presentación de PowerPoint</vt:lpstr>
      <vt:lpstr>Presentación de PowerPoint</vt:lpstr>
      <vt:lpstr>Sintomatología de la enfermedad arterial periférica</vt:lpstr>
      <vt:lpstr>Presentación de PowerPoint</vt:lpstr>
      <vt:lpstr>Presentación de PowerPoint</vt:lpstr>
      <vt:lpstr>Presentación de PowerPoint</vt:lpstr>
      <vt:lpstr>Cribado de los pacientes con enfermedad arterial periférica asíntomatica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Modificación de estilo de vida</vt:lpstr>
      <vt:lpstr>Intervención quirúrgica para revascularización 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</vt:vector>
  </TitlesOfParts>
  <Company>Almiral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Macarena Fernandez-Andrade Marin</dc:creator>
  <cp:lastModifiedBy>Eva Parisi Tria</cp:lastModifiedBy>
  <cp:revision>14</cp:revision>
  <dcterms:created xsi:type="dcterms:W3CDTF">2024-10-07T14:05:32Z</dcterms:created>
  <dcterms:modified xsi:type="dcterms:W3CDTF">2026-01-08T10:53:3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6b6e20c6-cf94-42a2-9862-6e25337ae690_Enabled">
    <vt:lpwstr>true</vt:lpwstr>
  </property>
  <property fmtid="{D5CDD505-2E9C-101B-9397-08002B2CF9AE}" pid="3" name="MSIP_Label_6b6e20c6-cf94-42a2-9862-6e25337ae690_SetDate">
    <vt:lpwstr>2025-08-29T10:01:20Z</vt:lpwstr>
  </property>
  <property fmtid="{D5CDD505-2E9C-101B-9397-08002B2CF9AE}" pid="4" name="MSIP_Label_6b6e20c6-cf94-42a2-9862-6e25337ae690_Method">
    <vt:lpwstr>Privileged</vt:lpwstr>
  </property>
  <property fmtid="{D5CDD505-2E9C-101B-9397-08002B2CF9AE}" pid="5" name="MSIP_Label_6b6e20c6-cf94-42a2-9862-6e25337ae690_Name">
    <vt:lpwstr>Public</vt:lpwstr>
  </property>
  <property fmtid="{D5CDD505-2E9C-101B-9397-08002B2CF9AE}" pid="6" name="MSIP_Label_6b6e20c6-cf94-42a2-9862-6e25337ae690_SiteId">
    <vt:lpwstr>342ace0e-1054-45ce-9b30-900fc0440b9d</vt:lpwstr>
  </property>
  <property fmtid="{D5CDD505-2E9C-101B-9397-08002B2CF9AE}" pid="7" name="MSIP_Label_6b6e20c6-cf94-42a2-9862-6e25337ae690_ActionId">
    <vt:lpwstr>c7fad491-3cd3-43d6-8d63-f22111ed4651</vt:lpwstr>
  </property>
  <property fmtid="{D5CDD505-2E9C-101B-9397-08002B2CF9AE}" pid="8" name="MSIP_Label_6b6e20c6-cf94-42a2-9862-6e25337ae690_ContentBits">
    <vt:lpwstr>0</vt:lpwstr>
  </property>
  <property fmtid="{D5CDD505-2E9C-101B-9397-08002B2CF9AE}" pid="9" name="MSIP_Label_6b6e20c6-cf94-42a2-9862-6e25337ae690_Tag">
    <vt:lpwstr>10, 0, 1, 1</vt:lpwstr>
  </property>
</Properties>
</file>